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4">
  <p:sldMasterIdLst>
    <p:sldMasterId id="2147483648" r:id="rId7"/>
    <p:sldMasterId id="2147483725" r:id="rId8"/>
  </p:sldMasterIdLst>
  <p:notesMasterIdLst>
    <p:notesMasterId r:id="rId37"/>
  </p:notesMasterIdLst>
  <p:handoutMasterIdLst>
    <p:handoutMasterId r:id="rId38"/>
  </p:handoutMasterIdLst>
  <p:sldIdLst>
    <p:sldId id="753" r:id="rId9"/>
    <p:sldId id="778" r:id="rId10"/>
    <p:sldId id="779" r:id="rId11"/>
    <p:sldId id="780" r:id="rId12"/>
    <p:sldId id="773" r:id="rId13"/>
    <p:sldId id="766" r:id="rId14"/>
    <p:sldId id="775" r:id="rId15"/>
    <p:sldId id="776" r:id="rId16"/>
    <p:sldId id="777" r:id="rId17"/>
    <p:sldId id="769" r:id="rId18"/>
    <p:sldId id="767" r:id="rId19"/>
    <p:sldId id="783" r:id="rId20"/>
    <p:sldId id="782" r:id="rId21"/>
    <p:sldId id="768" r:id="rId22"/>
    <p:sldId id="781" r:id="rId23"/>
    <p:sldId id="727" r:id="rId24"/>
    <p:sldId id="709" r:id="rId25"/>
    <p:sldId id="710" r:id="rId26"/>
    <p:sldId id="765" r:id="rId27"/>
    <p:sldId id="758" r:id="rId28"/>
    <p:sldId id="757" r:id="rId29"/>
    <p:sldId id="788" r:id="rId30"/>
    <p:sldId id="708" r:id="rId31"/>
    <p:sldId id="784" r:id="rId32"/>
    <p:sldId id="785" r:id="rId33"/>
    <p:sldId id="787" r:id="rId34"/>
    <p:sldId id="770" r:id="rId35"/>
    <p:sldId id="789" r:id="rId36"/>
  </p:sldIdLst>
  <p:sldSz cx="9144000" cy="6858000" type="screen4x3"/>
  <p:notesSz cx="6985000" cy="9271000"/>
  <p:custDataLst>
    <p:tags r:id="rId39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MS" initials="C" lastIdx="15" clrIdx="0"/>
  <p:cmAuthor id="1" name="Chris Worrall" initials="CW" lastIdx="1" clrIdx="1"/>
  <p:cmAuthor id="2" name="RAHUL RAJKUMAR" initials="RR" lastIdx="16" clrIdx="2"/>
  <p:cmAuthor id="3" name="Julian Malinak" initials="JM" lastIdx="52" clrIdx="3"/>
  <p:cmAuthor id="4" name="Von Nguyen" initials="VN" lastIdx="3" clrIdx="4"/>
  <p:cmAuthor id="5" name="Suzanne Wensky" initials="SW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7"/>
    <a:srgbClr val="F5867D"/>
    <a:srgbClr val="9B2525"/>
    <a:srgbClr val="CC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7" autoAdjust="0"/>
    <p:restoredTop sz="86323" autoAdjust="0"/>
  </p:normalViewPr>
  <p:slideViewPr>
    <p:cSldViewPr snapToGrid="0">
      <p:cViewPr>
        <p:scale>
          <a:sx n="67" d="100"/>
          <a:sy n="67" d="100"/>
        </p:scale>
        <p:origin x="-2898" y="-82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32" y="-102"/>
      </p:cViewPr>
      <p:guideLst>
        <p:guide orient="horz" pos="2920"/>
        <p:guide pos="219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gs" Target="tags/tag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2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26517" cy="463393"/>
          </a:xfrm>
          <a:prstGeom prst="rect">
            <a:avLst/>
          </a:prstGeom>
        </p:spPr>
        <p:txBody>
          <a:bodyPr vert="horz" lIns="91020" tIns="45510" rIns="91020" bIns="4551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905" y="1"/>
            <a:ext cx="3026517" cy="463393"/>
          </a:xfrm>
          <a:prstGeom prst="rect">
            <a:avLst/>
          </a:prstGeom>
        </p:spPr>
        <p:txBody>
          <a:bodyPr vert="horz" lIns="91020" tIns="45510" rIns="91020" bIns="45510" rtlCol="0"/>
          <a:lstStyle>
            <a:lvl1pPr algn="r">
              <a:defRPr sz="1200"/>
            </a:lvl1pPr>
          </a:lstStyle>
          <a:p>
            <a:fld id="{91A0D671-22E1-478A-96A4-B46B3ED93B5E}" type="datetimeFigureOut">
              <a:rPr lang="en-US" smtClean="0"/>
              <a:pPr/>
              <a:t>12/0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06027"/>
            <a:ext cx="3026517" cy="463393"/>
          </a:xfrm>
          <a:prstGeom prst="rect">
            <a:avLst/>
          </a:prstGeom>
        </p:spPr>
        <p:txBody>
          <a:bodyPr vert="horz" lIns="91020" tIns="45510" rIns="91020" bIns="4551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905" y="8806027"/>
            <a:ext cx="3026517" cy="463393"/>
          </a:xfrm>
          <a:prstGeom prst="rect">
            <a:avLst/>
          </a:prstGeom>
        </p:spPr>
        <p:txBody>
          <a:bodyPr vert="horz" lIns="91020" tIns="45510" rIns="91020" bIns="45510" rtlCol="0" anchor="b"/>
          <a:lstStyle>
            <a:lvl1pPr algn="r">
              <a:defRPr sz="1200"/>
            </a:lvl1pPr>
          </a:lstStyle>
          <a:p>
            <a:fld id="{9A18F663-922D-48D4-A683-8401658EA33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9181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4" cy="463550"/>
          </a:xfrm>
          <a:prstGeom prst="rect">
            <a:avLst/>
          </a:prstGeom>
        </p:spPr>
        <p:txBody>
          <a:bodyPr vert="horz" lIns="92852" tIns="46427" rIns="92852" bIns="464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4" cy="463550"/>
          </a:xfrm>
          <a:prstGeom prst="rect">
            <a:avLst/>
          </a:prstGeom>
        </p:spPr>
        <p:txBody>
          <a:bodyPr vert="horz" lIns="92852" tIns="46427" rIns="92852" bIns="46427" rtlCol="0"/>
          <a:lstStyle>
            <a:lvl1pPr algn="r">
              <a:defRPr sz="1200"/>
            </a:lvl1pPr>
          </a:lstStyle>
          <a:p>
            <a:fld id="{2EDBFB97-32F2-224C-B63B-2B070A49B128}" type="datetimeFigureOut">
              <a:rPr lang="en-US" smtClean="0"/>
              <a:pPr/>
              <a:t>12/0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3163" y="692150"/>
            <a:ext cx="4638675" cy="3479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52" tIns="46427" rIns="92852" bIns="464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3725"/>
            <a:ext cx="5588000" cy="4171950"/>
          </a:xfrm>
          <a:prstGeom prst="rect">
            <a:avLst/>
          </a:prstGeom>
        </p:spPr>
        <p:txBody>
          <a:bodyPr vert="horz" lIns="92852" tIns="46427" rIns="92852" bIns="46427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05841"/>
            <a:ext cx="3026834" cy="463550"/>
          </a:xfrm>
          <a:prstGeom prst="rect">
            <a:avLst/>
          </a:prstGeom>
        </p:spPr>
        <p:txBody>
          <a:bodyPr vert="horz" lIns="92852" tIns="46427" rIns="92852" bIns="464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05841"/>
            <a:ext cx="3026834" cy="463550"/>
          </a:xfrm>
          <a:prstGeom prst="rect">
            <a:avLst/>
          </a:prstGeom>
        </p:spPr>
        <p:txBody>
          <a:bodyPr vert="horz" lIns="92852" tIns="46427" rIns="92852" bIns="46427" rtlCol="0" anchor="b"/>
          <a:lstStyle>
            <a:lvl1pPr algn="r">
              <a:defRPr sz="1200"/>
            </a:lvl1pPr>
          </a:lstStyle>
          <a:p>
            <a:fld id="{7A16B407-8CBD-4D40-9463-21056C444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176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87ED6-C706-4543-A301-6CDE8C4245F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6260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1452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1452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6601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800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0900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800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A34ED5-BD24-43DB-9665-FC3293AF21B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0014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800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8179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A34ED5-BD24-43DB-9665-FC3293AF21B4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0014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ere have we been</a:t>
            </a:r>
            <a:r>
              <a:rPr lang="en-US" baseline="0" dirty="0" smtClean="0"/>
              <a:t> and where are going?</a:t>
            </a:r>
          </a:p>
          <a:p>
            <a:r>
              <a:rPr lang="en-US" baseline="0" dirty="0" smtClean="0"/>
              <a:t>What are we going to talk about to day (questions to run on?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1378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ullets edi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CD7CF5-435C-45C9-B660-0EB849AFC5EA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3627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30K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5051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30K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505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icked good sta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3600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342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6450" y="1493838"/>
            <a:ext cx="5372100" cy="4030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echanism</a:t>
            </a:r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B4EEF1-2B5A-4443-A55D-199CE360240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754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6450" y="1493838"/>
            <a:ext cx="5372100" cy="4030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  <a:t>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385926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1179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dirty="0" smtClean="0"/>
              <a:t>mechanism</a:t>
            </a: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386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9.jpe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8.emf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6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image" Target="../media/image10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31813"/>
            <a:ext cx="6403975" cy="2936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>
            <a:lvl1pPr algn="ctr">
              <a:defRPr sz="2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914400" y="4064763"/>
            <a:ext cx="7315200" cy="665307"/>
          </a:xfrm>
        </p:spPr>
        <p:txBody>
          <a:bodyPr/>
          <a:lstStyle>
            <a:lvl1pPr marL="0" indent="0" algn="ctr">
              <a:buNone/>
              <a:defRPr sz="22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2050" name="Picture 2" descr="https://public.govdelivery.com/system/images/28925/original/cmsLogo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415924"/>
            <a:ext cx="2333625" cy="81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229" descr="File:US-DeptOfHHS-Logo.sv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155575" y="77788"/>
            <a:ext cx="717550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64708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98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8600" y="961062"/>
            <a:ext cx="8686800" cy="5211137"/>
          </a:xfrm>
        </p:spPr>
        <p:txBody>
          <a:bodyPr/>
          <a:lstStyle>
            <a:lvl1pPr>
              <a:defRPr sz="2400"/>
            </a:lvl1pPr>
            <a:lvl2pPr marL="742950" indent="-285750">
              <a:buFont typeface="Arial"/>
              <a:buChar char="•"/>
              <a:defRPr/>
            </a:lvl2pPr>
            <a:lvl3pPr marL="1143000" indent="-228600">
              <a:buFont typeface="Arial"/>
              <a:buChar char="•"/>
              <a:defRPr/>
            </a:lvl3pPr>
            <a:lvl4pPr marL="1601788" indent="-230188"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228600" y="914400"/>
            <a:ext cx="8686800" cy="5258904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673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2919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MS title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438400"/>
            <a:ext cx="4639734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TextBox 12"/>
          <p:cNvSpPr txBox="1"/>
          <p:nvPr/>
        </p:nvSpPr>
        <p:spPr>
          <a:xfrm>
            <a:off x="-1668146" y="4928188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Title 7"/>
          <p:cNvSpPr>
            <a:spLocks noGrp="1"/>
          </p:cNvSpPr>
          <p:nvPr>
            <p:ph type="title"/>
          </p:nvPr>
        </p:nvSpPr>
        <p:spPr>
          <a:xfrm>
            <a:off x="0" y="1371600"/>
            <a:ext cx="9144000" cy="1066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53000" y="3048000"/>
            <a:ext cx="3276600" cy="914400"/>
          </a:xfrm>
        </p:spPr>
        <p:txBody>
          <a:bodyPr>
            <a:normAutofit/>
          </a:bodyPr>
          <a:lstStyle>
            <a:lvl1pPr marL="0" indent="0" algn="l">
              <a:buNone/>
              <a:defRPr sz="2400" b="1" i="1">
                <a:solidFill>
                  <a:srgbClr val="084A9C"/>
                </a:solidFill>
              </a:defRPr>
            </a:lvl1pPr>
          </a:lstStyle>
          <a:p>
            <a:pPr algn="l"/>
            <a:r>
              <a:rPr lang="en-US" sz="2400" b="1" i="1" dirty="0" smtClean="0">
                <a:solidFill>
                  <a:srgbClr val="084A9C"/>
                </a:solidFill>
              </a:rPr>
              <a:t>Subtitle</a:t>
            </a:r>
          </a:p>
          <a:p>
            <a:pPr algn="l"/>
            <a:endParaRPr lang="en-US" sz="2800" b="0" i="1" dirty="0" smtClean="0">
              <a:solidFill>
                <a:srgbClr val="084A9C"/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53000" y="4191000"/>
            <a:ext cx="3276600" cy="838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1" i="1">
                <a:solidFill>
                  <a:srgbClr val="084A9C"/>
                </a:solidFill>
              </a:defRPr>
            </a:lvl1pPr>
          </a:lstStyle>
          <a:p>
            <a:pPr algn="l"/>
            <a:r>
              <a:rPr lang="en-US" sz="2400" b="0" i="1" dirty="0" smtClean="0">
                <a:solidFill>
                  <a:srgbClr val="084A9C"/>
                </a:solidFill>
              </a:rPr>
              <a:t>Presenter/Date</a:t>
            </a:r>
            <a:endParaRPr lang="en-US" sz="2800" b="0" i="1" dirty="0" smtClean="0">
              <a:solidFill>
                <a:srgbClr val="084A9C"/>
              </a:solidFill>
            </a:endParaRPr>
          </a:p>
          <a:p>
            <a:pPr algn="l"/>
            <a:endParaRPr lang="en-US" sz="2800" b="0" i="1" dirty="0" smtClean="0">
              <a:solidFill>
                <a:srgbClr val="084A9C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-1668146" y="4928188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6" name="Picture 15" descr="New Image - Word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62024" y="179790"/>
            <a:ext cx="2679731" cy="963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8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in Bar_No CMS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-1668146" y="4928188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-1668146" y="4928188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1828800"/>
            <a:ext cx="8229600" cy="42973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0" y="1442085"/>
            <a:ext cx="9144000" cy="99695"/>
            <a:chOff x="0" y="1472565"/>
            <a:chExt cx="9144000" cy="99695"/>
          </a:xfrm>
        </p:grpSpPr>
        <p:cxnSp>
          <p:nvCxnSpPr>
            <p:cNvPr id="17" name="Straight Connector 16"/>
            <p:cNvCxnSpPr/>
            <p:nvPr userDrawn="1"/>
          </p:nvCxnSpPr>
          <p:spPr>
            <a:xfrm>
              <a:off x="0" y="1572260"/>
              <a:ext cx="9144000" cy="0"/>
            </a:xfrm>
            <a:prstGeom prst="line">
              <a:avLst/>
            </a:prstGeom>
            <a:ln w="101600" cap="sq">
              <a:solidFill>
                <a:srgbClr val="FFD00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/>
            <p:cNvCxnSpPr/>
            <p:nvPr userDrawn="1"/>
          </p:nvCxnSpPr>
          <p:spPr>
            <a:xfrm>
              <a:off x="0" y="1472565"/>
              <a:ext cx="9144000" cy="0"/>
            </a:xfrm>
            <a:prstGeom prst="line">
              <a:avLst/>
            </a:prstGeom>
            <a:ln w="101600" cap="sq">
              <a:solidFill>
                <a:srgbClr val="084A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itle 22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9144000" cy="1371600"/>
          </a:xfrm>
          <a:noFill/>
          <a:effectLst/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22FF3C-310F-4809-A5BE-BC5BA8AA10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730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425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45118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2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bg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9330281" cy="6997298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hangingPunct="1">
              <a:defRPr/>
            </a:pPr>
            <a:endParaRPr lang="en-US" sz="800" dirty="0" smtClean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  <a:ea typeface="ＭＳ Ｐゴシック"/>
                </a:rPr>
                <a:t>CONFIDENTIAL AND PROPRIETARY</a:t>
              </a:r>
            </a:p>
            <a:p>
              <a:pPr defTabSz="821202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  <a:ea typeface="ＭＳ Ｐゴシック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/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/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/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611761" y="3663074"/>
            <a:ext cx="8303841" cy="507831"/>
          </a:xfrm>
          <a:prstGeom prst="rect">
            <a:avLst/>
          </a:prstGeom>
        </p:spPr>
        <p:txBody>
          <a:bodyPr/>
          <a:lstStyle>
            <a:lvl1pPr algn="ctr">
              <a:defRPr sz="3300" b="0" baseline="0">
                <a:solidFill>
                  <a:srgbClr val="060C36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2245640" y="5180599"/>
            <a:ext cx="5036084" cy="345431"/>
          </a:xfrm>
        </p:spPr>
        <p:txBody>
          <a:bodyPr>
            <a:spAutoFit/>
          </a:bodyPr>
          <a:lstStyle>
            <a:lvl1pPr algn="ctr">
              <a:defRPr sz="2200" baseline="0">
                <a:solidFill>
                  <a:srgbClr val="443B0A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19" name="Rectangle 18"/>
          <p:cNvSpPr/>
          <p:nvPr userDrawn="1">
            <p:custDataLst>
              <p:tags r:id="rId9"/>
            </p:custDataLst>
          </p:nvPr>
        </p:nvSpPr>
        <p:spPr bwMode="gray">
          <a:xfrm>
            <a:off x="235624" y="235627"/>
            <a:ext cx="8861400" cy="6528427"/>
          </a:xfrm>
          <a:prstGeom prst="rect">
            <a:avLst/>
          </a:prstGeom>
          <a:noFill/>
          <a:ln w="38100" cap="flat" cmpd="sng" algn="ctr">
            <a:solidFill>
              <a:srgbClr val="F9D83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296" tIns="46648" rIns="93296" bIns="46648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hangingPunct="0">
              <a:buSzPct val="85000"/>
              <a:buFont typeface="Monotype Sorts" pitchFamily="2" charset="2"/>
              <a:buNone/>
            </a:pPr>
            <a:endParaRPr lang="en-US" sz="1600" b="1" dirty="0">
              <a:solidFill>
                <a:prstClr val="white"/>
              </a:solidFill>
              <a:latin typeface="Arial Narrow" pitchFamily="34" charset="0"/>
              <a:ea typeface="ＭＳ Ｐゴシック"/>
              <a:cs typeface="Arial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2517232" y="299664"/>
            <a:ext cx="4451322" cy="160111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914400"/>
            <a:endParaRPr lang="en-US" sz="1600" dirty="0" smtClean="0">
              <a:solidFill>
                <a:srgbClr val="000000"/>
              </a:solidFill>
            </a:endParaRPr>
          </a:p>
        </p:txBody>
      </p:sp>
      <p:pic>
        <p:nvPicPr>
          <p:cNvPr id="22" name="Picture 1230" descr="CMStagline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6130" y="568489"/>
            <a:ext cx="3234822" cy="1116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201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3" Type="http://schemas.openxmlformats.org/officeDocument/2006/relationships/theme" Target="../theme/theme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6.emf"/><Relationship Id="rId10" Type="http://schemas.openxmlformats.org/officeDocument/2006/relationships/tags" Target="../tags/tag9.xml"/><Relationship Id="rId4" Type="http://schemas.openxmlformats.org/officeDocument/2006/relationships/vmlDrawing" Target="../drawings/vmlDrawing2.vml"/><Relationship Id="rId9" Type="http://schemas.openxmlformats.org/officeDocument/2006/relationships/tags" Target="../tags/tag8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94261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28600" y="122238"/>
            <a:ext cx="8686800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969963"/>
            <a:ext cx="77724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 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grpSp>
        <p:nvGrpSpPr>
          <p:cNvPr id="1028" name="Group 192"/>
          <p:cNvGrpSpPr>
            <a:grpSpLocks/>
          </p:cNvGrpSpPr>
          <p:nvPr/>
        </p:nvGrpSpPr>
        <p:grpSpPr bwMode="auto">
          <a:xfrm>
            <a:off x="-3175" y="641350"/>
            <a:ext cx="6035675" cy="90488"/>
            <a:chOff x="-2" y="768"/>
            <a:chExt cx="3726" cy="56"/>
          </a:xfrm>
        </p:grpSpPr>
        <p:sp>
          <p:nvSpPr>
            <p:cNvPr id="1032" name="Rectangle 187"/>
            <p:cNvSpPr>
              <a:spLocks noChangeArrowheads="1"/>
            </p:cNvSpPr>
            <p:nvPr/>
          </p:nvSpPr>
          <p:spPr bwMode="auto">
            <a:xfrm>
              <a:off x="-2" y="795"/>
              <a:ext cx="3726" cy="29"/>
            </a:xfrm>
            <a:prstGeom prst="rect">
              <a:avLst/>
            </a:prstGeom>
            <a:solidFill>
              <a:srgbClr val="FFD937"/>
            </a:solidFill>
            <a:ln>
              <a:noFill/>
            </a:ln>
            <a:extLst/>
          </p:spPr>
          <p:txBody>
            <a:bodyPr wrap="none" anchor="ctr"/>
            <a:lstStyle/>
            <a:p>
              <a:pPr eaLnBrk="0" hangingPunct="0">
                <a:buSzPct val="85000"/>
                <a:buFont typeface="Monotype Sorts" charset="0"/>
                <a:buNone/>
                <a:defRPr/>
              </a:pPr>
              <a:endParaRPr lang="en-US" sz="3700" b="1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1033" name="Rectangle 186"/>
            <p:cNvSpPr>
              <a:spLocks noChangeArrowheads="1"/>
            </p:cNvSpPr>
            <p:nvPr/>
          </p:nvSpPr>
          <p:spPr bwMode="auto">
            <a:xfrm>
              <a:off x="-2" y="768"/>
              <a:ext cx="2976" cy="29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xtLst/>
          </p:spPr>
          <p:txBody>
            <a:bodyPr wrap="none" anchor="ctr"/>
            <a:lstStyle/>
            <a:p>
              <a:pPr eaLnBrk="0" hangingPunct="0">
                <a:buSzPct val="85000"/>
                <a:buFont typeface="Monotype Sorts" charset="0"/>
                <a:buNone/>
                <a:defRPr/>
              </a:pPr>
              <a:endParaRPr lang="en-US" sz="3700" b="1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sp>
        <p:nvSpPr>
          <p:cNvPr id="1030" name="Rectangle 186"/>
          <p:cNvSpPr>
            <a:spLocks noChangeArrowheads="1"/>
          </p:cNvSpPr>
          <p:nvPr/>
        </p:nvSpPr>
        <p:spPr bwMode="auto">
          <a:xfrm>
            <a:off x="-3175" y="6392863"/>
            <a:ext cx="9147175" cy="44450"/>
          </a:xfrm>
          <a:prstGeom prst="rect">
            <a:avLst/>
          </a:prstGeom>
          <a:solidFill>
            <a:srgbClr val="006699"/>
          </a:solidFill>
          <a:ln>
            <a:noFill/>
          </a:ln>
          <a:extLst/>
        </p:spPr>
        <p:txBody>
          <a:bodyPr wrap="none" lIns="93256" tIns="46628" rIns="93256" bIns="46628" anchor="ctr"/>
          <a:lstStyle/>
          <a:p>
            <a:pPr eaLnBrk="0" hangingPunct="0">
              <a:buSzPct val="85000"/>
              <a:buFont typeface="Monotype Sorts" charset="0"/>
              <a:buNone/>
              <a:defRPr/>
            </a:pPr>
            <a:endParaRPr lang="en-US" sz="3700" b="1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031" name="TextBox 11"/>
          <p:cNvSpPr txBox="1">
            <a:spLocks noChangeArrowheads="1"/>
          </p:cNvSpPr>
          <p:nvPr/>
        </p:nvSpPr>
        <p:spPr bwMode="auto">
          <a:xfrm>
            <a:off x="8513763" y="6478588"/>
            <a:ext cx="450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fld id="{86555711-07B2-426B-A4DB-3F5D115C5898}" type="slidenum">
              <a:rPr lang="en-US" sz="1200" smtClean="0">
                <a:latin typeface="Arial" charset="0"/>
                <a:cs typeface="Arial" charset="0"/>
              </a:rPr>
              <a:pPr>
                <a:defRPr/>
              </a:pPr>
              <a:t>‹#›</a:t>
            </a:fld>
            <a:endParaRPr lang="en-US" sz="1200" dirty="0" smtClean="0"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1" r:id="rId2"/>
    <p:sldLayoutId id="2147483692" r:id="rId3"/>
    <p:sldLayoutId id="2147483694" r:id="rId4"/>
    <p:sldLayoutId id="2147483706" r:id="rId5"/>
    <p:sldLayoutId id="2147483738" r:id="rId6"/>
    <p:sldLayoutId id="2147483739" r:id="rId7"/>
    <p:sldLayoutId id="214748374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00539B"/>
          </a:solidFill>
          <a:latin typeface="Arial"/>
          <a:ea typeface="ＭＳ Ｐゴシック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6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200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1371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18288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1504796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489" y="127988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/>
            <a:r>
              <a:rPr lang="en-US" sz="1400" dirty="0">
                <a:solidFill>
                  <a:srgbClr val="808080"/>
                </a:solidFill>
                <a:latin typeface="Arial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ea typeface="ＭＳ Ｐゴシック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/>
              <a:r>
                <a:rPr lang="en-US" sz="1600" b="1" dirty="0">
                  <a:solidFill>
                    <a:srgbClr val="000000"/>
                  </a:solidFill>
                  <a:latin typeface="Arial"/>
                  <a:ea typeface="ＭＳ Ｐゴシック"/>
                </a:rPr>
                <a:t>Title</a:t>
              </a:r>
            </a:p>
            <a:p>
              <a:pPr defTabSz="914400"/>
              <a:r>
                <a:rPr lang="en-US" sz="1600" dirty="0">
                  <a:solidFill>
                    <a:srgbClr val="808080"/>
                  </a:solidFill>
                  <a:latin typeface="Arial"/>
                  <a:ea typeface="ＭＳ Ｐゴシック"/>
                </a:rPr>
                <a:t>Unit of measure</a:t>
              </a:r>
            </a:p>
          </p:txBody>
        </p:sp>
      </p:grpSp>
      <p:sp>
        <p:nvSpPr>
          <p:cNvPr id="22" name="Slide Number Placeholder 1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/>
            <a:fld id="{42C328C1-A84F-4A39-A664-DBA00541A8C6}" type="slidenum">
              <a:rPr>
                <a:solidFill>
                  <a:srgbClr val="000000"/>
                </a:solidFill>
              </a:rPr>
              <a:pPr defTabSz="914400"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/>
        </p:nvSpPr>
        <p:spPr bwMode="gray">
          <a:xfrm>
            <a:off x="58116" y="56149"/>
            <a:ext cx="9028601" cy="6750019"/>
          </a:xfrm>
          <a:prstGeom prst="rect">
            <a:avLst/>
          </a:prstGeom>
          <a:noFill/>
          <a:ln w="38100" cap="flat" cmpd="sng" algn="ctr">
            <a:solidFill>
              <a:srgbClr val="FFD55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296" tIns="46648" rIns="93296" bIns="46648" numCol="1" rtlCol="0" anchor="ctr" anchorCtr="0" compatLnSpc="1">
            <a:prstTxWarp prst="textNoShape">
              <a:avLst/>
            </a:prstTxWarp>
          </a:bodyPr>
          <a:lstStyle/>
          <a:p>
            <a:pPr algn="ctr" defTabSz="932962" eaLnBrk="0" hangingPunct="0">
              <a:buSzPct val="85000"/>
              <a:buFont typeface="Monotype Sorts" pitchFamily="2" charset="2"/>
              <a:buNone/>
              <a:defRPr/>
            </a:pPr>
            <a:endParaRPr lang="en-US" sz="1600" b="1" kern="0" dirty="0">
              <a:solidFill>
                <a:srgbClr val="FFFFFF"/>
              </a:solidFill>
              <a:latin typeface="Arial Narrow" pitchFamily="34" charset="0"/>
              <a:ea typeface="ＭＳ Ｐゴシック"/>
              <a:cs typeface="Arial" charset="0"/>
            </a:endParaRPr>
          </a:p>
        </p:txBody>
      </p:sp>
      <p:pic>
        <p:nvPicPr>
          <p:cNvPr id="12304" name="Picture 16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71" y="6360592"/>
            <a:ext cx="1076138" cy="379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769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6.pn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Frances.Jensen@cms.hhs.gov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cbi.nlm.nih.gov/pubmed/24752342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19200"/>
            <a:ext cx="9144000" cy="1066800"/>
          </a:xfrm>
          <a:effectLst/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900" b="1" dirty="0" smtClean="0">
                <a:solidFill>
                  <a:schemeClr val="tx2"/>
                </a:solidFill>
                <a:cs typeface="Times New Roman" panose="02020603050405020304" pitchFamily="18" charset="0"/>
              </a:rPr>
              <a:t>State Innovations in Delivery and Payment Reform</a:t>
            </a:r>
            <a:endParaRPr lang="en-US" sz="2900" i="1" dirty="0">
              <a:solidFill>
                <a:schemeClr val="tx2"/>
              </a:solidFill>
              <a:cs typeface="Times New Roman" panose="02020603050405020304" pitchFamily="18" charset="0"/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800600" y="2500312"/>
            <a:ext cx="4343400" cy="2362200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endParaRPr lang="en-US" dirty="0" smtClean="0"/>
          </a:p>
          <a:p>
            <a:pPr>
              <a:spcBef>
                <a:spcPts val="0"/>
              </a:spcBef>
            </a:pPr>
            <a:r>
              <a:rPr lang="en-US" dirty="0" smtClean="0"/>
              <a:t>CDR Frances R. Jensen, MD</a:t>
            </a:r>
          </a:p>
          <a:p>
            <a:pPr>
              <a:spcBef>
                <a:spcPts val="0"/>
              </a:spcBef>
            </a:pPr>
            <a:r>
              <a:rPr lang="en-US" dirty="0" smtClean="0"/>
              <a:t>Deputy Director, </a:t>
            </a:r>
          </a:p>
          <a:p>
            <a:pPr>
              <a:spcBef>
                <a:spcPts val="0"/>
              </a:spcBef>
            </a:pPr>
            <a:r>
              <a:rPr lang="en-US" dirty="0" smtClean="0"/>
              <a:t>State Innovations Group, </a:t>
            </a:r>
          </a:p>
          <a:p>
            <a:pPr>
              <a:spcBef>
                <a:spcPts val="0"/>
              </a:spcBef>
            </a:pPr>
            <a:r>
              <a:rPr lang="en-US" dirty="0" smtClean="0"/>
              <a:t>Project Officer, ME SIM</a:t>
            </a:r>
          </a:p>
          <a:p>
            <a:pPr>
              <a:spcBef>
                <a:spcPts val="0"/>
              </a:spcBef>
            </a:pPr>
            <a:r>
              <a:rPr lang="en-US" dirty="0" smtClean="0"/>
              <a:t>CMMI</a:t>
            </a:r>
          </a:p>
          <a:p>
            <a:pPr>
              <a:spcBef>
                <a:spcPts val="0"/>
              </a:spcBef>
            </a:pPr>
            <a:endParaRPr lang="en-US" dirty="0"/>
          </a:p>
          <a:p>
            <a:pPr>
              <a:spcBef>
                <a:spcPts val="0"/>
              </a:spcBef>
            </a:pPr>
            <a:r>
              <a:rPr lang="en-US" dirty="0" smtClean="0"/>
              <a:t>December 8, 2015</a:t>
            </a:r>
          </a:p>
          <a:p>
            <a:endParaRPr lang="en-US" dirty="0" smtClean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942763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81696"/>
            <a:ext cx="8686800" cy="519112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CMS is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aligning with private sector and states to drive delivery system reform</a:t>
            </a:r>
            <a:endParaRPr lang="en-US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4" name="Text Placeholder 5"/>
          <p:cNvSpPr txBox="1">
            <a:spLocks/>
          </p:cNvSpPr>
          <p:nvPr/>
        </p:nvSpPr>
        <p:spPr bwMode="auto">
          <a:xfrm>
            <a:off x="872964" y="1155376"/>
            <a:ext cx="758850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3pPr>
            <a:lvl4pPr marL="1371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20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4pPr>
            <a:lvl5pPr marL="18288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defRPr sz="2000" kern="1200">
                <a:solidFill>
                  <a:schemeClr val="tx1"/>
                </a:solidFill>
                <a:latin typeface="Arial"/>
                <a:ea typeface="ＭＳ Ｐゴシック" charset="0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" indent="0">
              <a:spcBef>
                <a:spcPts val="1200"/>
              </a:spcBef>
              <a:buNone/>
            </a:pPr>
            <a:r>
              <a:rPr lang="en-US" sz="2400" b="1" dirty="0" smtClean="0">
                <a:solidFill>
                  <a:schemeClr val="tx2"/>
                </a:solidFill>
                <a:latin typeface="+mn-lt"/>
              </a:rPr>
              <a:t>CMS Strategies for Aligning with Private Sector and states </a:t>
            </a:r>
            <a:endParaRPr lang="en-US" sz="2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" name="Text Placeholder 2"/>
          <p:cNvSpPr txBox="1">
            <a:spLocks/>
          </p:cNvSpPr>
          <p:nvPr/>
        </p:nvSpPr>
        <p:spPr bwMode="auto">
          <a:xfrm>
            <a:off x="3297847" y="3486782"/>
            <a:ext cx="2379053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175">
              <a:spcBef>
                <a:spcPts val="1200"/>
              </a:spcBef>
            </a:pPr>
            <a:endParaRPr lang="en-US" sz="1400" kern="0" dirty="0"/>
          </a:p>
        </p:txBody>
      </p:sp>
      <p:sp>
        <p:nvSpPr>
          <p:cNvPr id="16" name="Text Placeholder 2"/>
          <p:cNvSpPr txBox="1">
            <a:spLocks/>
          </p:cNvSpPr>
          <p:nvPr/>
        </p:nvSpPr>
        <p:spPr bwMode="auto">
          <a:xfrm>
            <a:off x="5926746" y="3486782"/>
            <a:ext cx="2379053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175">
              <a:spcBef>
                <a:spcPts val="1200"/>
              </a:spcBef>
            </a:pPr>
            <a:endParaRPr lang="en-US" sz="1400" kern="0" dirty="0"/>
          </a:p>
        </p:txBody>
      </p:sp>
      <p:sp>
        <p:nvSpPr>
          <p:cNvPr id="3" name="TextBox 2"/>
          <p:cNvSpPr txBox="1"/>
          <p:nvPr/>
        </p:nvSpPr>
        <p:spPr>
          <a:xfrm>
            <a:off x="942714" y="4412690"/>
            <a:ext cx="2448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4508E"/>
                </a:solidFill>
              </a:rPr>
              <a:t>Convening Stakeholders</a:t>
            </a:r>
            <a:endParaRPr lang="en-US" b="1" dirty="0">
              <a:solidFill>
                <a:srgbClr val="04508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43525" y="4412690"/>
            <a:ext cx="2448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4508E"/>
                </a:solidFill>
              </a:rPr>
              <a:t>Incentivizing </a:t>
            </a:r>
          </a:p>
          <a:p>
            <a:pPr algn="ctr"/>
            <a:r>
              <a:rPr lang="en-US" b="1" dirty="0" smtClean="0">
                <a:solidFill>
                  <a:srgbClr val="04508E"/>
                </a:solidFill>
              </a:rPr>
              <a:t>Providers</a:t>
            </a:r>
            <a:endParaRPr lang="en-US" b="1" dirty="0">
              <a:solidFill>
                <a:srgbClr val="04508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850237" y="4460315"/>
            <a:ext cx="24484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4508E"/>
                </a:solidFill>
              </a:rPr>
              <a:t>Partnering </a:t>
            </a:r>
          </a:p>
          <a:p>
            <a:pPr algn="ctr"/>
            <a:r>
              <a:rPr lang="en-US" b="1" dirty="0" smtClean="0">
                <a:solidFill>
                  <a:srgbClr val="04508E"/>
                </a:solidFill>
              </a:rPr>
              <a:t>with States</a:t>
            </a:r>
            <a:endParaRPr lang="en-US" b="1" dirty="0">
              <a:solidFill>
                <a:srgbClr val="04508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375" y="2040581"/>
            <a:ext cx="7048500" cy="222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23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 smtClean="0"/>
              <a:t>The Health Care Payment Learning and Action Network will accelerate the transition to alternative payment models</a:t>
            </a:r>
            <a:endParaRPr lang="en-US" sz="18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274347" y="1093266"/>
            <a:ext cx="5994373" cy="5155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Medicare alone cannot drive sustained progress 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towards alternative payment models (APM)</a:t>
            </a:r>
          </a:p>
          <a:p>
            <a:pPr marL="0" indent="0">
              <a:buNone/>
            </a:pPr>
            <a:endParaRPr lang="en-US" sz="2000" dirty="0" smtClean="0">
              <a:latin typeface="+mj-lt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  <a:cs typeface="Arial" panose="020B0604020202020204" pitchFamily="34" charset="0"/>
              </a:rPr>
              <a:t>Success depends upon a 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critical mass of partners 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adopting new models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</a:rPr>
              <a:t>The network will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7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C</a:t>
            </a:r>
            <a:r>
              <a:rPr lang="en-US" sz="17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onvene </a:t>
            </a:r>
            <a:r>
              <a:rPr lang="en-US" sz="1700" dirty="0" smtClean="0">
                <a:latin typeface="+mj-lt"/>
              </a:rPr>
              <a:t>payers, purchasers, consumers, states and federal partners to establish a common pathway for succes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7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Identify areas of agreement </a:t>
            </a:r>
            <a:r>
              <a:rPr lang="en-US" sz="1700" dirty="0" smtClean="0">
                <a:latin typeface="+mj-lt"/>
              </a:rPr>
              <a:t>around movement to APM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700" dirty="0" smtClean="0">
                <a:latin typeface="+mj-lt"/>
              </a:rPr>
              <a:t>Collaborate to </a:t>
            </a:r>
            <a:r>
              <a:rPr lang="en-US" sz="17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generate evidence, shared approaches, and remove barrier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7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evelop common approaches </a:t>
            </a:r>
            <a:r>
              <a:rPr lang="en-US" sz="1700" dirty="0" smtClean="0">
                <a:latin typeface="+mj-lt"/>
              </a:rPr>
              <a:t>to core issues such as beneficiary attribu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700" dirty="0" smtClean="0">
                <a:latin typeface="+mj-lt"/>
              </a:rPr>
              <a:t>Create </a:t>
            </a:r>
            <a:r>
              <a:rPr lang="en-US" sz="17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implementation guides </a:t>
            </a:r>
            <a:r>
              <a:rPr lang="en-US" sz="1700" dirty="0" smtClean="0">
                <a:latin typeface="+mj-lt"/>
              </a:rPr>
              <a:t>for payers and purchaser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390640" y="1204734"/>
            <a:ext cx="2367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Network Objectives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268720" y="1093266"/>
            <a:ext cx="2583049" cy="4018561"/>
          </a:xfrm>
          <a:prstGeom prst="rect">
            <a:avLst/>
          </a:prstGeom>
          <a:noFill/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6268719" y="1726466"/>
            <a:ext cx="258304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600" dirty="0" smtClean="0"/>
              <a:t>Match or exceed Medicare alternative payment model goals across the US health system</a:t>
            </a:r>
            <a:endParaRPr lang="en-US" sz="1600" dirty="0"/>
          </a:p>
          <a:p>
            <a:pPr marL="231775"/>
            <a:r>
              <a:rPr lang="en-US" sz="1600" dirty="0" smtClean="0"/>
              <a:t>-30% in APM by 2016</a:t>
            </a:r>
          </a:p>
          <a:p>
            <a:pPr marL="231775"/>
            <a:r>
              <a:rPr lang="en-US" sz="1600" dirty="0" smtClean="0"/>
              <a:t>-50% in APM by 2018</a:t>
            </a:r>
            <a:endParaRPr lang="en-US" sz="1600" dirty="0"/>
          </a:p>
          <a:p>
            <a:endParaRPr lang="en-US" sz="1600" dirty="0" smtClean="0"/>
          </a:p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600" dirty="0"/>
              <a:t>Shift momentum from CMS to private payer/purchaser </a:t>
            </a:r>
            <a:r>
              <a:rPr lang="en-US" sz="1600" dirty="0" smtClean="0"/>
              <a:t>and state communities</a:t>
            </a:r>
            <a:endParaRPr lang="en-US" sz="1600" dirty="0"/>
          </a:p>
          <a:p>
            <a:pPr marL="111125" indent="-111125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600" dirty="0"/>
              <a:t>Align on </a:t>
            </a:r>
            <a:r>
              <a:rPr lang="en-US" sz="1600" dirty="0" smtClean="0"/>
              <a:t>core </a:t>
            </a:r>
            <a:r>
              <a:rPr lang="en-US" sz="1600" dirty="0"/>
              <a:t>aspects of </a:t>
            </a:r>
            <a:r>
              <a:rPr lang="en-US" sz="1600" dirty="0" smtClean="0"/>
              <a:t>alternative payment </a:t>
            </a:r>
            <a:r>
              <a:rPr lang="en-US" sz="1600" dirty="0"/>
              <a:t>design</a:t>
            </a:r>
          </a:p>
          <a:p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0341638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/>
              <a:t>CMMI plays an important role in driving Congressional policy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488659" y="1279003"/>
            <a:ext cx="5994373" cy="5155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endParaRPr lang="en-US" sz="1700" dirty="0" smtClean="0">
              <a:latin typeface="+mj-lt"/>
            </a:endParaRPr>
          </a:p>
        </p:txBody>
      </p:sp>
      <p:pic>
        <p:nvPicPr>
          <p:cNvPr id="8" name="Pictur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70" y="923926"/>
            <a:ext cx="6077349" cy="475839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/>
          <p:cNvSpPr/>
          <p:nvPr/>
        </p:nvSpPr>
        <p:spPr>
          <a:xfrm>
            <a:off x="6483031" y="1414374"/>
            <a:ext cx="230378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en-US" b="1" dirty="0">
                <a:solidFill>
                  <a:prstClr val="black"/>
                </a:solidFill>
                <a:latin typeface="Constantia"/>
              </a:rPr>
              <a:t>According to the Congressional Budget Office, federal spending on major health care programs in 2020 will be </a:t>
            </a:r>
            <a:r>
              <a:rPr lang="en-US" b="1" dirty="0">
                <a:solidFill>
                  <a:srgbClr val="006600"/>
                </a:solidFill>
                <a:latin typeface="Constantia"/>
              </a:rPr>
              <a:t>$200 Billion </a:t>
            </a:r>
            <a:r>
              <a:rPr lang="en-US" b="1" dirty="0">
                <a:solidFill>
                  <a:prstClr val="black"/>
                </a:solidFill>
                <a:latin typeface="Constantia"/>
              </a:rPr>
              <a:t>lower than </a:t>
            </a:r>
            <a:r>
              <a:rPr lang="en-US" b="1" u="sng" dirty="0">
                <a:solidFill>
                  <a:srgbClr val="FF0000"/>
                </a:solidFill>
                <a:latin typeface="Constantia"/>
              </a:rPr>
              <a:t>predicted</a:t>
            </a:r>
            <a:r>
              <a:rPr lang="en-US" b="1" dirty="0">
                <a:solidFill>
                  <a:prstClr val="black"/>
                </a:solidFill>
                <a:latin typeface="Constantia"/>
              </a:rPr>
              <a:t> in 2010. </a:t>
            </a:r>
          </a:p>
        </p:txBody>
      </p:sp>
    </p:spTree>
    <p:extLst>
      <p:ext uri="{BB962C8B-B14F-4D97-AF65-F5344CB8AC3E}">
        <p14:creationId xmlns:p14="http://schemas.microsoft.com/office/powerpoint/2010/main" val="4061859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portfolio is defining how the industry needs to chang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1052504"/>
            <a:ext cx="9144000" cy="3949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6553200" y="567049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defTabSz="457200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+mn-cs"/>
              </a:defRPr>
            </a:lvl9pPr>
          </a:lstStyle>
          <a:p>
            <a:fld id="{7022FF3C-310F-4809-A5BE-BC5BA8AA108D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95069" y="4133251"/>
            <a:ext cx="1239382" cy="130379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Deliver Care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Content Placeholder 8"/>
          <p:cNvSpPr txBox="1">
            <a:spLocks/>
          </p:cNvSpPr>
          <p:nvPr/>
        </p:nvSpPr>
        <p:spPr bwMode="auto">
          <a:xfrm>
            <a:off x="1434451" y="4382542"/>
            <a:ext cx="7693891" cy="1026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2" spcCol="182880" anchor="t" anchorCtr="0" compatLnSpc="1">
            <a:prstTxWarp prst="textNoShape">
              <a:avLst/>
            </a:prstTxWarp>
            <a:noAutofit/>
          </a:bodyPr>
          <a:lstStyle/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latin typeface="+mn-lt"/>
                <a:cs typeface="ＭＳ Ｐゴシック" charset="-128"/>
              </a:rPr>
              <a:t>Learning and Diffusion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Partnership for Patients 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Transforming Clinical Practice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Community-Based </a:t>
            </a:r>
            <a:r>
              <a:rPr lang="en-US" sz="1100" dirty="0">
                <a:latin typeface="+mn-lt"/>
              </a:rPr>
              <a:t>Care </a:t>
            </a:r>
            <a:r>
              <a:rPr lang="en-US" sz="1100" dirty="0" smtClean="0">
                <a:latin typeface="+mn-lt"/>
              </a:rPr>
              <a:t>Transitions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endParaRPr lang="en-US" sz="600" b="1" dirty="0" smtClean="0">
              <a:latin typeface="+mn-lt"/>
              <a:cs typeface="ＭＳ Ｐゴシック" charset="-128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cs typeface="ＭＳ Ｐゴシック" charset="-128"/>
              </a:rPr>
              <a:t>Health Care Innovation </a:t>
            </a:r>
            <a:r>
              <a:rPr lang="en-US" sz="1200" b="1" dirty="0" smtClean="0">
                <a:cs typeface="ＭＳ Ｐゴシック" charset="-128"/>
              </a:rPr>
              <a:t>Awards</a:t>
            </a: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State Innovation Models Initiative</a:t>
            </a:r>
            <a:endParaRPr lang="en-US" sz="1200" dirty="0"/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cs typeface="ＭＳ Ｐゴシック" charset="-128"/>
              </a:rPr>
              <a:t>SIM Round 1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cs typeface="ＭＳ Ｐゴシック" charset="-128"/>
              </a:rPr>
              <a:t>SIM Round 2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cs typeface="ＭＳ Ｐゴシック" charset="-128"/>
              </a:rPr>
              <a:t>Maryland All-Payer Model</a:t>
            </a:r>
          </a:p>
          <a:p>
            <a:pPr marL="115887" eaLnBrk="0" hangingPunct="0">
              <a:spcBef>
                <a:spcPts val="0"/>
              </a:spcBef>
              <a:defRPr/>
            </a:pPr>
            <a:endParaRPr lang="en-US" sz="600" b="1" dirty="0" smtClean="0">
              <a:latin typeface="+mn-lt"/>
              <a:cs typeface="ＭＳ Ｐゴシック" charset="-128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cs typeface="ＭＳ Ｐゴシック" charset="-128"/>
              </a:rPr>
              <a:t>Million Hearts Cardiovascular Risk Reduction Model</a:t>
            </a:r>
            <a:endParaRPr lang="en-US" sz="1200" dirty="0"/>
          </a:p>
        </p:txBody>
      </p:sp>
      <p:sp>
        <p:nvSpPr>
          <p:cNvPr id="9" name="Rectangle 8"/>
          <p:cNvSpPr/>
          <p:nvPr/>
        </p:nvSpPr>
        <p:spPr>
          <a:xfrm>
            <a:off x="190150" y="4133251"/>
            <a:ext cx="8782549" cy="1303793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95069" y="5482631"/>
            <a:ext cx="1239382" cy="72764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Distribute Information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513158" y="5487007"/>
            <a:ext cx="7459541" cy="723273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1" name="Content Placeholder 8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513158" y="5730735"/>
            <a:ext cx="7536476" cy="340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2" spcCol="182880" anchor="t" anchorCtr="0" compatLnSpc="1">
            <a:prstTxWarp prst="textNoShape">
              <a:avLst/>
            </a:prstTxWarp>
            <a:noAutofit/>
          </a:bodyPr>
          <a:lstStyle/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Health Care Payment Learning and Action Network</a:t>
            </a:r>
          </a:p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Information </a:t>
            </a:r>
            <a:r>
              <a:rPr lang="en-US" sz="1200" b="1" dirty="0">
                <a:latin typeface="+mn-lt"/>
                <a:cs typeface="ＭＳ Ｐゴシック" charset="-128"/>
              </a:rPr>
              <a:t>to providers in CMMI </a:t>
            </a:r>
            <a:r>
              <a:rPr lang="en-US" sz="1200" b="1" dirty="0" smtClean="0">
                <a:latin typeface="+mn-lt"/>
                <a:cs typeface="ＭＳ Ｐゴシック" charset="-128"/>
              </a:rPr>
              <a:t>models</a:t>
            </a:r>
          </a:p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endParaRPr lang="en-US" sz="1200" b="1" dirty="0" smtClean="0">
              <a:latin typeface="+mn-lt"/>
              <a:cs typeface="ＭＳ Ｐゴシック" charset="-128"/>
            </a:endParaRPr>
          </a:p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Shared decision-making required by many models</a:t>
            </a:r>
            <a:endParaRPr lang="en-US" sz="1200" b="1" dirty="0">
              <a:latin typeface="+mn-lt"/>
              <a:cs typeface="ＭＳ Ｐゴシック" charset="-128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95069" y="866015"/>
            <a:ext cx="1239382" cy="316427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Pay Providers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" name="Content Placeholder 8"/>
          <p:cNvSpPr txBox="1">
            <a:spLocks/>
          </p:cNvSpPr>
          <p:nvPr/>
        </p:nvSpPr>
        <p:spPr bwMode="auto">
          <a:xfrm>
            <a:off x="1434451" y="1108949"/>
            <a:ext cx="7538248" cy="2957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2" spcCol="274320" anchor="t" anchorCtr="0" compatLnSpc="1">
            <a:prstTxWarp prst="textNoShape">
              <a:avLst/>
            </a:prstTxWarp>
            <a:noAutofit/>
          </a:bodyPr>
          <a:lstStyle/>
          <a:p>
            <a:pPr marL="112713" lvl="0" indent="-112713" defTabSz="457200" eaLnBrk="0" fontAlgn="base" hangingPunct="0">
              <a:spcBef>
                <a:spcPts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Accountable Care </a:t>
            </a:r>
            <a:endParaRPr lang="en-US" sz="1100" dirty="0" smtClean="0"/>
          </a:p>
          <a:p>
            <a:pPr marL="288925" lvl="0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Pioneer ACO Model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Medicare Shared Savings Program (housed in Center for Medicare)</a:t>
            </a:r>
          </a:p>
          <a:p>
            <a:pPr marL="288925" lvl="0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Advance Payment ACO Model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Comprehensive ERSD Care </a:t>
            </a:r>
            <a:r>
              <a:rPr lang="en-US" sz="1100" dirty="0" smtClean="0"/>
              <a:t>Initiative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/>
              <a:t>Next Generation ACO</a:t>
            </a:r>
            <a:endParaRPr lang="en-US" sz="1100" dirty="0"/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6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cs typeface="ＭＳ Ｐゴシック" charset="-128"/>
            </a:endParaRPr>
          </a:p>
          <a:p>
            <a:pPr marL="112713" marR="0" indent="-112713" eaLnBrk="0" latinLnBrk="0" hangingPunct="0">
              <a:lnSpc>
                <a:spcPct val="10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b="1" dirty="0">
                <a:latin typeface="+mn-lt"/>
                <a:cs typeface="ＭＳ Ｐゴシック" charset="-128"/>
              </a:rPr>
              <a:t>Primary Care Transformation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Comprehensive Primary Care Initiative (CPC)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Multi-Payer Advanced Primary Care Practice (MAPCP) </a:t>
            </a:r>
            <a:r>
              <a:rPr lang="en-US" sz="1100" dirty="0" smtClean="0"/>
              <a:t>Demonstration</a:t>
            </a:r>
            <a:endParaRPr lang="en-US" sz="1100" dirty="0" smtClean="0">
              <a:latin typeface="+mn-lt"/>
            </a:endParaRP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Independence </a:t>
            </a:r>
            <a:r>
              <a:rPr lang="en-US" sz="1100" dirty="0">
                <a:latin typeface="+mn-lt"/>
              </a:rPr>
              <a:t>at Home Demonstration 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>
                <a:latin typeface="+mn-lt"/>
              </a:rPr>
              <a:t>Graduate Nurse Education </a:t>
            </a:r>
            <a:r>
              <a:rPr lang="en-US" sz="1100" dirty="0" smtClean="0">
                <a:latin typeface="+mn-lt"/>
              </a:rPr>
              <a:t>Demonstration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Home Health Value Based Purchasing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Medicare Care Choices</a:t>
            </a:r>
            <a:endParaRPr lang="en-US" sz="600" dirty="0" smtClean="0">
              <a:latin typeface="+mn-lt"/>
            </a:endParaRPr>
          </a:p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endParaRPr lang="en-US" sz="1200" b="1" dirty="0" smtClean="0">
              <a:latin typeface="+mn-lt"/>
              <a:cs typeface="ＭＳ Ｐゴシック" charset="-128"/>
            </a:endParaRPr>
          </a:p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endParaRPr lang="en-US" sz="1200" b="1" dirty="0" smtClean="0">
              <a:latin typeface="+mn-lt"/>
              <a:cs typeface="ＭＳ Ｐゴシック" charset="-128"/>
            </a:endParaRPr>
          </a:p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Bundled payment models</a:t>
            </a:r>
            <a:endParaRPr lang="en-US" sz="1200" b="1" dirty="0">
              <a:latin typeface="+mn-lt"/>
              <a:cs typeface="ＭＳ Ｐゴシック" charset="-128"/>
            </a:endParaRPr>
          </a:p>
          <a:p>
            <a:pPr marL="288925" indent="-173038" eaLnBrk="0" hangingPunct="0">
              <a:buFont typeface="Calibri" panose="020F0502020204030204" pitchFamily="34" charset="0"/>
              <a:buChar char="‒"/>
              <a:defRPr/>
            </a:pPr>
            <a:r>
              <a:rPr lang="en-US" sz="1100" dirty="0" smtClean="0"/>
              <a:t>Bundled Payment for Care Improvement Models 1-4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/>
              <a:t>Oncology Care Model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/>
              <a:t>Comprehensive Care for Joint Replacement</a:t>
            </a:r>
          </a:p>
          <a:p>
            <a:pPr marL="115888" lvl="0" eaLnBrk="0" hangingPunct="0">
              <a:spcBef>
                <a:spcPts val="0"/>
              </a:spcBef>
              <a:defRPr/>
            </a:pPr>
            <a:endParaRPr lang="en-US" sz="600" b="1" dirty="0" smtClean="0">
              <a:latin typeface="+mn-lt"/>
              <a:cs typeface="ＭＳ Ｐゴシック" charset="-128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latin typeface="+mn-lt"/>
                <a:cs typeface="ＭＳ Ｐゴシック" charset="-128"/>
              </a:rPr>
              <a:t>Initiatives Focused on the Medicaid </a:t>
            </a:r>
            <a:endParaRPr lang="en-US" sz="1200" b="1" dirty="0" smtClean="0">
              <a:latin typeface="+mn-lt"/>
              <a:cs typeface="ＭＳ Ｐゴシック" charset="-128"/>
            </a:endParaRP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Medicaid </a:t>
            </a:r>
            <a:r>
              <a:rPr lang="en-US" sz="1100" dirty="0">
                <a:latin typeface="+mn-lt"/>
              </a:rPr>
              <a:t>Incentives for Prevention of Chronic Diseases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>
                <a:latin typeface="+mn-lt"/>
              </a:rPr>
              <a:t>Strong Start </a:t>
            </a:r>
            <a:r>
              <a:rPr lang="en-US" sz="1100" dirty="0" smtClean="0">
                <a:latin typeface="+mn-lt"/>
              </a:rPr>
              <a:t>Initiative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/>
              <a:t>Medicaid Innovation Accelerator Program</a:t>
            </a:r>
            <a:endParaRPr lang="en-US" sz="1100" dirty="0"/>
          </a:p>
          <a:p>
            <a:pPr marL="115888" lvl="0" eaLnBrk="0" hangingPunct="0">
              <a:spcBef>
                <a:spcPts val="0"/>
              </a:spcBef>
              <a:defRPr/>
            </a:pPr>
            <a:endParaRPr lang="en-US" sz="600" b="1" dirty="0" smtClean="0">
              <a:latin typeface="+mn-lt"/>
              <a:cs typeface="ＭＳ Ｐゴシック" charset="-128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latin typeface="+mn-lt"/>
                <a:cs typeface="ＭＳ Ｐゴシック" charset="-128"/>
              </a:rPr>
              <a:t>Dual Eligible (Medicare-Medicaid </a:t>
            </a:r>
            <a:r>
              <a:rPr lang="en-US" sz="1200" b="1" dirty="0" smtClean="0">
                <a:latin typeface="+mn-lt"/>
                <a:cs typeface="ＭＳ Ｐゴシック" charset="-128"/>
              </a:rPr>
              <a:t>Enrollees)</a:t>
            </a:r>
            <a:endParaRPr lang="en-US" sz="1200" b="1" dirty="0">
              <a:latin typeface="+mn-lt"/>
              <a:cs typeface="ＭＳ Ｐゴシック" charset="-128"/>
            </a:endParaRP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>
                <a:latin typeface="+mn-lt"/>
              </a:rPr>
              <a:t>Financial Alignment Initiative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>
                <a:latin typeface="+mn-lt"/>
              </a:rPr>
              <a:t>Initiative to Reduce Avoidable Hospitalizations </a:t>
            </a:r>
            <a:r>
              <a:rPr lang="en-US" sz="1100" dirty="0" smtClean="0">
                <a:latin typeface="+mn-lt"/>
              </a:rPr>
              <a:t>among Nursing Facility Residents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endParaRPr lang="en-US" sz="600" dirty="0" smtClean="0">
              <a:latin typeface="+mn-lt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cs typeface="ＭＳ Ｐゴシック" charset="-128"/>
              </a:rPr>
              <a:t>Medicare Advantage (Part C) and Part D</a:t>
            </a:r>
            <a:endParaRPr lang="en-US" sz="1200" b="1" dirty="0">
              <a:cs typeface="ＭＳ Ｐゴシック" charset="-128"/>
            </a:endParaRP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050" dirty="0" smtClean="0"/>
              <a:t>Medicare Advantage Value-Based Insurance Design model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050" dirty="0" smtClean="0"/>
              <a:t>Part D Enhanced Medication Therapy Management</a:t>
            </a:r>
            <a:endParaRPr lang="en-US" sz="1050" dirty="0"/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endParaRPr lang="en-US" sz="110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80725" y="816008"/>
            <a:ext cx="8782549" cy="3214285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34452" y="866015"/>
            <a:ext cx="38469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smtClean="0"/>
              <a:t>Test and expand alternative payment models</a:t>
            </a:r>
            <a:endParaRPr lang="en-US" sz="1200" b="1" u="sng" dirty="0"/>
          </a:p>
        </p:txBody>
      </p:sp>
      <p:sp>
        <p:nvSpPr>
          <p:cNvPr id="17" name="TextBox 16"/>
          <p:cNvSpPr txBox="1"/>
          <p:nvPr/>
        </p:nvSpPr>
        <p:spPr>
          <a:xfrm>
            <a:off x="1434452" y="4133251"/>
            <a:ext cx="43687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smtClean="0"/>
              <a:t>Support providers and states to improve the delivery of care</a:t>
            </a:r>
            <a:endParaRPr lang="en-US" sz="1200" b="1" u="sng" dirty="0"/>
          </a:p>
        </p:txBody>
      </p:sp>
      <p:sp>
        <p:nvSpPr>
          <p:cNvPr id="18" name="TextBox 17"/>
          <p:cNvSpPr txBox="1"/>
          <p:nvPr/>
        </p:nvSpPr>
        <p:spPr>
          <a:xfrm>
            <a:off x="1434452" y="5487008"/>
            <a:ext cx="7536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smtClean="0"/>
              <a:t>Increase information available for effective informed decision-making by consumers and providers</a:t>
            </a:r>
            <a:endParaRPr lang="en-US" sz="1200" b="1" u="sng" dirty="0"/>
          </a:p>
        </p:txBody>
      </p:sp>
    </p:spTree>
    <p:extLst>
      <p:ext uri="{BB962C8B-B14F-4D97-AF65-F5344CB8AC3E}">
        <p14:creationId xmlns:p14="http://schemas.microsoft.com/office/powerpoint/2010/main" val="42577619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199" y="53614"/>
            <a:ext cx="8865669" cy="519112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latin typeface="+mj-lt"/>
              </a:rPr>
              <a:t>CMS has engaged the health care delivery system and invested in innovation across the country</a:t>
            </a:r>
            <a:endParaRPr lang="en-US" dirty="0">
              <a:latin typeface="+mj-lt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711201" y="929882"/>
            <a:ext cx="7712363" cy="5316416"/>
            <a:chOff x="711201" y="957590"/>
            <a:chExt cx="7712363" cy="5316416"/>
          </a:xfrm>
        </p:grpSpPr>
        <p:sp>
          <p:nvSpPr>
            <p:cNvPr id="8" name="Rectangle 7"/>
            <p:cNvSpPr/>
            <p:nvPr/>
          </p:nvSpPr>
          <p:spPr>
            <a:xfrm>
              <a:off x="711201" y="957590"/>
              <a:ext cx="7712363" cy="33551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/>
            <p:cNvSpPr txBox="1"/>
            <p:nvPr>
              <p:custDataLst>
                <p:tags r:id="rId1"/>
              </p:custDataLst>
            </p:nvPr>
          </p:nvSpPr>
          <p:spPr>
            <a:xfrm>
              <a:off x="5329363" y="994534"/>
              <a:ext cx="22098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smtClean="0"/>
                <a:t>Models run at the state level</a:t>
              </a:r>
              <a:endParaRPr lang="en-US" sz="1050" dirty="0"/>
            </a:p>
          </p:txBody>
        </p:sp>
        <p:sp>
          <p:nvSpPr>
            <p:cNvPr id="7" name="TextBox 6"/>
            <p:cNvSpPr txBox="1"/>
            <p:nvPr>
              <p:custDataLst>
                <p:tags r:id="rId2"/>
              </p:custDataLst>
            </p:nvPr>
          </p:nvSpPr>
          <p:spPr>
            <a:xfrm>
              <a:off x="1985800" y="1013776"/>
              <a:ext cx="3276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 smtClean="0"/>
                <a:t>Sites where innovation models are being tested</a:t>
              </a:r>
              <a:endParaRPr lang="en-US" sz="1050" dirty="0"/>
            </a:p>
          </p:txBody>
        </p:sp>
        <p:sp>
          <p:nvSpPr>
            <p:cNvPr id="9" name="Rectangle 8"/>
            <p:cNvSpPr/>
            <p:nvPr>
              <p:custDataLst>
                <p:tags r:id="rId3"/>
              </p:custDataLst>
            </p:nvPr>
          </p:nvSpPr>
          <p:spPr>
            <a:xfrm>
              <a:off x="5054720" y="1019814"/>
              <a:ext cx="207680" cy="19938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/>
            </a:p>
          </p:txBody>
        </p:sp>
        <p:pic>
          <p:nvPicPr>
            <p:cNvPr id="65538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201" y="1293104"/>
              <a:ext cx="7712363" cy="4980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" name="Oval 10"/>
            <p:cNvSpPr/>
            <p:nvPr/>
          </p:nvSpPr>
          <p:spPr>
            <a:xfrm>
              <a:off x="1791836" y="1040487"/>
              <a:ext cx="207680" cy="191794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 w="222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711201" y="957590"/>
              <a:ext cx="7712363" cy="5316416"/>
            </a:xfrm>
            <a:prstGeom prst="rect">
              <a:avLst/>
            </a:prstGeom>
            <a:noFill/>
            <a:ln w="15875">
              <a:solidFill>
                <a:schemeClr val="tx2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152400" y="6477000"/>
            <a:ext cx="472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prstClr val="black"/>
                </a:solidFill>
              </a:rPr>
              <a:t>Source: CMS Innovation Center website, January 2015</a:t>
            </a:r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915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guiding principl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235997" y="1438573"/>
            <a:ext cx="6672019" cy="36317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/>
          <a:p>
            <a:pPr algn="ctr"/>
            <a:r>
              <a:rPr lang="en-US" sz="8800" b="1" cap="all" spc="0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SIM</a:t>
            </a:r>
            <a:r>
              <a:rPr lang="en-US" sz="5400" b="1" cap="all" spc="0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 is Everything </a:t>
            </a:r>
          </a:p>
          <a:p>
            <a:pPr algn="ctr"/>
            <a:r>
              <a:rPr lang="en-US" sz="5400" b="1" cap="all" spc="0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and</a:t>
            </a:r>
          </a:p>
          <a:p>
            <a:pPr algn="ctr"/>
            <a:r>
              <a:rPr lang="en-US" sz="5400" b="1" cap="all" spc="0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 everything is </a:t>
            </a:r>
            <a:r>
              <a:rPr lang="en-US" sz="8800" b="1" cap="all" spc="0" dirty="0" err="1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sim</a:t>
            </a:r>
            <a:endParaRPr lang="en-US" sz="8800" b="1" cap="all" spc="0" dirty="0">
              <a:ln/>
              <a:solidFill>
                <a:schemeClr val="accent1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971500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274347" y="939999"/>
            <a:ext cx="8549141" cy="2336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CMS is testing the ability of </a:t>
            </a: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state governments to utilize policy and regulatory levers</a:t>
            </a:r>
            <a:r>
              <a:rPr lang="en-US" sz="20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2000" dirty="0">
                <a:latin typeface="+mj-lt"/>
                <a:cs typeface="Arial" panose="020B0604020202020204" pitchFamily="34" charset="0"/>
              </a:rPr>
              <a:t>to accelerate health care 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transformation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Primary objectives includ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latin typeface="+mj-lt"/>
                <a:cs typeface="Arial" panose="020B0604020202020204" pitchFamily="34" charset="0"/>
              </a:rPr>
              <a:t>Improving the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quality of care </a:t>
            </a:r>
            <a:r>
              <a:rPr lang="en-US" sz="1600" dirty="0">
                <a:latin typeface="+mj-lt"/>
                <a:cs typeface="Arial" panose="020B0604020202020204" pitchFamily="34" charset="0"/>
              </a:rPr>
              <a:t>delivered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latin typeface="+mj-lt"/>
                <a:cs typeface="Arial" panose="020B0604020202020204" pitchFamily="34" charset="0"/>
              </a:rPr>
              <a:t>Improving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population health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600" dirty="0">
                <a:latin typeface="+mj-lt"/>
                <a:cs typeface="Arial" panose="020B0604020202020204" pitchFamily="34" charset="0"/>
              </a:rPr>
              <a:t>Increasing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cost efficiency </a:t>
            </a:r>
            <a:r>
              <a:rPr lang="en-US" sz="1600" dirty="0">
                <a:latin typeface="+mj-lt"/>
                <a:cs typeface="Arial" panose="020B0604020202020204" pitchFamily="34" charset="0"/>
              </a:rPr>
              <a:t>and expand </a:t>
            </a:r>
            <a:r>
              <a:rPr lang="en-US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value-based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payment</a:t>
            </a:r>
            <a:endParaRPr lang="en-US" sz="16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98" y="85295"/>
            <a:ext cx="8915400" cy="519112"/>
          </a:xfrm>
        </p:spPr>
        <p:txBody>
          <a:bodyPr/>
          <a:lstStyle/>
          <a:p>
            <a:r>
              <a:rPr lang="en-US" sz="2400" dirty="0" smtClean="0">
                <a:latin typeface="+mn-lt"/>
              </a:rPr>
              <a:t>State Innovation Model grants have been awarded in two rounds</a:t>
            </a:r>
            <a:endParaRPr lang="en-US" sz="2400" dirty="0"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2628" y="3524250"/>
            <a:ext cx="8549141" cy="2445087"/>
          </a:xfrm>
          <a:prstGeom prst="rect">
            <a:avLst/>
          </a:prstGeom>
          <a:noFill/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668125" y="3905251"/>
            <a:ext cx="2998999" cy="1965340"/>
            <a:chOff x="668125" y="3905251"/>
            <a:chExt cx="2998999" cy="1965340"/>
          </a:xfrm>
        </p:grpSpPr>
        <p:sp>
          <p:nvSpPr>
            <p:cNvPr id="269" name="Freeform 3"/>
            <p:cNvSpPr>
              <a:spLocks/>
            </p:cNvSpPr>
            <p:nvPr/>
          </p:nvSpPr>
          <p:spPr bwMode="auto">
            <a:xfrm>
              <a:off x="881521" y="3905251"/>
              <a:ext cx="374348" cy="276948"/>
            </a:xfrm>
            <a:custGeom>
              <a:avLst/>
              <a:gdLst>
                <a:gd name="T0" fmla="*/ 24 w 557"/>
                <a:gd name="T1" fmla="*/ 29 h 413"/>
                <a:gd name="T2" fmla="*/ 52 w 557"/>
                <a:gd name="T3" fmla="*/ 54 h 413"/>
                <a:gd name="T4" fmla="*/ 79 w 557"/>
                <a:gd name="T5" fmla="*/ 65 h 413"/>
                <a:gd name="T6" fmla="*/ 97 w 557"/>
                <a:gd name="T7" fmla="*/ 72 h 413"/>
                <a:gd name="T8" fmla="*/ 134 w 557"/>
                <a:gd name="T9" fmla="*/ 89 h 413"/>
                <a:gd name="T10" fmla="*/ 145 w 557"/>
                <a:gd name="T11" fmla="*/ 102 h 413"/>
                <a:gd name="T12" fmla="*/ 138 w 557"/>
                <a:gd name="T13" fmla="*/ 120 h 413"/>
                <a:gd name="T14" fmla="*/ 134 w 557"/>
                <a:gd name="T15" fmla="*/ 120 h 413"/>
                <a:gd name="T16" fmla="*/ 105 w 557"/>
                <a:gd name="T17" fmla="*/ 159 h 413"/>
                <a:gd name="T18" fmla="*/ 123 w 557"/>
                <a:gd name="T19" fmla="*/ 137 h 413"/>
                <a:gd name="T20" fmla="*/ 139 w 557"/>
                <a:gd name="T21" fmla="*/ 141 h 413"/>
                <a:gd name="T22" fmla="*/ 126 w 557"/>
                <a:gd name="T23" fmla="*/ 183 h 413"/>
                <a:gd name="T24" fmla="*/ 126 w 557"/>
                <a:gd name="T25" fmla="*/ 174 h 413"/>
                <a:gd name="T26" fmla="*/ 117 w 557"/>
                <a:gd name="T27" fmla="*/ 176 h 413"/>
                <a:gd name="T28" fmla="*/ 114 w 557"/>
                <a:gd name="T29" fmla="*/ 164 h 413"/>
                <a:gd name="T30" fmla="*/ 96 w 557"/>
                <a:gd name="T31" fmla="*/ 185 h 413"/>
                <a:gd name="T32" fmla="*/ 111 w 557"/>
                <a:gd name="T33" fmla="*/ 188 h 413"/>
                <a:gd name="T34" fmla="*/ 121 w 557"/>
                <a:gd name="T35" fmla="*/ 192 h 413"/>
                <a:gd name="T36" fmla="*/ 141 w 557"/>
                <a:gd name="T37" fmla="*/ 182 h 413"/>
                <a:gd name="T38" fmla="*/ 178 w 557"/>
                <a:gd name="T39" fmla="*/ 107 h 413"/>
                <a:gd name="T40" fmla="*/ 162 w 557"/>
                <a:gd name="T41" fmla="*/ 86 h 413"/>
                <a:gd name="T42" fmla="*/ 165 w 557"/>
                <a:gd name="T43" fmla="*/ 45 h 413"/>
                <a:gd name="T44" fmla="*/ 178 w 557"/>
                <a:gd name="T45" fmla="*/ 32 h 413"/>
                <a:gd name="T46" fmla="*/ 175 w 557"/>
                <a:gd name="T47" fmla="*/ 2 h 413"/>
                <a:gd name="T48" fmla="*/ 226 w 557"/>
                <a:gd name="T49" fmla="*/ 18 h 413"/>
                <a:gd name="T50" fmla="*/ 315 w 557"/>
                <a:gd name="T51" fmla="*/ 42 h 413"/>
                <a:gd name="T52" fmla="*/ 428 w 557"/>
                <a:gd name="T53" fmla="*/ 71 h 413"/>
                <a:gd name="T54" fmla="*/ 556 w 557"/>
                <a:gd name="T55" fmla="*/ 99 h 413"/>
                <a:gd name="T56" fmla="*/ 551 w 557"/>
                <a:gd name="T57" fmla="*/ 131 h 413"/>
                <a:gd name="T58" fmla="*/ 533 w 557"/>
                <a:gd name="T59" fmla="*/ 203 h 413"/>
                <a:gd name="T60" fmla="*/ 516 w 557"/>
                <a:gd name="T61" fmla="*/ 285 h 413"/>
                <a:gd name="T62" fmla="*/ 503 w 557"/>
                <a:gd name="T63" fmla="*/ 345 h 413"/>
                <a:gd name="T64" fmla="*/ 500 w 557"/>
                <a:gd name="T65" fmla="*/ 390 h 413"/>
                <a:gd name="T66" fmla="*/ 351 w 557"/>
                <a:gd name="T67" fmla="*/ 377 h 413"/>
                <a:gd name="T68" fmla="*/ 325 w 557"/>
                <a:gd name="T69" fmla="*/ 378 h 413"/>
                <a:gd name="T70" fmla="*/ 300 w 557"/>
                <a:gd name="T71" fmla="*/ 372 h 413"/>
                <a:gd name="T72" fmla="*/ 273 w 557"/>
                <a:gd name="T73" fmla="*/ 377 h 413"/>
                <a:gd name="T74" fmla="*/ 230 w 557"/>
                <a:gd name="T75" fmla="*/ 377 h 413"/>
                <a:gd name="T76" fmla="*/ 207 w 557"/>
                <a:gd name="T77" fmla="*/ 375 h 413"/>
                <a:gd name="T78" fmla="*/ 177 w 557"/>
                <a:gd name="T79" fmla="*/ 368 h 413"/>
                <a:gd name="T80" fmla="*/ 141 w 557"/>
                <a:gd name="T81" fmla="*/ 353 h 413"/>
                <a:gd name="T82" fmla="*/ 114 w 557"/>
                <a:gd name="T83" fmla="*/ 357 h 413"/>
                <a:gd name="T84" fmla="*/ 87 w 557"/>
                <a:gd name="T85" fmla="*/ 350 h 413"/>
                <a:gd name="T86" fmla="*/ 75 w 557"/>
                <a:gd name="T87" fmla="*/ 342 h 413"/>
                <a:gd name="T88" fmla="*/ 73 w 557"/>
                <a:gd name="T89" fmla="*/ 320 h 413"/>
                <a:gd name="T90" fmla="*/ 69 w 557"/>
                <a:gd name="T91" fmla="*/ 288 h 413"/>
                <a:gd name="T92" fmla="*/ 51 w 557"/>
                <a:gd name="T93" fmla="*/ 278 h 413"/>
                <a:gd name="T94" fmla="*/ 45 w 557"/>
                <a:gd name="T95" fmla="*/ 273 h 413"/>
                <a:gd name="T96" fmla="*/ 32 w 557"/>
                <a:gd name="T97" fmla="*/ 258 h 413"/>
                <a:gd name="T98" fmla="*/ 9 w 557"/>
                <a:gd name="T99" fmla="*/ 253 h 413"/>
                <a:gd name="T100" fmla="*/ 0 w 557"/>
                <a:gd name="T101" fmla="*/ 248 h 413"/>
                <a:gd name="T102" fmla="*/ 3 w 557"/>
                <a:gd name="T103" fmla="*/ 228 h 413"/>
                <a:gd name="T104" fmla="*/ 12 w 557"/>
                <a:gd name="T105" fmla="*/ 216 h 413"/>
                <a:gd name="T106" fmla="*/ 9 w 557"/>
                <a:gd name="T107" fmla="*/ 233 h 413"/>
                <a:gd name="T108" fmla="*/ 12 w 557"/>
                <a:gd name="T109" fmla="*/ 239 h 413"/>
                <a:gd name="T110" fmla="*/ 22 w 557"/>
                <a:gd name="T111" fmla="*/ 212 h 413"/>
                <a:gd name="T112" fmla="*/ 16 w 557"/>
                <a:gd name="T113" fmla="*/ 189 h 413"/>
                <a:gd name="T114" fmla="*/ 15 w 557"/>
                <a:gd name="T115" fmla="*/ 180 h 413"/>
                <a:gd name="T116" fmla="*/ 18 w 557"/>
                <a:gd name="T117" fmla="*/ 152 h 413"/>
                <a:gd name="T118" fmla="*/ 16 w 557"/>
                <a:gd name="T119" fmla="*/ 114 h 413"/>
                <a:gd name="T120" fmla="*/ 13 w 557"/>
                <a:gd name="T121" fmla="*/ 81 h 413"/>
                <a:gd name="T122" fmla="*/ 12 w 557"/>
                <a:gd name="T123" fmla="*/ 4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7" h="413">
                  <a:moveTo>
                    <a:pt x="18" y="33"/>
                  </a:moveTo>
                  <a:lnTo>
                    <a:pt x="19" y="30"/>
                  </a:lnTo>
                  <a:lnTo>
                    <a:pt x="18" y="23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21" y="27"/>
                  </a:lnTo>
                  <a:lnTo>
                    <a:pt x="24" y="29"/>
                  </a:lnTo>
                  <a:lnTo>
                    <a:pt x="27" y="32"/>
                  </a:lnTo>
                  <a:lnTo>
                    <a:pt x="31" y="35"/>
                  </a:lnTo>
                  <a:lnTo>
                    <a:pt x="33" y="38"/>
                  </a:lnTo>
                  <a:lnTo>
                    <a:pt x="37" y="42"/>
                  </a:lnTo>
                  <a:lnTo>
                    <a:pt x="42" y="47"/>
                  </a:lnTo>
                  <a:lnTo>
                    <a:pt x="48" y="50"/>
                  </a:lnTo>
                  <a:lnTo>
                    <a:pt x="52" y="54"/>
                  </a:lnTo>
                  <a:lnTo>
                    <a:pt x="57" y="57"/>
                  </a:lnTo>
                  <a:lnTo>
                    <a:pt x="63" y="60"/>
                  </a:lnTo>
                  <a:lnTo>
                    <a:pt x="66" y="63"/>
                  </a:lnTo>
                  <a:lnTo>
                    <a:pt x="72" y="63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9" y="65"/>
                  </a:lnTo>
                  <a:lnTo>
                    <a:pt x="81" y="66"/>
                  </a:lnTo>
                  <a:lnTo>
                    <a:pt x="82" y="66"/>
                  </a:lnTo>
                  <a:lnTo>
                    <a:pt x="85" y="66"/>
                  </a:lnTo>
                  <a:lnTo>
                    <a:pt x="87" y="68"/>
                  </a:lnTo>
                  <a:lnTo>
                    <a:pt x="87" y="68"/>
                  </a:lnTo>
                  <a:lnTo>
                    <a:pt x="88" y="68"/>
                  </a:lnTo>
                  <a:lnTo>
                    <a:pt x="97" y="72"/>
                  </a:lnTo>
                  <a:lnTo>
                    <a:pt x="104" y="80"/>
                  </a:lnTo>
                  <a:lnTo>
                    <a:pt x="120" y="80"/>
                  </a:lnTo>
                  <a:lnTo>
                    <a:pt x="121" y="89"/>
                  </a:lnTo>
                  <a:lnTo>
                    <a:pt x="130" y="89"/>
                  </a:lnTo>
                  <a:lnTo>
                    <a:pt x="130" y="98"/>
                  </a:lnTo>
                  <a:lnTo>
                    <a:pt x="135" y="98"/>
                  </a:lnTo>
                  <a:lnTo>
                    <a:pt x="134" y="89"/>
                  </a:lnTo>
                  <a:lnTo>
                    <a:pt x="137" y="87"/>
                  </a:lnTo>
                  <a:lnTo>
                    <a:pt x="145" y="87"/>
                  </a:lnTo>
                  <a:lnTo>
                    <a:pt x="141" y="95"/>
                  </a:lnTo>
                  <a:lnTo>
                    <a:pt x="142" y="96"/>
                  </a:lnTo>
                  <a:lnTo>
                    <a:pt x="142" y="98"/>
                  </a:lnTo>
                  <a:lnTo>
                    <a:pt x="144" y="99"/>
                  </a:lnTo>
                  <a:lnTo>
                    <a:pt x="145" y="102"/>
                  </a:lnTo>
                  <a:lnTo>
                    <a:pt x="147" y="105"/>
                  </a:lnTo>
                  <a:lnTo>
                    <a:pt x="147" y="110"/>
                  </a:lnTo>
                  <a:lnTo>
                    <a:pt x="145" y="113"/>
                  </a:lnTo>
                  <a:lnTo>
                    <a:pt x="144" y="114"/>
                  </a:lnTo>
                  <a:lnTo>
                    <a:pt x="142" y="116"/>
                  </a:lnTo>
                  <a:lnTo>
                    <a:pt x="141" y="117"/>
                  </a:lnTo>
                  <a:lnTo>
                    <a:pt x="138" y="120"/>
                  </a:lnTo>
                  <a:lnTo>
                    <a:pt x="135" y="123"/>
                  </a:lnTo>
                  <a:lnTo>
                    <a:pt x="134" y="126"/>
                  </a:lnTo>
                  <a:lnTo>
                    <a:pt x="131" y="128"/>
                  </a:lnTo>
                  <a:lnTo>
                    <a:pt x="130" y="129"/>
                  </a:lnTo>
                  <a:lnTo>
                    <a:pt x="130" y="131"/>
                  </a:lnTo>
                  <a:lnTo>
                    <a:pt x="126" y="126"/>
                  </a:lnTo>
                  <a:lnTo>
                    <a:pt x="134" y="120"/>
                  </a:lnTo>
                  <a:lnTo>
                    <a:pt x="132" y="116"/>
                  </a:lnTo>
                  <a:lnTo>
                    <a:pt x="109" y="143"/>
                  </a:lnTo>
                  <a:lnTo>
                    <a:pt x="96" y="152"/>
                  </a:lnTo>
                  <a:lnTo>
                    <a:pt x="96" y="161"/>
                  </a:lnTo>
                  <a:lnTo>
                    <a:pt x="102" y="162"/>
                  </a:lnTo>
                  <a:lnTo>
                    <a:pt x="104" y="161"/>
                  </a:lnTo>
                  <a:lnTo>
                    <a:pt x="105" y="159"/>
                  </a:lnTo>
                  <a:lnTo>
                    <a:pt x="106" y="157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4" y="157"/>
                  </a:lnTo>
                  <a:lnTo>
                    <a:pt x="102" y="155"/>
                  </a:lnTo>
                  <a:lnTo>
                    <a:pt x="101" y="155"/>
                  </a:lnTo>
                  <a:lnTo>
                    <a:pt x="123" y="137"/>
                  </a:lnTo>
                  <a:lnTo>
                    <a:pt x="129" y="137"/>
                  </a:lnTo>
                  <a:lnTo>
                    <a:pt x="151" y="114"/>
                  </a:lnTo>
                  <a:lnTo>
                    <a:pt x="154" y="122"/>
                  </a:lnTo>
                  <a:lnTo>
                    <a:pt x="153" y="129"/>
                  </a:lnTo>
                  <a:lnTo>
                    <a:pt x="145" y="135"/>
                  </a:lnTo>
                  <a:lnTo>
                    <a:pt x="142" y="134"/>
                  </a:lnTo>
                  <a:lnTo>
                    <a:pt x="139" y="141"/>
                  </a:lnTo>
                  <a:lnTo>
                    <a:pt x="137" y="150"/>
                  </a:lnTo>
                  <a:lnTo>
                    <a:pt x="139" y="152"/>
                  </a:lnTo>
                  <a:lnTo>
                    <a:pt x="132" y="177"/>
                  </a:lnTo>
                  <a:lnTo>
                    <a:pt x="131" y="177"/>
                  </a:lnTo>
                  <a:lnTo>
                    <a:pt x="130" y="179"/>
                  </a:lnTo>
                  <a:lnTo>
                    <a:pt x="127" y="182"/>
                  </a:lnTo>
                  <a:lnTo>
                    <a:pt x="126" y="183"/>
                  </a:lnTo>
                  <a:lnTo>
                    <a:pt x="126" y="183"/>
                  </a:lnTo>
                  <a:lnTo>
                    <a:pt x="124" y="183"/>
                  </a:lnTo>
                  <a:lnTo>
                    <a:pt x="124" y="182"/>
                  </a:lnTo>
                  <a:lnTo>
                    <a:pt x="126" y="179"/>
                  </a:lnTo>
                  <a:lnTo>
                    <a:pt x="126" y="177"/>
                  </a:lnTo>
                  <a:lnTo>
                    <a:pt x="126" y="176"/>
                  </a:lnTo>
                  <a:lnTo>
                    <a:pt x="126" y="174"/>
                  </a:lnTo>
                  <a:lnTo>
                    <a:pt x="126" y="173"/>
                  </a:lnTo>
                  <a:lnTo>
                    <a:pt x="132" y="164"/>
                  </a:lnTo>
                  <a:lnTo>
                    <a:pt x="121" y="174"/>
                  </a:lnTo>
                  <a:lnTo>
                    <a:pt x="117" y="182"/>
                  </a:lnTo>
                  <a:lnTo>
                    <a:pt x="115" y="179"/>
                  </a:lnTo>
                  <a:lnTo>
                    <a:pt x="115" y="177"/>
                  </a:lnTo>
                  <a:lnTo>
                    <a:pt x="117" y="176"/>
                  </a:lnTo>
                  <a:lnTo>
                    <a:pt x="117" y="173"/>
                  </a:lnTo>
                  <a:lnTo>
                    <a:pt x="118" y="170"/>
                  </a:lnTo>
                  <a:lnTo>
                    <a:pt x="120" y="168"/>
                  </a:lnTo>
                  <a:lnTo>
                    <a:pt x="120" y="165"/>
                  </a:lnTo>
                  <a:lnTo>
                    <a:pt x="118" y="164"/>
                  </a:lnTo>
                  <a:lnTo>
                    <a:pt x="117" y="162"/>
                  </a:lnTo>
                  <a:lnTo>
                    <a:pt x="114" y="164"/>
                  </a:lnTo>
                  <a:lnTo>
                    <a:pt x="109" y="165"/>
                  </a:lnTo>
                  <a:lnTo>
                    <a:pt x="105" y="170"/>
                  </a:lnTo>
                  <a:lnTo>
                    <a:pt x="101" y="173"/>
                  </a:lnTo>
                  <a:lnTo>
                    <a:pt x="97" y="177"/>
                  </a:lnTo>
                  <a:lnTo>
                    <a:pt x="94" y="182"/>
                  </a:lnTo>
                  <a:lnTo>
                    <a:pt x="94" y="183"/>
                  </a:lnTo>
                  <a:lnTo>
                    <a:pt x="96" y="185"/>
                  </a:lnTo>
                  <a:lnTo>
                    <a:pt x="101" y="186"/>
                  </a:lnTo>
                  <a:lnTo>
                    <a:pt x="104" y="186"/>
                  </a:lnTo>
                  <a:lnTo>
                    <a:pt x="106" y="188"/>
                  </a:lnTo>
                  <a:lnTo>
                    <a:pt x="109" y="188"/>
                  </a:lnTo>
                  <a:lnTo>
                    <a:pt x="109" y="188"/>
                  </a:lnTo>
                  <a:lnTo>
                    <a:pt x="111" y="188"/>
                  </a:lnTo>
                  <a:lnTo>
                    <a:pt x="111" y="188"/>
                  </a:lnTo>
                  <a:lnTo>
                    <a:pt x="111" y="188"/>
                  </a:lnTo>
                  <a:lnTo>
                    <a:pt x="111" y="188"/>
                  </a:lnTo>
                  <a:lnTo>
                    <a:pt x="111" y="190"/>
                  </a:lnTo>
                  <a:lnTo>
                    <a:pt x="112" y="191"/>
                  </a:lnTo>
                  <a:lnTo>
                    <a:pt x="117" y="194"/>
                  </a:lnTo>
                  <a:lnTo>
                    <a:pt x="118" y="194"/>
                  </a:lnTo>
                  <a:lnTo>
                    <a:pt x="121" y="192"/>
                  </a:lnTo>
                  <a:lnTo>
                    <a:pt x="126" y="190"/>
                  </a:lnTo>
                  <a:lnTo>
                    <a:pt x="129" y="189"/>
                  </a:lnTo>
                  <a:lnTo>
                    <a:pt x="131" y="186"/>
                  </a:lnTo>
                  <a:lnTo>
                    <a:pt x="134" y="183"/>
                  </a:lnTo>
                  <a:lnTo>
                    <a:pt x="137" y="182"/>
                  </a:lnTo>
                  <a:lnTo>
                    <a:pt x="137" y="180"/>
                  </a:lnTo>
                  <a:lnTo>
                    <a:pt x="141" y="182"/>
                  </a:lnTo>
                  <a:lnTo>
                    <a:pt x="148" y="176"/>
                  </a:lnTo>
                  <a:lnTo>
                    <a:pt x="153" y="174"/>
                  </a:lnTo>
                  <a:lnTo>
                    <a:pt x="151" y="155"/>
                  </a:lnTo>
                  <a:lnTo>
                    <a:pt x="157" y="150"/>
                  </a:lnTo>
                  <a:lnTo>
                    <a:pt x="153" y="144"/>
                  </a:lnTo>
                  <a:lnTo>
                    <a:pt x="162" y="126"/>
                  </a:lnTo>
                  <a:lnTo>
                    <a:pt x="178" y="107"/>
                  </a:lnTo>
                  <a:lnTo>
                    <a:pt x="171" y="87"/>
                  </a:lnTo>
                  <a:lnTo>
                    <a:pt x="167" y="87"/>
                  </a:lnTo>
                  <a:lnTo>
                    <a:pt x="165" y="94"/>
                  </a:lnTo>
                  <a:lnTo>
                    <a:pt x="170" y="98"/>
                  </a:lnTo>
                  <a:lnTo>
                    <a:pt x="168" y="102"/>
                  </a:lnTo>
                  <a:lnTo>
                    <a:pt x="160" y="93"/>
                  </a:lnTo>
                  <a:lnTo>
                    <a:pt x="162" y="86"/>
                  </a:lnTo>
                  <a:lnTo>
                    <a:pt x="165" y="81"/>
                  </a:lnTo>
                  <a:lnTo>
                    <a:pt x="174" y="81"/>
                  </a:lnTo>
                  <a:lnTo>
                    <a:pt x="168" y="69"/>
                  </a:lnTo>
                  <a:lnTo>
                    <a:pt x="164" y="62"/>
                  </a:lnTo>
                  <a:lnTo>
                    <a:pt x="160" y="57"/>
                  </a:lnTo>
                  <a:lnTo>
                    <a:pt x="163" y="53"/>
                  </a:lnTo>
                  <a:lnTo>
                    <a:pt x="165" y="45"/>
                  </a:lnTo>
                  <a:lnTo>
                    <a:pt x="168" y="50"/>
                  </a:lnTo>
                  <a:lnTo>
                    <a:pt x="168" y="60"/>
                  </a:lnTo>
                  <a:lnTo>
                    <a:pt x="174" y="56"/>
                  </a:lnTo>
                  <a:lnTo>
                    <a:pt x="173" y="54"/>
                  </a:lnTo>
                  <a:lnTo>
                    <a:pt x="181" y="47"/>
                  </a:lnTo>
                  <a:lnTo>
                    <a:pt x="175" y="39"/>
                  </a:lnTo>
                  <a:lnTo>
                    <a:pt x="178" y="32"/>
                  </a:lnTo>
                  <a:lnTo>
                    <a:pt x="174" y="27"/>
                  </a:lnTo>
                  <a:lnTo>
                    <a:pt x="167" y="27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68" y="0"/>
                  </a:lnTo>
                  <a:lnTo>
                    <a:pt x="171" y="0"/>
                  </a:lnTo>
                  <a:lnTo>
                    <a:pt x="175" y="2"/>
                  </a:lnTo>
                  <a:lnTo>
                    <a:pt x="180" y="3"/>
                  </a:lnTo>
                  <a:lnTo>
                    <a:pt x="186" y="5"/>
                  </a:lnTo>
                  <a:lnTo>
                    <a:pt x="192" y="6"/>
                  </a:lnTo>
                  <a:lnTo>
                    <a:pt x="198" y="9"/>
                  </a:lnTo>
                  <a:lnTo>
                    <a:pt x="207" y="12"/>
                  </a:lnTo>
                  <a:lnTo>
                    <a:pt x="216" y="14"/>
                  </a:lnTo>
                  <a:lnTo>
                    <a:pt x="226" y="18"/>
                  </a:lnTo>
                  <a:lnTo>
                    <a:pt x="237" y="21"/>
                  </a:lnTo>
                  <a:lnTo>
                    <a:pt x="249" y="24"/>
                  </a:lnTo>
                  <a:lnTo>
                    <a:pt x="261" y="27"/>
                  </a:lnTo>
                  <a:lnTo>
                    <a:pt x="273" y="31"/>
                  </a:lnTo>
                  <a:lnTo>
                    <a:pt x="286" y="33"/>
                  </a:lnTo>
                  <a:lnTo>
                    <a:pt x="300" y="38"/>
                  </a:lnTo>
                  <a:lnTo>
                    <a:pt x="315" y="42"/>
                  </a:lnTo>
                  <a:lnTo>
                    <a:pt x="329" y="45"/>
                  </a:lnTo>
                  <a:lnTo>
                    <a:pt x="345" y="50"/>
                  </a:lnTo>
                  <a:lnTo>
                    <a:pt x="360" y="54"/>
                  </a:lnTo>
                  <a:lnTo>
                    <a:pt x="377" y="59"/>
                  </a:lnTo>
                  <a:lnTo>
                    <a:pt x="393" y="63"/>
                  </a:lnTo>
                  <a:lnTo>
                    <a:pt x="411" y="66"/>
                  </a:lnTo>
                  <a:lnTo>
                    <a:pt x="428" y="71"/>
                  </a:lnTo>
                  <a:lnTo>
                    <a:pt x="446" y="75"/>
                  </a:lnTo>
                  <a:lnTo>
                    <a:pt x="464" y="80"/>
                  </a:lnTo>
                  <a:lnTo>
                    <a:pt x="482" y="84"/>
                  </a:lnTo>
                  <a:lnTo>
                    <a:pt x="500" y="89"/>
                  </a:lnTo>
                  <a:lnTo>
                    <a:pt x="519" y="92"/>
                  </a:lnTo>
                  <a:lnTo>
                    <a:pt x="537" y="95"/>
                  </a:lnTo>
                  <a:lnTo>
                    <a:pt x="556" y="99"/>
                  </a:lnTo>
                  <a:lnTo>
                    <a:pt x="556" y="99"/>
                  </a:lnTo>
                  <a:lnTo>
                    <a:pt x="556" y="102"/>
                  </a:lnTo>
                  <a:lnTo>
                    <a:pt x="556" y="105"/>
                  </a:lnTo>
                  <a:lnTo>
                    <a:pt x="555" y="110"/>
                  </a:lnTo>
                  <a:lnTo>
                    <a:pt x="553" y="116"/>
                  </a:lnTo>
                  <a:lnTo>
                    <a:pt x="552" y="123"/>
                  </a:lnTo>
                  <a:lnTo>
                    <a:pt x="551" y="131"/>
                  </a:lnTo>
                  <a:lnTo>
                    <a:pt x="548" y="140"/>
                  </a:lnTo>
                  <a:lnTo>
                    <a:pt x="546" y="149"/>
                  </a:lnTo>
                  <a:lnTo>
                    <a:pt x="543" y="158"/>
                  </a:lnTo>
                  <a:lnTo>
                    <a:pt x="542" y="168"/>
                  </a:lnTo>
                  <a:lnTo>
                    <a:pt x="539" y="180"/>
                  </a:lnTo>
                  <a:lnTo>
                    <a:pt x="536" y="191"/>
                  </a:lnTo>
                  <a:lnTo>
                    <a:pt x="533" y="203"/>
                  </a:lnTo>
                  <a:lnTo>
                    <a:pt x="531" y="216"/>
                  </a:lnTo>
                  <a:lnTo>
                    <a:pt x="528" y="227"/>
                  </a:lnTo>
                  <a:lnTo>
                    <a:pt x="525" y="240"/>
                  </a:lnTo>
                  <a:lnTo>
                    <a:pt x="523" y="252"/>
                  </a:lnTo>
                  <a:lnTo>
                    <a:pt x="520" y="263"/>
                  </a:lnTo>
                  <a:lnTo>
                    <a:pt x="519" y="275"/>
                  </a:lnTo>
                  <a:lnTo>
                    <a:pt x="516" y="285"/>
                  </a:lnTo>
                  <a:lnTo>
                    <a:pt x="513" y="296"/>
                  </a:lnTo>
                  <a:lnTo>
                    <a:pt x="512" y="306"/>
                  </a:lnTo>
                  <a:lnTo>
                    <a:pt x="509" y="316"/>
                  </a:lnTo>
                  <a:lnTo>
                    <a:pt x="507" y="324"/>
                  </a:lnTo>
                  <a:lnTo>
                    <a:pt x="506" y="332"/>
                  </a:lnTo>
                  <a:lnTo>
                    <a:pt x="504" y="339"/>
                  </a:lnTo>
                  <a:lnTo>
                    <a:pt x="503" y="345"/>
                  </a:lnTo>
                  <a:lnTo>
                    <a:pt x="501" y="350"/>
                  </a:lnTo>
                  <a:lnTo>
                    <a:pt x="500" y="353"/>
                  </a:lnTo>
                  <a:lnTo>
                    <a:pt x="500" y="354"/>
                  </a:lnTo>
                  <a:lnTo>
                    <a:pt x="500" y="356"/>
                  </a:lnTo>
                  <a:lnTo>
                    <a:pt x="495" y="371"/>
                  </a:lnTo>
                  <a:lnTo>
                    <a:pt x="500" y="380"/>
                  </a:lnTo>
                  <a:lnTo>
                    <a:pt x="500" y="390"/>
                  </a:lnTo>
                  <a:lnTo>
                    <a:pt x="497" y="402"/>
                  </a:lnTo>
                  <a:lnTo>
                    <a:pt x="498" y="412"/>
                  </a:lnTo>
                  <a:lnTo>
                    <a:pt x="357" y="377"/>
                  </a:lnTo>
                  <a:lnTo>
                    <a:pt x="357" y="377"/>
                  </a:lnTo>
                  <a:lnTo>
                    <a:pt x="355" y="377"/>
                  </a:lnTo>
                  <a:lnTo>
                    <a:pt x="354" y="377"/>
                  </a:lnTo>
                  <a:lnTo>
                    <a:pt x="351" y="377"/>
                  </a:lnTo>
                  <a:lnTo>
                    <a:pt x="348" y="377"/>
                  </a:lnTo>
                  <a:lnTo>
                    <a:pt x="345" y="378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3" y="378"/>
                  </a:lnTo>
                  <a:lnTo>
                    <a:pt x="329" y="378"/>
                  </a:lnTo>
                  <a:lnTo>
                    <a:pt x="325" y="378"/>
                  </a:lnTo>
                  <a:lnTo>
                    <a:pt x="321" y="377"/>
                  </a:lnTo>
                  <a:lnTo>
                    <a:pt x="316" y="377"/>
                  </a:lnTo>
                  <a:lnTo>
                    <a:pt x="312" y="375"/>
                  </a:lnTo>
                  <a:lnTo>
                    <a:pt x="308" y="374"/>
                  </a:lnTo>
                  <a:lnTo>
                    <a:pt x="303" y="372"/>
                  </a:lnTo>
                  <a:lnTo>
                    <a:pt x="302" y="372"/>
                  </a:lnTo>
                  <a:lnTo>
                    <a:pt x="300" y="372"/>
                  </a:lnTo>
                  <a:lnTo>
                    <a:pt x="299" y="372"/>
                  </a:lnTo>
                  <a:lnTo>
                    <a:pt x="297" y="374"/>
                  </a:lnTo>
                  <a:lnTo>
                    <a:pt x="294" y="375"/>
                  </a:lnTo>
                  <a:lnTo>
                    <a:pt x="294" y="377"/>
                  </a:lnTo>
                  <a:lnTo>
                    <a:pt x="292" y="377"/>
                  </a:lnTo>
                  <a:lnTo>
                    <a:pt x="292" y="377"/>
                  </a:lnTo>
                  <a:lnTo>
                    <a:pt x="273" y="377"/>
                  </a:lnTo>
                  <a:lnTo>
                    <a:pt x="272" y="377"/>
                  </a:lnTo>
                  <a:lnTo>
                    <a:pt x="267" y="377"/>
                  </a:lnTo>
                  <a:lnTo>
                    <a:pt x="261" y="378"/>
                  </a:lnTo>
                  <a:lnTo>
                    <a:pt x="252" y="379"/>
                  </a:lnTo>
                  <a:lnTo>
                    <a:pt x="244" y="379"/>
                  </a:lnTo>
                  <a:lnTo>
                    <a:pt x="236" y="379"/>
                  </a:lnTo>
                  <a:lnTo>
                    <a:pt x="230" y="377"/>
                  </a:lnTo>
                  <a:lnTo>
                    <a:pt x="225" y="374"/>
                  </a:lnTo>
                  <a:lnTo>
                    <a:pt x="225" y="374"/>
                  </a:lnTo>
                  <a:lnTo>
                    <a:pt x="222" y="374"/>
                  </a:lnTo>
                  <a:lnTo>
                    <a:pt x="219" y="374"/>
                  </a:lnTo>
                  <a:lnTo>
                    <a:pt x="214" y="374"/>
                  </a:lnTo>
                  <a:lnTo>
                    <a:pt x="210" y="374"/>
                  </a:lnTo>
                  <a:lnTo>
                    <a:pt x="207" y="375"/>
                  </a:lnTo>
                  <a:lnTo>
                    <a:pt x="204" y="375"/>
                  </a:lnTo>
                  <a:lnTo>
                    <a:pt x="204" y="375"/>
                  </a:lnTo>
                  <a:lnTo>
                    <a:pt x="197" y="374"/>
                  </a:lnTo>
                  <a:lnTo>
                    <a:pt x="186" y="377"/>
                  </a:lnTo>
                  <a:lnTo>
                    <a:pt x="186" y="375"/>
                  </a:lnTo>
                  <a:lnTo>
                    <a:pt x="181" y="372"/>
                  </a:lnTo>
                  <a:lnTo>
                    <a:pt x="177" y="368"/>
                  </a:lnTo>
                  <a:lnTo>
                    <a:pt x="170" y="363"/>
                  </a:lnTo>
                  <a:lnTo>
                    <a:pt x="164" y="359"/>
                  </a:lnTo>
                  <a:lnTo>
                    <a:pt x="157" y="356"/>
                  </a:lnTo>
                  <a:lnTo>
                    <a:pt x="150" y="353"/>
                  </a:lnTo>
                  <a:lnTo>
                    <a:pt x="144" y="353"/>
                  </a:lnTo>
                  <a:lnTo>
                    <a:pt x="142" y="353"/>
                  </a:lnTo>
                  <a:lnTo>
                    <a:pt x="141" y="353"/>
                  </a:lnTo>
                  <a:lnTo>
                    <a:pt x="138" y="354"/>
                  </a:lnTo>
                  <a:lnTo>
                    <a:pt x="135" y="354"/>
                  </a:lnTo>
                  <a:lnTo>
                    <a:pt x="132" y="356"/>
                  </a:lnTo>
                  <a:lnTo>
                    <a:pt x="129" y="356"/>
                  </a:lnTo>
                  <a:lnTo>
                    <a:pt x="123" y="357"/>
                  </a:lnTo>
                  <a:lnTo>
                    <a:pt x="118" y="357"/>
                  </a:lnTo>
                  <a:lnTo>
                    <a:pt x="114" y="357"/>
                  </a:lnTo>
                  <a:lnTo>
                    <a:pt x="108" y="357"/>
                  </a:lnTo>
                  <a:lnTo>
                    <a:pt x="104" y="357"/>
                  </a:lnTo>
                  <a:lnTo>
                    <a:pt x="99" y="357"/>
                  </a:lnTo>
                  <a:lnTo>
                    <a:pt x="96" y="356"/>
                  </a:lnTo>
                  <a:lnTo>
                    <a:pt x="91" y="354"/>
                  </a:lnTo>
                  <a:lnTo>
                    <a:pt x="88" y="353"/>
                  </a:lnTo>
                  <a:lnTo>
                    <a:pt x="87" y="350"/>
                  </a:lnTo>
                  <a:lnTo>
                    <a:pt x="85" y="348"/>
                  </a:lnTo>
                  <a:lnTo>
                    <a:pt x="84" y="348"/>
                  </a:lnTo>
                  <a:lnTo>
                    <a:pt x="82" y="348"/>
                  </a:lnTo>
                  <a:lnTo>
                    <a:pt x="79" y="345"/>
                  </a:lnTo>
                  <a:lnTo>
                    <a:pt x="78" y="344"/>
                  </a:lnTo>
                  <a:lnTo>
                    <a:pt x="76" y="342"/>
                  </a:lnTo>
                  <a:lnTo>
                    <a:pt x="75" y="342"/>
                  </a:lnTo>
                  <a:lnTo>
                    <a:pt x="75" y="342"/>
                  </a:lnTo>
                  <a:lnTo>
                    <a:pt x="71" y="332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72" y="327"/>
                  </a:lnTo>
                  <a:lnTo>
                    <a:pt x="72" y="324"/>
                  </a:lnTo>
                  <a:lnTo>
                    <a:pt x="73" y="320"/>
                  </a:lnTo>
                  <a:lnTo>
                    <a:pt x="73" y="316"/>
                  </a:lnTo>
                  <a:lnTo>
                    <a:pt x="73" y="312"/>
                  </a:lnTo>
                  <a:lnTo>
                    <a:pt x="73" y="308"/>
                  </a:lnTo>
                  <a:lnTo>
                    <a:pt x="73" y="302"/>
                  </a:lnTo>
                  <a:lnTo>
                    <a:pt x="72" y="297"/>
                  </a:lnTo>
                  <a:lnTo>
                    <a:pt x="72" y="293"/>
                  </a:lnTo>
                  <a:lnTo>
                    <a:pt x="69" y="288"/>
                  </a:lnTo>
                  <a:lnTo>
                    <a:pt x="66" y="285"/>
                  </a:lnTo>
                  <a:lnTo>
                    <a:pt x="64" y="282"/>
                  </a:lnTo>
                  <a:lnTo>
                    <a:pt x="60" y="279"/>
                  </a:lnTo>
                  <a:lnTo>
                    <a:pt x="54" y="278"/>
                  </a:lnTo>
                  <a:lnTo>
                    <a:pt x="54" y="278"/>
                  </a:lnTo>
                  <a:lnTo>
                    <a:pt x="52" y="278"/>
                  </a:lnTo>
                  <a:lnTo>
                    <a:pt x="51" y="278"/>
                  </a:lnTo>
                  <a:lnTo>
                    <a:pt x="48" y="276"/>
                  </a:lnTo>
                  <a:lnTo>
                    <a:pt x="46" y="276"/>
                  </a:lnTo>
                  <a:lnTo>
                    <a:pt x="45" y="276"/>
                  </a:lnTo>
                  <a:lnTo>
                    <a:pt x="45" y="276"/>
                  </a:lnTo>
                  <a:lnTo>
                    <a:pt x="43" y="276"/>
                  </a:lnTo>
                  <a:lnTo>
                    <a:pt x="43" y="275"/>
                  </a:lnTo>
                  <a:lnTo>
                    <a:pt x="45" y="273"/>
                  </a:lnTo>
                  <a:lnTo>
                    <a:pt x="45" y="272"/>
                  </a:lnTo>
                  <a:lnTo>
                    <a:pt x="43" y="269"/>
                  </a:lnTo>
                  <a:lnTo>
                    <a:pt x="43" y="266"/>
                  </a:lnTo>
                  <a:lnTo>
                    <a:pt x="40" y="263"/>
                  </a:lnTo>
                  <a:lnTo>
                    <a:pt x="37" y="261"/>
                  </a:lnTo>
                  <a:lnTo>
                    <a:pt x="33" y="260"/>
                  </a:lnTo>
                  <a:lnTo>
                    <a:pt x="32" y="258"/>
                  </a:lnTo>
                  <a:lnTo>
                    <a:pt x="31" y="257"/>
                  </a:lnTo>
                  <a:lnTo>
                    <a:pt x="28" y="255"/>
                  </a:lnTo>
                  <a:lnTo>
                    <a:pt x="27" y="254"/>
                  </a:lnTo>
                  <a:lnTo>
                    <a:pt x="19" y="255"/>
                  </a:lnTo>
                  <a:lnTo>
                    <a:pt x="18" y="253"/>
                  </a:lnTo>
                  <a:lnTo>
                    <a:pt x="15" y="255"/>
                  </a:lnTo>
                  <a:lnTo>
                    <a:pt x="9" y="253"/>
                  </a:lnTo>
                  <a:lnTo>
                    <a:pt x="4" y="246"/>
                  </a:lnTo>
                  <a:lnTo>
                    <a:pt x="4" y="246"/>
                  </a:lnTo>
                  <a:lnTo>
                    <a:pt x="4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0" y="249"/>
                  </a:lnTo>
                  <a:lnTo>
                    <a:pt x="0" y="248"/>
                  </a:lnTo>
                  <a:lnTo>
                    <a:pt x="0" y="246"/>
                  </a:lnTo>
                  <a:lnTo>
                    <a:pt x="0" y="245"/>
                  </a:lnTo>
                  <a:lnTo>
                    <a:pt x="0" y="243"/>
                  </a:lnTo>
                  <a:lnTo>
                    <a:pt x="0" y="240"/>
                  </a:lnTo>
                  <a:lnTo>
                    <a:pt x="2" y="237"/>
                  </a:lnTo>
                  <a:lnTo>
                    <a:pt x="2" y="234"/>
                  </a:lnTo>
                  <a:lnTo>
                    <a:pt x="3" y="228"/>
                  </a:lnTo>
                  <a:lnTo>
                    <a:pt x="4" y="224"/>
                  </a:lnTo>
                  <a:lnTo>
                    <a:pt x="6" y="220"/>
                  </a:lnTo>
                  <a:lnTo>
                    <a:pt x="7" y="216"/>
                  </a:lnTo>
                  <a:lnTo>
                    <a:pt x="9" y="213"/>
                  </a:lnTo>
                  <a:lnTo>
                    <a:pt x="12" y="213"/>
                  </a:lnTo>
                  <a:lnTo>
                    <a:pt x="12" y="213"/>
                  </a:lnTo>
                  <a:lnTo>
                    <a:pt x="12" y="216"/>
                  </a:lnTo>
                  <a:lnTo>
                    <a:pt x="12" y="216"/>
                  </a:lnTo>
                  <a:lnTo>
                    <a:pt x="12" y="218"/>
                  </a:lnTo>
                  <a:lnTo>
                    <a:pt x="10" y="220"/>
                  </a:lnTo>
                  <a:lnTo>
                    <a:pt x="10" y="222"/>
                  </a:lnTo>
                  <a:lnTo>
                    <a:pt x="9" y="225"/>
                  </a:lnTo>
                  <a:lnTo>
                    <a:pt x="9" y="228"/>
                  </a:lnTo>
                  <a:lnTo>
                    <a:pt x="9" y="233"/>
                  </a:lnTo>
                  <a:lnTo>
                    <a:pt x="7" y="236"/>
                  </a:lnTo>
                  <a:lnTo>
                    <a:pt x="6" y="237"/>
                  </a:lnTo>
                  <a:lnTo>
                    <a:pt x="6" y="240"/>
                  </a:lnTo>
                  <a:lnTo>
                    <a:pt x="7" y="240"/>
                  </a:lnTo>
                  <a:lnTo>
                    <a:pt x="10" y="240"/>
                  </a:lnTo>
                  <a:lnTo>
                    <a:pt x="12" y="239"/>
                  </a:lnTo>
                  <a:lnTo>
                    <a:pt x="12" y="239"/>
                  </a:lnTo>
                  <a:lnTo>
                    <a:pt x="13" y="239"/>
                  </a:lnTo>
                  <a:lnTo>
                    <a:pt x="13" y="239"/>
                  </a:lnTo>
                  <a:lnTo>
                    <a:pt x="13" y="234"/>
                  </a:lnTo>
                  <a:lnTo>
                    <a:pt x="18" y="228"/>
                  </a:lnTo>
                  <a:lnTo>
                    <a:pt x="21" y="224"/>
                  </a:lnTo>
                  <a:lnTo>
                    <a:pt x="21" y="215"/>
                  </a:lnTo>
                  <a:lnTo>
                    <a:pt x="22" y="212"/>
                  </a:lnTo>
                  <a:lnTo>
                    <a:pt x="28" y="210"/>
                  </a:lnTo>
                  <a:lnTo>
                    <a:pt x="25" y="203"/>
                  </a:lnTo>
                  <a:lnTo>
                    <a:pt x="21" y="206"/>
                  </a:lnTo>
                  <a:lnTo>
                    <a:pt x="12" y="206"/>
                  </a:lnTo>
                  <a:lnTo>
                    <a:pt x="13" y="185"/>
                  </a:lnTo>
                  <a:lnTo>
                    <a:pt x="15" y="185"/>
                  </a:lnTo>
                  <a:lnTo>
                    <a:pt x="16" y="189"/>
                  </a:lnTo>
                  <a:lnTo>
                    <a:pt x="22" y="186"/>
                  </a:lnTo>
                  <a:lnTo>
                    <a:pt x="35" y="188"/>
                  </a:lnTo>
                  <a:lnTo>
                    <a:pt x="35" y="183"/>
                  </a:lnTo>
                  <a:lnTo>
                    <a:pt x="25" y="179"/>
                  </a:lnTo>
                  <a:lnTo>
                    <a:pt x="25" y="173"/>
                  </a:lnTo>
                  <a:lnTo>
                    <a:pt x="18" y="171"/>
                  </a:lnTo>
                  <a:lnTo>
                    <a:pt x="15" y="180"/>
                  </a:lnTo>
                  <a:lnTo>
                    <a:pt x="13" y="179"/>
                  </a:lnTo>
                  <a:lnTo>
                    <a:pt x="13" y="168"/>
                  </a:lnTo>
                  <a:lnTo>
                    <a:pt x="15" y="167"/>
                  </a:lnTo>
                  <a:lnTo>
                    <a:pt x="15" y="164"/>
                  </a:lnTo>
                  <a:lnTo>
                    <a:pt x="16" y="159"/>
                  </a:lnTo>
                  <a:lnTo>
                    <a:pt x="16" y="156"/>
                  </a:lnTo>
                  <a:lnTo>
                    <a:pt x="18" y="152"/>
                  </a:lnTo>
                  <a:lnTo>
                    <a:pt x="18" y="146"/>
                  </a:lnTo>
                  <a:lnTo>
                    <a:pt x="18" y="141"/>
                  </a:lnTo>
                  <a:lnTo>
                    <a:pt x="16" y="138"/>
                  </a:lnTo>
                  <a:lnTo>
                    <a:pt x="16" y="135"/>
                  </a:lnTo>
                  <a:lnTo>
                    <a:pt x="16" y="129"/>
                  </a:lnTo>
                  <a:lnTo>
                    <a:pt x="16" y="123"/>
                  </a:lnTo>
                  <a:lnTo>
                    <a:pt x="16" y="114"/>
                  </a:lnTo>
                  <a:lnTo>
                    <a:pt x="18" y="105"/>
                  </a:lnTo>
                  <a:lnTo>
                    <a:pt x="18" y="96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89"/>
                  </a:lnTo>
                  <a:lnTo>
                    <a:pt x="16" y="86"/>
                  </a:lnTo>
                  <a:lnTo>
                    <a:pt x="13" y="81"/>
                  </a:lnTo>
                  <a:lnTo>
                    <a:pt x="10" y="77"/>
                  </a:lnTo>
                  <a:lnTo>
                    <a:pt x="9" y="69"/>
                  </a:lnTo>
                  <a:lnTo>
                    <a:pt x="7" y="63"/>
                  </a:lnTo>
                  <a:lnTo>
                    <a:pt x="9" y="54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4"/>
                  </a:lnTo>
                  <a:lnTo>
                    <a:pt x="13" y="42"/>
                  </a:lnTo>
                  <a:lnTo>
                    <a:pt x="15" y="39"/>
                  </a:lnTo>
                  <a:lnTo>
                    <a:pt x="16" y="38"/>
                  </a:lnTo>
                  <a:lnTo>
                    <a:pt x="16" y="35"/>
                  </a:lnTo>
                  <a:lnTo>
                    <a:pt x="18" y="35"/>
                  </a:lnTo>
                  <a:lnTo>
                    <a:pt x="18" y="33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" name="Freeform 4"/>
            <p:cNvSpPr>
              <a:spLocks/>
            </p:cNvSpPr>
            <p:nvPr/>
          </p:nvSpPr>
          <p:spPr bwMode="auto">
            <a:xfrm>
              <a:off x="881521" y="3905251"/>
              <a:ext cx="374348" cy="276948"/>
            </a:xfrm>
            <a:custGeom>
              <a:avLst/>
              <a:gdLst>
                <a:gd name="T0" fmla="*/ 24 w 557"/>
                <a:gd name="T1" fmla="*/ 29 h 413"/>
                <a:gd name="T2" fmla="*/ 57 w 557"/>
                <a:gd name="T3" fmla="*/ 57 h 413"/>
                <a:gd name="T4" fmla="*/ 81 w 557"/>
                <a:gd name="T5" fmla="*/ 66 h 413"/>
                <a:gd name="T6" fmla="*/ 120 w 557"/>
                <a:gd name="T7" fmla="*/ 80 h 413"/>
                <a:gd name="T8" fmla="*/ 141 w 557"/>
                <a:gd name="T9" fmla="*/ 95 h 413"/>
                <a:gd name="T10" fmla="*/ 145 w 557"/>
                <a:gd name="T11" fmla="*/ 113 h 413"/>
                <a:gd name="T12" fmla="*/ 131 w 557"/>
                <a:gd name="T13" fmla="*/ 128 h 413"/>
                <a:gd name="T14" fmla="*/ 96 w 557"/>
                <a:gd name="T15" fmla="*/ 161 h 413"/>
                <a:gd name="T16" fmla="*/ 106 w 557"/>
                <a:gd name="T17" fmla="*/ 158 h 413"/>
                <a:gd name="T18" fmla="*/ 153 w 557"/>
                <a:gd name="T19" fmla="*/ 129 h 413"/>
                <a:gd name="T20" fmla="*/ 131 w 557"/>
                <a:gd name="T21" fmla="*/ 177 h 413"/>
                <a:gd name="T22" fmla="*/ 126 w 557"/>
                <a:gd name="T23" fmla="*/ 179 h 413"/>
                <a:gd name="T24" fmla="*/ 115 w 557"/>
                <a:gd name="T25" fmla="*/ 179 h 413"/>
                <a:gd name="T26" fmla="*/ 118 w 557"/>
                <a:gd name="T27" fmla="*/ 164 h 413"/>
                <a:gd name="T28" fmla="*/ 94 w 557"/>
                <a:gd name="T29" fmla="*/ 182 h 413"/>
                <a:gd name="T30" fmla="*/ 109 w 557"/>
                <a:gd name="T31" fmla="*/ 188 h 413"/>
                <a:gd name="T32" fmla="*/ 117 w 557"/>
                <a:gd name="T33" fmla="*/ 194 h 413"/>
                <a:gd name="T34" fmla="*/ 137 w 557"/>
                <a:gd name="T35" fmla="*/ 182 h 413"/>
                <a:gd name="T36" fmla="*/ 162 w 557"/>
                <a:gd name="T37" fmla="*/ 126 h 413"/>
                <a:gd name="T38" fmla="*/ 162 w 557"/>
                <a:gd name="T39" fmla="*/ 86 h 413"/>
                <a:gd name="T40" fmla="*/ 168 w 557"/>
                <a:gd name="T41" fmla="*/ 50 h 413"/>
                <a:gd name="T42" fmla="*/ 167 w 557"/>
                <a:gd name="T43" fmla="*/ 27 h 413"/>
                <a:gd name="T44" fmla="*/ 186 w 557"/>
                <a:gd name="T45" fmla="*/ 5 h 413"/>
                <a:gd name="T46" fmla="*/ 261 w 557"/>
                <a:gd name="T47" fmla="*/ 27 h 413"/>
                <a:gd name="T48" fmla="*/ 377 w 557"/>
                <a:gd name="T49" fmla="*/ 59 h 413"/>
                <a:gd name="T50" fmla="*/ 519 w 557"/>
                <a:gd name="T51" fmla="*/ 92 h 413"/>
                <a:gd name="T52" fmla="*/ 553 w 557"/>
                <a:gd name="T53" fmla="*/ 116 h 413"/>
                <a:gd name="T54" fmla="*/ 536 w 557"/>
                <a:gd name="T55" fmla="*/ 191 h 413"/>
                <a:gd name="T56" fmla="*/ 516 w 557"/>
                <a:gd name="T57" fmla="*/ 285 h 413"/>
                <a:gd name="T58" fmla="*/ 501 w 557"/>
                <a:gd name="T59" fmla="*/ 350 h 413"/>
                <a:gd name="T60" fmla="*/ 498 w 557"/>
                <a:gd name="T61" fmla="*/ 412 h 413"/>
                <a:gd name="T62" fmla="*/ 345 w 557"/>
                <a:gd name="T63" fmla="*/ 378 h 413"/>
                <a:gd name="T64" fmla="*/ 312 w 557"/>
                <a:gd name="T65" fmla="*/ 375 h 413"/>
                <a:gd name="T66" fmla="*/ 294 w 557"/>
                <a:gd name="T67" fmla="*/ 375 h 413"/>
                <a:gd name="T68" fmla="*/ 261 w 557"/>
                <a:gd name="T69" fmla="*/ 378 h 413"/>
                <a:gd name="T70" fmla="*/ 222 w 557"/>
                <a:gd name="T71" fmla="*/ 374 h 413"/>
                <a:gd name="T72" fmla="*/ 186 w 557"/>
                <a:gd name="T73" fmla="*/ 377 h 413"/>
                <a:gd name="T74" fmla="*/ 150 w 557"/>
                <a:gd name="T75" fmla="*/ 353 h 413"/>
                <a:gd name="T76" fmla="*/ 129 w 557"/>
                <a:gd name="T77" fmla="*/ 356 h 413"/>
                <a:gd name="T78" fmla="*/ 91 w 557"/>
                <a:gd name="T79" fmla="*/ 354 h 413"/>
                <a:gd name="T80" fmla="*/ 78 w 557"/>
                <a:gd name="T81" fmla="*/ 344 h 413"/>
                <a:gd name="T82" fmla="*/ 72 w 557"/>
                <a:gd name="T83" fmla="*/ 327 h 413"/>
                <a:gd name="T84" fmla="*/ 72 w 557"/>
                <a:gd name="T85" fmla="*/ 293 h 413"/>
                <a:gd name="T86" fmla="*/ 52 w 557"/>
                <a:gd name="T87" fmla="*/ 278 h 413"/>
                <a:gd name="T88" fmla="*/ 43 w 557"/>
                <a:gd name="T89" fmla="*/ 275 h 413"/>
                <a:gd name="T90" fmla="*/ 33 w 557"/>
                <a:gd name="T91" fmla="*/ 260 h 413"/>
                <a:gd name="T92" fmla="*/ 9 w 557"/>
                <a:gd name="T93" fmla="*/ 253 h 413"/>
                <a:gd name="T94" fmla="*/ 0 w 557"/>
                <a:gd name="T95" fmla="*/ 248 h 413"/>
                <a:gd name="T96" fmla="*/ 3 w 557"/>
                <a:gd name="T97" fmla="*/ 228 h 413"/>
                <a:gd name="T98" fmla="*/ 12 w 557"/>
                <a:gd name="T99" fmla="*/ 216 h 413"/>
                <a:gd name="T100" fmla="*/ 9 w 557"/>
                <a:gd name="T101" fmla="*/ 233 h 413"/>
                <a:gd name="T102" fmla="*/ 12 w 557"/>
                <a:gd name="T103" fmla="*/ 239 h 413"/>
                <a:gd name="T104" fmla="*/ 22 w 557"/>
                <a:gd name="T105" fmla="*/ 212 h 413"/>
                <a:gd name="T106" fmla="*/ 22 w 557"/>
                <a:gd name="T107" fmla="*/ 186 h 413"/>
                <a:gd name="T108" fmla="*/ 13 w 557"/>
                <a:gd name="T109" fmla="*/ 168 h 413"/>
                <a:gd name="T110" fmla="*/ 18 w 557"/>
                <a:gd name="T111" fmla="*/ 141 h 413"/>
                <a:gd name="T112" fmla="*/ 18 w 557"/>
                <a:gd name="T113" fmla="*/ 96 h 413"/>
                <a:gd name="T114" fmla="*/ 9 w 557"/>
                <a:gd name="T115" fmla="*/ 69 h 413"/>
                <a:gd name="T116" fmla="*/ 15 w 557"/>
                <a:gd name="T117" fmla="*/ 39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7" h="413">
                  <a:moveTo>
                    <a:pt x="18" y="33"/>
                  </a:moveTo>
                  <a:lnTo>
                    <a:pt x="19" y="30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21" y="27"/>
                  </a:lnTo>
                  <a:lnTo>
                    <a:pt x="24" y="29"/>
                  </a:lnTo>
                  <a:lnTo>
                    <a:pt x="27" y="32"/>
                  </a:lnTo>
                  <a:lnTo>
                    <a:pt x="31" y="35"/>
                  </a:lnTo>
                  <a:lnTo>
                    <a:pt x="33" y="38"/>
                  </a:lnTo>
                  <a:lnTo>
                    <a:pt x="37" y="42"/>
                  </a:lnTo>
                  <a:lnTo>
                    <a:pt x="42" y="47"/>
                  </a:lnTo>
                  <a:lnTo>
                    <a:pt x="48" y="50"/>
                  </a:lnTo>
                  <a:lnTo>
                    <a:pt x="52" y="54"/>
                  </a:lnTo>
                  <a:lnTo>
                    <a:pt x="57" y="57"/>
                  </a:lnTo>
                  <a:lnTo>
                    <a:pt x="63" y="60"/>
                  </a:lnTo>
                  <a:lnTo>
                    <a:pt x="66" y="63"/>
                  </a:lnTo>
                  <a:lnTo>
                    <a:pt x="72" y="63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9" y="65"/>
                  </a:lnTo>
                  <a:lnTo>
                    <a:pt x="81" y="66"/>
                  </a:lnTo>
                  <a:lnTo>
                    <a:pt x="82" y="66"/>
                  </a:lnTo>
                  <a:lnTo>
                    <a:pt x="85" y="66"/>
                  </a:lnTo>
                  <a:lnTo>
                    <a:pt x="87" y="68"/>
                  </a:lnTo>
                  <a:lnTo>
                    <a:pt x="87" y="68"/>
                  </a:lnTo>
                  <a:lnTo>
                    <a:pt x="88" y="68"/>
                  </a:lnTo>
                  <a:lnTo>
                    <a:pt x="97" y="72"/>
                  </a:lnTo>
                  <a:lnTo>
                    <a:pt x="104" y="80"/>
                  </a:lnTo>
                  <a:lnTo>
                    <a:pt x="120" y="80"/>
                  </a:lnTo>
                  <a:lnTo>
                    <a:pt x="121" y="89"/>
                  </a:lnTo>
                  <a:lnTo>
                    <a:pt x="130" y="89"/>
                  </a:lnTo>
                  <a:lnTo>
                    <a:pt x="130" y="98"/>
                  </a:lnTo>
                  <a:lnTo>
                    <a:pt x="135" y="98"/>
                  </a:lnTo>
                  <a:lnTo>
                    <a:pt x="134" y="89"/>
                  </a:lnTo>
                  <a:lnTo>
                    <a:pt x="137" y="87"/>
                  </a:lnTo>
                  <a:lnTo>
                    <a:pt x="145" y="87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2" y="96"/>
                  </a:lnTo>
                  <a:lnTo>
                    <a:pt x="142" y="98"/>
                  </a:lnTo>
                  <a:lnTo>
                    <a:pt x="144" y="99"/>
                  </a:lnTo>
                  <a:lnTo>
                    <a:pt x="145" y="102"/>
                  </a:lnTo>
                  <a:lnTo>
                    <a:pt x="147" y="105"/>
                  </a:lnTo>
                  <a:lnTo>
                    <a:pt x="147" y="110"/>
                  </a:lnTo>
                  <a:lnTo>
                    <a:pt x="145" y="113"/>
                  </a:lnTo>
                  <a:lnTo>
                    <a:pt x="144" y="114"/>
                  </a:lnTo>
                  <a:lnTo>
                    <a:pt x="144" y="114"/>
                  </a:lnTo>
                  <a:lnTo>
                    <a:pt x="142" y="116"/>
                  </a:lnTo>
                  <a:lnTo>
                    <a:pt x="141" y="117"/>
                  </a:lnTo>
                  <a:lnTo>
                    <a:pt x="138" y="120"/>
                  </a:lnTo>
                  <a:lnTo>
                    <a:pt x="135" y="123"/>
                  </a:lnTo>
                  <a:lnTo>
                    <a:pt x="134" y="126"/>
                  </a:lnTo>
                  <a:lnTo>
                    <a:pt x="131" y="128"/>
                  </a:lnTo>
                  <a:lnTo>
                    <a:pt x="130" y="129"/>
                  </a:lnTo>
                  <a:lnTo>
                    <a:pt x="130" y="131"/>
                  </a:lnTo>
                  <a:lnTo>
                    <a:pt x="126" y="126"/>
                  </a:lnTo>
                  <a:lnTo>
                    <a:pt x="134" y="120"/>
                  </a:lnTo>
                  <a:lnTo>
                    <a:pt x="132" y="116"/>
                  </a:lnTo>
                  <a:lnTo>
                    <a:pt x="109" y="143"/>
                  </a:lnTo>
                  <a:lnTo>
                    <a:pt x="96" y="152"/>
                  </a:lnTo>
                  <a:lnTo>
                    <a:pt x="96" y="161"/>
                  </a:lnTo>
                  <a:lnTo>
                    <a:pt x="102" y="162"/>
                  </a:lnTo>
                  <a:lnTo>
                    <a:pt x="102" y="162"/>
                  </a:lnTo>
                  <a:lnTo>
                    <a:pt x="104" y="161"/>
                  </a:lnTo>
                  <a:lnTo>
                    <a:pt x="105" y="159"/>
                  </a:lnTo>
                  <a:lnTo>
                    <a:pt x="106" y="157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4" y="157"/>
                  </a:lnTo>
                  <a:lnTo>
                    <a:pt x="102" y="155"/>
                  </a:lnTo>
                  <a:lnTo>
                    <a:pt x="101" y="155"/>
                  </a:lnTo>
                  <a:lnTo>
                    <a:pt x="123" y="137"/>
                  </a:lnTo>
                  <a:lnTo>
                    <a:pt x="129" y="137"/>
                  </a:lnTo>
                  <a:lnTo>
                    <a:pt x="151" y="114"/>
                  </a:lnTo>
                  <a:lnTo>
                    <a:pt x="154" y="122"/>
                  </a:lnTo>
                  <a:lnTo>
                    <a:pt x="153" y="129"/>
                  </a:lnTo>
                  <a:lnTo>
                    <a:pt x="145" y="135"/>
                  </a:lnTo>
                  <a:lnTo>
                    <a:pt x="142" y="134"/>
                  </a:lnTo>
                  <a:lnTo>
                    <a:pt x="139" y="141"/>
                  </a:lnTo>
                  <a:lnTo>
                    <a:pt x="137" y="150"/>
                  </a:lnTo>
                  <a:lnTo>
                    <a:pt x="139" y="152"/>
                  </a:lnTo>
                  <a:lnTo>
                    <a:pt x="132" y="177"/>
                  </a:lnTo>
                  <a:lnTo>
                    <a:pt x="132" y="177"/>
                  </a:lnTo>
                  <a:lnTo>
                    <a:pt x="131" y="177"/>
                  </a:lnTo>
                  <a:lnTo>
                    <a:pt x="130" y="179"/>
                  </a:lnTo>
                  <a:lnTo>
                    <a:pt x="127" y="182"/>
                  </a:lnTo>
                  <a:lnTo>
                    <a:pt x="126" y="183"/>
                  </a:lnTo>
                  <a:lnTo>
                    <a:pt x="126" y="183"/>
                  </a:lnTo>
                  <a:lnTo>
                    <a:pt x="126" y="183"/>
                  </a:lnTo>
                  <a:lnTo>
                    <a:pt x="124" y="183"/>
                  </a:lnTo>
                  <a:lnTo>
                    <a:pt x="124" y="182"/>
                  </a:lnTo>
                  <a:lnTo>
                    <a:pt x="126" y="179"/>
                  </a:lnTo>
                  <a:lnTo>
                    <a:pt x="126" y="177"/>
                  </a:lnTo>
                  <a:lnTo>
                    <a:pt x="126" y="176"/>
                  </a:lnTo>
                  <a:lnTo>
                    <a:pt x="126" y="174"/>
                  </a:lnTo>
                  <a:lnTo>
                    <a:pt x="126" y="173"/>
                  </a:lnTo>
                  <a:lnTo>
                    <a:pt x="132" y="164"/>
                  </a:lnTo>
                  <a:lnTo>
                    <a:pt x="121" y="174"/>
                  </a:lnTo>
                  <a:lnTo>
                    <a:pt x="117" y="182"/>
                  </a:lnTo>
                  <a:lnTo>
                    <a:pt x="115" y="179"/>
                  </a:lnTo>
                  <a:lnTo>
                    <a:pt x="115" y="179"/>
                  </a:lnTo>
                  <a:lnTo>
                    <a:pt x="115" y="177"/>
                  </a:lnTo>
                  <a:lnTo>
                    <a:pt x="117" y="176"/>
                  </a:lnTo>
                  <a:lnTo>
                    <a:pt x="117" y="173"/>
                  </a:lnTo>
                  <a:lnTo>
                    <a:pt x="118" y="170"/>
                  </a:lnTo>
                  <a:lnTo>
                    <a:pt x="120" y="168"/>
                  </a:lnTo>
                  <a:lnTo>
                    <a:pt x="120" y="165"/>
                  </a:lnTo>
                  <a:lnTo>
                    <a:pt x="118" y="164"/>
                  </a:lnTo>
                  <a:lnTo>
                    <a:pt x="117" y="162"/>
                  </a:lnTo>
                  <a:lnTo>
                    <a:pt x="117" y="162"/>
                  </a:lnTo>
                  <a:lnTo>
                    <a:pt x="114" y="164"/>
                  </a:lnTo>
                  <a:lnTo>
                    <a:pt x="109" y="165"/>
                  </a:lnTo>
                  <a:lnTo>
                    <a:pt x="105" y="170"/>
                  </a:lnTo>
                  <a:lnTo>
                    <a:pt x="101" y="173"/>
                  </a:lnTo>
                  <a:lnTo>
                    <a:pt x="97" y="177"/>
                  </a:lnTo>
                  <a:lnTo>
                    <a:pt x="94" y="182"/>
                  </a:lnTo>
                  <a:lnTo>
                    <a:pt x="94" y="183"/>
                  </a:lnTo>
                  <a:lnTo>
                    <a:pt x="96" y="185"/>
                  </a:lnTo>
                  <a:lnTo>
                    <a:pt x="96" y="185"/>
                  </a:lnTo>
                  <a:lnTo>
                    <a:pt x="101" y="186"/>
                  </a:lnTo>
                  <a:lnTo>
                    <a:pt x="104" y="186"/>
                  </a:lnTo>
                  <a:lnTo>
                    <a:pt x="106" y="188"/>
                  </a:lnTo>
                  <a:lnTo>
                    <a:pt x="109" y="188"/>
                  </a:lnTo>
                  <a:lnTo>
                    <a:pt x="109" y="188"/>
                  </a:lnTo>
                  <a:lnTo>
                    <a:pt x="111" y="188"/>
                  </a:lnTo>
                  <a:lnTo>
                    <a:pt x="111" y="188"/>
                  </a:lnTo>
                  <a:lnTo>
                    <a:pt x="111" y="188"/>
                  </a:lnTo>
                  <a:lnTo>
                    <a:pt x="111" y="188"/>
                  </a:lnTo>
                  <a:lnTo>
                    <a:pt x="111" y="188"/>
                  </a:lnTo>
                  <a:lnTo>
                    <a:pt x="111" y="190"/>
                  </a:lnTo>
                  <a:lnTo>
                    <a:pt x="112" y="191"/>
                  </a:lnTo>
                  <a:lnTo>
                    <a:pt x="117" y="194"/>
                  </a:lnTo>
                  <a:lnTo>
                    <a:pt x="117" y="194"/>
                  </a:lnTo>
                  <a:lnTo>
                    <a:pt x="118" y="194"/>
                  </a:lnTo>
                  <a:lnTo>
                    <a:pt x="121" y="192"/>
                  </a:lnTo>
                  <a:lnTo>
                    <a:pt x="126" y="190"/>
                  </a:lnTo>
                  <a:lnTo>
                    <a:pt x="129" y="189"/>
                  </a:lnTo>
                  <a:lnTo>
                    <a:pt x="131" y="186"/>
                  </a:lnTo>
                  <a:lnTo>
                    <a:pt x="134" y="183"/>
                  </a:lnTo>
                  <a:lnTo>
                    <a:pt x="137" y="182"/>
                  </a:lnTo>
                  <a:lnTo>
                    <a:pt x="137" y="180"/>
                  </a:lnTo>
                  <a:lnTo>
                    <a:pt x="141" y="182"/>
                  </a:lnTo>
                  <a:lnTo>
                    <a:pt x="148" y="176"/>
                  </a:lnTo>
                  <a:lnTo>
                    <a:pt x="153" y="174"/>
                  </a:lnTo>
                  <a:lnTo>
                    <a:pt x="151" y="155"/>
                  </a:lnTo>
                  <a:lnTo>
                    <a:pt x="157" y="150"/>
                  </a:lnTo>
                  <a:lnTo>
                    <a:pt x="153" y="144"/>
                  </a:lnTo>
                  <a:lnTo>
                    <a:pt x="162" y="126"/>
                  </a:lnTo>
                  <a:lnTo>
                    <a:pt x="178" y="107"/>
                  </a:lnTo>
                  <a:lnTo>
                    <a:pt x="171" y="87"/>
                  </a:lnTo>
                  <a:lnTo>
                    <a:pt x="167" y="87"/>
                  </a:lnTo>
                  <a:lnTo>
                    <a:pt x="165" y="94"/>
                  </a:lnTo>
                  <a:lnTo>
                    <a:pt x="170" y="98"/>
                  </a:lnTo>
                  <a:lnTo>
                    <a:pt x="168" y="102"/>
                  </a:lnTo>
                  <a:lnTo>
                    <a:pt x="160" y="93"/>
                  </a:lnTo>
                  <a:lnTo>
                    <a:pt x="162" y="86"/>
                  </a:lnTo>
                  <a:lnTo>
                    <a:pt x="165" y="81"/>
                  </a:lnTo>
                  <a:lnTo>
                    <a:pt x="174" y="81"/>
                  </a:lnTo>
                  <a:lnTo>
                    <a:pt x="168" y="69"/>
                  </a:lnTo>
                  <a:lnTo>
                    <a:pt x="164" y="62"/>
                  </a:lnTo>
                  <a:lnTo>
                    <a:pt x="160" y="57"/>
                  </a:lnTo>
                  <a:lnTo>
                    <a:pt x="163" y="53"/>
                  </a:lnTo>
                  <a:lnTo>
                    <a:pt x="165" y="45"/>
                  </a:lnTo>
                  <a:lnTo>
                    <a:pt x="168" y="50"/>
                  </a:lnTo>
                  <a:lnTo>
                    <a:pt x="168" y="60"/>
                  </a:lnTo>
                  <a:lnTo>
                    <a:pt x="174" y="56"/>
                  </a:lnTo>
                  <a:lnTo>
                    <a:pt x="173" y="54"/>
                  </a:lnTo>
                  <a:lnTo>
                    <a:pt x="181" y="47"/>
                  </a:lnTo>
                  <a:lnTo>
                    <a:pt x="175" y="39"/>
                  </a:lnTo>
                  <a:lnTo>
                    <a:pt x="178" y="32"/>
                  </a:lnTo>
                  <a:lnTo>
                    <a:pt x="174" y="27"/>
                  </a:lnTo>
                  <a:lnTo>
                    <a:pt x="167" y="27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68" y="0"/>
                  </a:lnTo>
                  <a:lnTo>
                    <a:pt x="171" y="0"/>
                  </a:lnTo>
                  <a:lnTo>
                    <a:pt x="175" y="2"/>
                  </a:lnTo>
                  <a:lnTo>
                    <a:pt x="180" y="3"/>
                  </a:lnTo>
                  <a:lnTo>
                    <a:pt x="186" y="5"/>
                  </a:lnTo>
                  <a:lnTo>
                    <a:pt x="192" y="6"/>
                  </a:lnTo>
                  <a:lnTo>
                    <a:pt x="198" y="9"/>
                  </a:lnTo>
                  <a:lnTo>
                    <a:pt x="207" y="12"/>
                  </a:lnTo>
                  <a:lnTo>
                    <a:pt x="216" y="14"/>
                  </a:lnTo>
                  <a:lnTo>
                    <a:pt x="226" y="18"/>
                  </a:lnTo>
                  <a:lnTo>
                    <a:pt x="237" y="21"/>
                  </a:lnTo>
                  <a:lnTo>
                    <a:pt x="249" y="24"/>
                  </a:lnTo>
                  <a:lnTo>
                    <a:pt x="261" y="27"/>
                  </a:lnTo>
                  <a:lnTo>
                    <a:pt x="273" y="31"/>
                  </a:lnTo>
                  <a:lnTo>
                    <a:pt x="286" y="33"/>
                  </a:lnTo>
                  <a:lnTo>
                    <a:pt x="300" y="38"/>
                  </a:lnTo>
                  <a:lnTo>
                    <a:pt x="315" y="42"/>
                  </a:lnTo>
                  <a:lnTo>
                    <a:pt x="329" y="45"/>
                  </a:lnTo>
                  <a:lnTo>
                    <a:pt x="345" y="50"/>
                  </a:lnTo>
                  <a:lnTo>
                    <a:pt x="360" y="54"/>
                  </a:lnTo>
                  <a:lnTo>
                    <a:pt x="377" y="59"/>
                  </a:lnTo>
                  <a:lnTo>
                    <a:pt x="393" y="63"/>
                  </a:lnTo>
                  <a:lnTo>
                    <a:pt x="411" y="66"/>
                  </a:lnTo>
                  <a:lnTo>
                    <a:pt x="428" y="71"/>
                  </a:lnTo>
                  <a:lnTo>
                    <a:pt x="446" y="75"/>
                  </a:lnTo>
                  <a:lnTo>
                    <a:pt x="464" y="80"/>
                  </a:lnTo>
                  <a:lnTo>
                    <a:pt x="482" y="84"/>
                  </a:lnTo>
                  <a:lnTo>
                    <a:pt x="500" y="89"/>
                  </a:lnTo>
                  <a:lnTo>
                    <a:pt x="519" y="92"/>
                  </a:lnTo>
                  <a:lnTo>
                    <a:pt x="537" y="95"/>
                  </a:lnTo>
                  <a:lnTo>
                    <a:pt x="556" y="99"/>
                  </a:lnTo>
                  <a:lnTo>
                    <a:pt x="556" y="99"/>
                  </a:lnTo>
                  <a:lnTo>
                    <a:pt x="556" y="99"/>
                  </a:lnTo>
                  <a:lnTo>
                    <a:pt x="556" y="102"/>
                  </a:lnTo>
                  <a:lnTo>
                    <a:pt x="556" y="105"/>
                  </a:lnTo>
                  <a:lnTo>
                    <a:pt x="555" y="110"/>
                  </a:lnTo>
                  <a:lnTo>
                    <a:pt x="553" y="116"/>
                  </a:lnTo>
                  <a:lnTo>
                    <a:pt x="552" y="123"/>
                  </a:lnTo>
                  <a:lnTo>
                    <a:pt x="551" y="131"/>
                  </a:lnTo>
                  <a:lnTo>
                    <a:pt x="548" y="140"/>
                  </a:lnTo>
                  <a:lnTo>
                    <a:pt x="546" y="149"/>
                  </a:lnTo>
                  <a:lnTo>
                    <a:pt x="543" y="158"/>
                  </a:lnTo>
                  <a:lnTo>
                    <a:pt x="542" y="168"/>
                  </a:lnTo>
                  <a:lnTo>
                    <a:pt x="539" y="180"/>
                  </a:lnTo>
                  <a:lnTo>
                    <a:pt x="536" y="191"/>
                  </a:lnTo>
                  <a:lnTo>
                    <a:pt x="533" y="203"/>
                  </a:lnTo>
                  <a:lnTo>
                    <a:pt x="531" y="216"/>
                  </a:lnTo>
                  <a:lnTo>
                    <a:pt x="528" y="227"/>
                  </a:lnTo>
                  <a:lnTo>
                    <a:pt x="525" y="240"/>
                  </a:lnTo>
                  <a:lnTo>
                    <a:pt x="523" y="252"/>
                  </a:lnTo>
                  <a:lnTo>
                    <a:pt x="520" y="263"/>
                  </a:lnTo>
                  <a:lnTo>
                    <a:pt x="519" y="275"/>
                  </a:lnTo>
                  <a:lnTo>
                    <a:pt x="516" y="285"/>
                  </a:lnTo>
                  <a:lnTo>
                    <a:pt x="513" y="296"/>
                  </a:lnTo>
                  <a:lnTo>
                    <a:pt x="512" y="306"/>
                  </a:lnTo>
                  <a:lnTo>
                    <a:pt x="509" y="316"/>
                  </a:lnTo>
                  <a:lnTo>
                    <a:pt x="507" y="324"/>
                  </a:lnTo>
                  <a:lnTo>
                    <a:pt x="506" y="332"/>
                  </a:lnTo>
                  <a:lnTo>
                    <a:pt x="504" y="339"/>
                  </a:lnTo>
                  <a:lnTo>
                    <a:pt x="503" y="345"/>
                  </a:lnTo>
                  <a:lnTo>
                    <a:pt x="501" y="350"/>
                  </a:lnTo>
                  <a:lnTo>
                    <a:pt x="500" y="353"/>
                  </a:lnTo>
                  <a:lnTo>
                    <a:pt x="500" y="354"/>
                  </a:lnTo>
                  <a:lnTo>
                    <a:pt x="500" y="356"/>
                  </a:lnTo>
                  <a:lnTo>
                    <a:pt x="495" y="371"/>
                  </a:lnTo>
                  <a:lnTo>
                    <a:pt x="500" y="380"/>
                  </a:lnTo>
                  <a:lnTo>
                    <a:pt x="500" y="390"/>
                  </a:lnTo>
                  <a:lnTo>
                    <a:pt x="497" y="402"/>
                  </a:lnTo>
                  <a:lnTo>
                    <a:pt x="498" y="412"/>
                  </a:lnTo>
                  <a:lnTo>
                    <a:pt x="357" y="377"/>
                  </a:lnTo>
                  <a:lnTo>
                    <a:pt x="357" y="377"/>
                  </a:lnTo>
                  <a:lnTo>
                    <a:pt x="357" y="377"/>
                  </a:lnTo>
                  <a:lnTo>
                    <a:pt x="355" y="377"/>
                  </a:lnTo>
                  <a:lnTo>
                    <a:pt x="354" y="377"/>
                  </a:lnTo>
                  <a:lnTo>
                    <a:pt x="351" y="377"/>
                  </a:lnTo>
                  <a:lnTo>
                    <a:pt x="348" y="377"/>
                  </a:lnTo>
                  <a:lnTo>
                    <a:pt x="345" y="378"/>
                  </a:lnTo>
                  <a:lnTo>
                    <a:pt x="341" y="378"/>
                  </a:lnTo>
                  <a:lnTo>
                    <a:pt x="338" y="378"/>
                  </a:lnTo>
                  <a:lnTo>
                    <a:pt x="333" y="378"/>
                  </a:lnTo>
                  <a:lnTo>
                    <a:pt x="329" y="378"/>
                  </a:lnTo>
                  <a:lnTo>
                    <a:pt x="325" y="378"/>
                  </a:lnTo>
                  <a:lnTo>
                    <a:pt x="321" y="377"/>
                  </a:lnTo>
                  <a:lnTo>
                    <a:pt x="316" y="377"/>
                  </a:lnTo>
                  <a:lnTo>
                    <a:pt x="312" y="375"/>
                  </a:lnTo>
                  <a:lnTo>
                    <a:pt x="308" y="374"/>
                  </a:lnTo>
                  <a:lnTo>
                    <a:pt x="303" y="372"/>
                  </a:lnTo>
                  <a:lnTo>
                    <a:pt x="303" y="372"/>
                  </a:lnTo>
                  <a:lnTo>
                    <a:pt x="302" y="372"/>
                  </a:lnTo>
                  <a:lnTo>
                    <a:pt x="300" y="372"/>
                  </a:lnTo>
                  <a:lnTo>
                    <a:pt x="299" y="372"/>
                  </a:lnTo>
                  <a:lnTo>
                    <a:pt x="297" y="374"/>
                  </a:lnTo>
                  <a:lnTo>
                    <a:pt x="294" y="375"/>
                  </a:lnTo>
                  <a:lnTo>
                    <a:pt x="294" y="377"/>
                  </a:lnTo>
                  <a:lnTo>
                    <a:pt x="292" y="377"/>
                  </a:lnTo>
                  <a:lnTo>
                    <a:pt x="292" y="377"/>
                  </a:lnTo>
                  <a:lnTo>
                    <a:pt x="273" y="377"/>
                  </a:lnTo>
                  <a:lnTo>
                    <a:pt x="273" y="377"/>
                  </a:lnTo>
                  <a:lnTo>
                    <a:pt x="272" y="377"/>
                  </a:lnTo>
                  <a:lnTo>
                    <a:pt x="267" y="377"/>
                  </a:lnTo>
                  <a:lnTo>
                    <a:pt x="261" y="378"/>
                  </a:lnTo>
                  <a:lnTo>
                    <a:pt x="252" y="379"/>
                  </a:lnTo>
                  <a:lnTo>
                    <a:pt x="244" y="379"/>
                  </a:lnTo>
                  <a:lnTo>
                    <a:pt x="236" y="379"/>
                  </a:lnTo>
                  <a:lnTo>
                    <a:pt x="230" y="377"/>
                  </a:lnTo>
                  <a:lnTo>
                    <a:pt x="225" y="374"/>
                  </a:lnTo>
                  <a:lnTo>
                    <a:pt x="225" y="374"/>
                  </a:lnTo>
                  <a:lnTo>
                    <a:pt x="225" y="374"/>
                  </a:lnTo>
                  <a:lnTo>
                    <a:pt x="222" y="374"/>
                  </a:lnTo>
                  <a:lnTo>
                    <a:pt x="219" y="374"/>
                  </a:lnTo>
                  <a:lnTo>
                    <a:pt x="214" y="374"/>
                  </a:lnTo>
                  <a:lnTo>
                    <a:pt x="210" y="374"/>
                  </a:lnTo>
                  <a:lnTo>
                    <a:pt x="207" y="375"/>
                  </a:lnTo>
                  <a:lnTo>
                    <a:pt x="204" y="375"/>
                  </a:lnTo>
                  <a:lnTo>
                    <a:pt x="204" y="375"/>
                  </a:lnTo>
                  <a:lnTo>
                    <a:pt x="197" y="374"/>
                  </a:lnTo>
                  <a:lnTo>
                    <a:pt x="186" y="377"/>
                  </a:lnTo>
                  <a:lnTo>
                    <a:pt x="186" y="377"/>
                  </a:lnTo>
                  <a:lnTo>
                    <a:pt x="186" y="375"/>
                  </a:lnTo>
                  <a:lnTo>
                    <a:pt x="181" y="372"/>
                  </a:lnTo>
                  <a:lnTo>
                    <a:pt x="177" y="368"/>
                  </a:lnTo>
                  <a:lnTo>
                    <a:pt x="170" y="363"/>
                  </a:lnTo>
                  <a:lnTo>
                    <a:pt x="164" y="359"/>
                  </a:lnTo>
                  <a:lnTo>
                    <a:pt x="157" y="356"/>
                  </a:lnTo>
                  <a:lnTo>
                    <a:pt x="150" y="353"/>
                  </a:lnTo>
                  <a:lnTo>
                    <a:pt x="144" y="353"/>
                  </a:lnTo>
                  <a:lnTo>
                    <a:pt x="144" y="353"/>
                  </a:lnTo>
                  <a:lnTo>
                    <a:pt x="142" y="353"/>
                  </a:lnTo>
                  <a:lnTo>
                    <a:pt x="141" y="353"/>
                  </a:lnTo>
                  <a:lnTo>
                    <a:pt x="138" y="354"/>
                  </a:lnTo>
                  <a:lnTo>
                    <a:pt x="135" y="354"/>
                  </a:lnTo>
                  <a:lnTo>
                    <a:pt x="132" y="356"/>
                  </a:lnTo>
                  <a:lnTo>
                    <a:pt x="129" y="356"/>
                  </a:lnTo>
                  <a:lnTo>
                    <a:pt x="123" y="357"/>
                  </a:lnTo>
                  <a:lnTo>
                    <a:pt x="118" y="357"/>
                  </a:lnTo>
                  <a:lnTo>
                    <a:pt x="114" y="357"/>
                  </a:lnTo>
                  <a:lnTo>
                    <a:pt x="108" y="357"/>
                  </a:lnTo>
                  <a:lnTo>
                    <a:pt x="104" y="357"/>
                  </a:lnTo>
                  <a:lnTo>
                    <a:pt x="99" y="357"/>
                  </a:lnTo>
                  <a:lnTo>
                    <a:pt x="96" y="356"/>
                  </a:lnTo>
                  <a:lnTo>
                    <a:pt x="91" y="354"/>
                  </a:lnTo>
                  <a:lnTo>
                    <a:pt x="88" y="353"/>
                  </a:lnTo>
                  <a:lnTo>
                    <a:pt x="87" y="350"/>
                  </a:lnTo>
                  <a:lnTo>
                    <a:pt x="87" y="350"/>
                  </a:lnTo>
                  <a:lnTo>
                    <a:pt x="85" y="348"/>
                  </a:lnTo>
                  <a:lnTo>
                    <a:pt x="84" y="348"/>
                  </a:lnTo>
                  <a:lnTo>
                    <a:pt x="82" y="348"/>
                  </a:lnTo>
                  <a:lnTo>
                    <a:pt x="79" y="345"/>
                  </a:lnTo>
                  <a:lnTo>
                    <a:pt x="78" y="344"/>
                  </a:lnTo>
                  <a:lnTo>
                    <a:pt x="76" y="342"/>
                  </a:lnTo>
                  <a:lnTo>
                    <a:pt x="75" y="342"/>
                  </a:lnTo>
                  <a:lnTo>
                    <a:pt x="75" y="342"/>
                  </a:lnTo>
                  <a:lnTo>
                    <a:pt x="71" y="332"/>
                  </a:lnTo>
                  <a:lnTo>
                    <a:pt x="71" y="332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72" y="327"/>
                  </a:lnTo>
                  <a:lnTo>
                    <a:pt x="72" y="324"/>
                  </a:lnTo>
                  <a:lnTo>
                    <a:pt x="73" y="320"/>
                  </a:lnTo>
                  <a:lnTo>
                    <a:pt x="73" y="316"/>
                  </a:lnTo>
                  <a:lnTo>
                    <a:pt x="73" y="312"/>
                  </a:lnTo>
                  <a:lnTo>
                    <a:pt x="73" y="308"/>
                  </a:lnTo>
                  <a:lnTo>
                    <a:pt x="73" y="302"/>
                  </a:lnTo>
                  <a:lnTo>
                    <a:pt x="72" y="297"/>
                  </a:lnTo>
                  <a:lnTo>
                    <a:pt x="72" y="293"/>
                  </a:lnTo>
                  <a:lnTo>
                    <a:pt x="69" y="288"/>
                  </a:lnTo>
                  <a:lnTo>
                    <a:pt x="66" y="285"/>
                  </a:lnTo>
                  <a:lnTo>
                    <a:pt x="64" y="282"/>
                  </a:lnTo>
                  <a:lnTo>
                    <a:pt x="60" y="279"/>
                  </a:lnTo>
                  <a:lnTo>
                    <a:pt x="54" y="278"/>
                  </a:lnTo>
                  <a:lnTo>
                    <a:pt x="54" y="278"/>
                  </a:lnTo>
                  <a:lnTo>
                    <a:pt x="54" y="278"/>
                  </a:lnTo>
                  <a:lnTo>
                    <a:pt x="52" y="278"/>
                  </a:lnTo>
                  <a:lnTo>
                    <a:pt x="51" y="278"/>
                  </a:lnTo>
                  <a:lnTo>
                    <a:pt x="48" y="276"/>
                  </a:lnTo>
                  <a:lnTo>
                    <a:pt x="46" y="276"/>
                  </a:lnTo>
                  <a:lnTo>
                    <a:pt x="45" y="276"/>
                  </a:lnTo>
                  <a:lnTo>
                    <a:pt x="45" y="276"/>
                  </a:lnTo>
                  <a:lnTo>
                    <a:pt x="43" y="276"/>
                  </a:lnTo>
                  <a:lnTo>
                    <a:pt x="43" y="276"/>
                  </a:lnTo>
                  <a:lnTo>
                    <a:pt x="43" y="275"/>
                  </a:lnTo>
                  <a:lnTo>
                    <a:pt x="45" y="273"/>
                  </a:lnTo>
                  <a:lnTo>
                    <a:pt x="45" y="272"/>
                  </a:lnTo>
                  <a:lnTo>
                    <a:pt x="43" y="269"/>
                  </a:lnTo>
                  <a:lnTo>
                    <a:pt x="43" y="266"/>
                  </a:lnTo>
                  <a:lnTo>
                    <a:pt x="40" y="263"/>
                  </a:lnTo>
                  <a:lnTo>
                    <a:pt x="37" y="261"/>
                  </a:lnTo>
                  <a:lnTo>
                    <a:pt x="33" y="260"/>
                  </a:lnTo>
                  <a:lnTo>
                    <a:pt x="33" y="260"/>
                  </a:lnTo>
                  <a:lnTo>
                    <a:pt x="32" y="258"/>
                  </a:lnTo>
                  <a:lnTo>
                    <a:pt x="31" y="257"/>
                  </a:lnTo>
                  <a:lnTo>
                    <a:pt x="28" y="255"/>
                  </a:lnTo>
                  <a:lnTo>
                    <a:pt x="27" y="254"/>
                  </a:lnTo>
                  <a:lnTo>
                    <a:pt x="19" y="255"/>
                  </a:lnTo>
                  <a:lnTo>
                    <a:pt x="18" y="253"/>
                  </a:lnTo>
                  <a:lnTo>
                    <a:pt x="15" y="255"/>
                  </a:lnTo>
                  <a:lnTo>
                    <a:pt x="9" y="253"/>
                  </a:lnTo>
                  <a:lnTo>
                    <a:pt x="4" y="246"/>
                  </a:lnTo>
                  <a:lnTo>
                    <a:pt x="4" y="246"/>
                  </a:lnTo>
                  <a:lnTo>
                    <a:pt x="4" y="246"/>
                  </a:lnTo>
                  <a:lnTo>
                    <a:pt x="4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0" y="249"/>
                  </a:lnTo>
                  <a:lnTo>
                    <a:pt x="0" y="248"/>
                  </a:lnTo>
                  <a:lnTo>
                    <a:pt x="0" y="246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0" y="243"/>
                  </a:lnTo>
                  <a:lnTo>
                    <a:pt x="0" y="240"/>
                  </a:lnTo>
                  <a:lnTo>
                    <a:pt x="2" y="237"/>
                  </a:lnTo>
                  <a:lnTo>
                    <a:pt x="2" y="234"/>
                  </a:lnTo>
                  <a:lnTo>
                    <a:pt x="3" y="228"/>
                  </a:lnTo>
                  <a:lnTo>
                    <a:pt x="4" y="224"/>
                  </a:lnTo>
                  <a:lnTo>
                    <a:pt x="6" y="220"/>
                  </a:lnTo>
                  <a:lnTo>
                    <a:pt x="7" y="216"/>
                  </a:lnTo>
                  <a:lnTo>
                    <a:pt x="7" y="216"/>
                  </a:lnTo>
                  <a:lnTo>
                    <a:pt x="9" y="213"/>
                  </a:lnTo>
                  <a:lnTo>
                    <a:pt x="12" y="213"/>
                  </a:lnTo>
                  <a:lnTo>
                    <a:pt x="12" y="213"/>
                  </a:lnTo>
                  <a:lnTo>
                    <a:pt x="12" y="216"/>
                  </a:lnTo>
                  <a:lnTo>
                    <a:pt x="12" y="216"/>
                  </a:lnTo>
                  <a:lnTo>
                    <a:pt x="12" y="216"/>
                  </a:lnTo>
                  <a:lnTo>
                    <a:pt x="12" y="218"/>
                  </a:lnTo>
                  <a:lnTo>
                    <a:pt x="10" y="220"/>
                  </a:lnTo>
                  <a:lnTo>
                    <a:pt x="10" y="222"/>
                  </a:lnTo>
                  <a:lnTo>
                    <a:pt x="9" y="225"/>
                  </a:lnTo>
                  <a:lnTo>
                    <a:pt x="9" y="228"/>
                  </a:lnTo>
                  <a:lnTo>
                    <a:pt x="9" y="233"/>
                  </a:lnTo>
                  <a:lnTo>
                    <a:pt x="7" y="236"/>
                  </a:lnTo>
                  <a:lnTo>
                    <a:pt x="7" y="236"/>
                  </a:lnTo>
                  <a:lnTo>
                    <a:pt x="6" y="237"/>
                  </a:lnTo>
                  <a:lnTo>
                    <a:pt x="6" y="240"/>
                  </a:lnTo>
                  <a:lnTo>
                    <a:pt x="7" y="240"/>
                  </a:lnTo>
                  <a:lnTo>
                    <a:pt x="10" y="240"/>
                  </a:lnTo>
                  <a:lnTo>
                    <a:pt x="10" y="240"/>
                  </a:lnTo>
                  <a:lnTo>
                    <a:pt x="12" y="239"/>
                  </a:lnTo>
                  <a:lnTo>
                    <a:pt x="12" y="239"/>
                  </a:lnTo>
                  <a:lnTo>
                    <a:pt x="13" y="239"/>
                  </a:lnTo>
                  <a:lnTo>
                    <a:pt x="13" y="239"/>
                  </a:lnTo>
                  <a:lnTo>
                    <a:pt x="13" y="234"/>
                  </a:lnTo>
                  <a:lnTo>
                    <a:pt x="18" y="228"/>
                  </a:lnTo>
                  <a:lnTo>
                    <a:pt x="21" y="224"/>
                  </a:lnTo>
                  <a:lnTo>
                    <a:pt x="21" y="215"/>
                  </a:lnTo>
                  <a:lnTo>
                    <a:pt x="22" y="212"/>
                  </a:lnTo>
                  <a:lnTo>
                    <a:pt x="28" y="210"/>
                  </a:lnTo>
                  <a:lnTo>
                    <a:pt x="25" y="203"/>
                  </a:lnTo>
                  <a:lnTo>
                    <a:pt x="21" y="206"/>
                  </a:lnTo>
                  <a:lnTo>
                    <a:pt x="12" y="206"/>
                  </a:lnTo>
                  <a:lnTo>
                    <a:pt x="13" y="185"/>
                  </a:lnTo>
                  <a:lnTo>
                    <a:pt x="15" y="185"/>
                  </a:lnTo>
                  <a:lnTo>
                    <a:pt x="16" y="189"/>
                  </a:lnTo>
                  <a:lnTo>
                    <a:pt x="22" y="186"/>
                  </a:lnTo>
                  <a:lnTo>
                    <a:pt x="35" y="188"/>
                  </a:lnTo>
                  <a:lnTo>
                    <a:pt x="35" y="183"/>
                  </a:lnTo>
                  <a:lnTo>
                    <a:pt x="25" y="179"/>
                  </a:lnTo>
                  <a:lnTo>
                    <a:pt x="25" y="173"/>
                  </a:lnTo>
                  <a:lnTo>
                    <a:pt x="18" y="171"/>
                  </a:lnTo>
                  <a:lnTo>
                    <a:pt x="15" y="180"/>
                  </a:lnTo>
                  <a:lnTo>
                    <a:pt x="13" y="179"/>
                  </a:lnTo>
                  <a:lnTo>
                    <a:pt x="13" y="168"/>
                  </a:lnTo>
                  <a:lnTo>
                    <a:pt x="13" y="168"/>
                  </a:lnTo>
                  <a:lnTo>
                    <a:pt x="15" y="167"/>
                  </a:lnTo>
                  <a:lnTo>
                    <a:pt x="15" y="164"/>
                  </a:lnTo>
                  <a:lnTo>
                    <a:pt x="16" y="159"/>
                  </a:lnTo>
                  <a:lnTo>
                    <a:pt x="16" y="156"/>
                  </a:lnTo>
                  <a:lnTo>
                    <a:pt x="18" y="152"/>
                  </a:lnTo>
                  <a:lnTo>
                    <a:pt x="18" y="146"/>
                  </a:lnTo>
                  <a:lnTo>
                    <a:pt x="18" y="141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6" y="135"/>
                  </a:lnTo>
                  <a:lnTo>
                    <a:pt x="16" y="129"/>
                  </a:lnTo>
                  <a:lnTo>
                    <a:pt x="16" y="123"/>
                  </a:lnTo>
                  <a:lnTo>
                    <a:pt x="16" y="114"/>
                  </a:lnTo>
                  <a:lnTo>
                    <a:pt x="18" y="105"/>
                  </a:lnTo>
                  <a:lnTo>
                    <a:pt x="18" y="96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89"/>
                  </a:lnTo>
                  <a:lnTo>
                    <a:pt x="16" y="86"/>
                  </a:lnTo>
                  <a:lnTo>
                    <a:pt x="13" y="81"/>
                  </a:lnTo>
                  <a:lnTo>
                    <a:pt x="10" y="77"/>
                  </a:lnTo>
                  <a:lnTo>
                    <a:pt x="9" y="69"/>
                  </a:lnTo>
                  <a:lnTo>
                    <a:pt x="7" y="63"/>
                  </a:lnTo>
                  <a:lnTo>
                    <a:pt x="9" y="54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4"/>
                  </a:lnTo>
                  <a:lnTo>
                    <a:pt x="13" y="42"/>
                  </a:lnTo>
                  <a:lnTo>
                    <a:pt x="15" y="39"/>
                  </a:lnTo>
                  <a:lnTo>
                    <a:pt x="16" y="38"/>
                  </a:lnTo>
                  <a:lnTo>
                    <a:pt x="16" y="35"/>
                  </a:lnTo>
                  <a:lnTo>
                    <a:pt x="18" y="35"/>
                  </a:lnTo>
                  <a:lnTo>
                    <a:pt x="18" y="33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" name="Freeform 5"/>
            <p:cNvSpPr>
              <a:spLocks/>
            </p:cNvSpPr>
            <p:nvPr/>
          </p:nvSpPr>
          <p:spPr bwMode="auto">
            <a:xfrm>
              <a:off x="782057" y="4076636"/>
              <a:ext cx="450905" cy="379407"/>
            </a:xfrm>
            <a:custGeom>
              <a:avLst/>
              <a:gdLst>
                <a:gd name="T0" fmla="*/ 186 w 671"/>
                <a:gd name="T1" fmla="*/ 11 h 566"/>
                <a:gd name="T2" fmla="*/ 170 w 671"/>
                <a:gd name="T3" fmla="*/ 9 h 566"/>
                <a:gd name="T4" fmla="*/ 153 w 671"/>
                <a:gd name="T5" fmla="*/ 0 h 566"/>
                <a:gd name="T6" fmla="*/ 146 w 671"/>
                <a:gd name="T7" fmla="*/ 35 h 566"/>
                <a:gd name="T8" fmla="*/ 113 w 671"/>
                <a:gd name="T9" fmla="*/ 124 h 566"/>
                <a:gd name="T10" fmla="*/ 87 w 671"/>
                <a:gd name="T11" fmla="*/ 186 h 566"/>
                <a:gd name="T12" fmla="*/ 70 w 671"/>
                <a:gd name="T13" fmla="*/ 225 h 566"/>
                <a:gd name="T14" fmla="*/ 47 w 671"/>
                <a:gd name="T15" fmla="*/ 266 h 566"/>
                <a:gd name="T16" fmla="*/ 34 w 671"/>
                <a:gd name="T17" fmla="*/ 284 h 566"/>
                <a:gd name="T18" fmla="*/ 31 w 671"/>
                <a:gd name="T19" fmla="*/ 291 h 566"/>
                <a:gd name="T20" fmla="*/ 11 w 671"/>
                <a:gd name="T21" fmla="*/ 326 h 566"/>
                <a:gd name="T22" fmla="*/ 10 w 671"/>
                <a:gd name="T23" fmla="*/ 347 h 566"/>
                <a:gd name="T24" fmla="*/ 10 w 671"/>
                <a:gd name="T25" fmla="*/ 362 h 566"/>
                <a:gd name="T26" fmla="*/ 1 w 671"/>
                <a:gd name="T27" fmla="*/ 381 h 566"/>
                <a:gd name="T28" fmla="*/ 0 w 671"/>
                <a:gd name="T29" fmla="*/ 401 h 566"/>
                <a:gd name="T30" fmla="*/ 1 w 671"/>
                <a:gd name="T31" fmla="*/ 411 h 566"/>
                <a:gd name="T32" fmla="*/ 2 w 671"/>
                <a:gd name="T33" fmla="*/ 417 h 566"/>
                <a:gd name="T34" fmla="*/ 8 w 671"/>
                <a:gd name="T35" fmla="*/ 425 h 566"/>
                <a:gd name="T36" fmla="*/ 32 w 671"/>
                <a:gd name="T37" fmla="*/ 432 h 566"/>
                <a:gd name="T38" fmla="*/ 73 w 671"/>
                <a:gd name="T39" fmla="*/ 443 h 566"/>
                <a:gd name="T40" fmla="*/ 123 w 671"/>
                <a:gd name="T41" fmla="*/ 458 h 566"/>
                <a:gd name="T42" fmla="*/ 181 w 671"/>
                <a:gd name="T43" fmla="*/ 473 h 566"/>
                <a:gd name="T44" fmla="*/ 244 w 671"/>
                <a:gd name="T45" fmla="*/ 489 h 566"/>
                <a:gd name="T46" fmla="*/ 310 w 671"/>
                <a:gd name="T47" fmla="*/ 506 h 566"/>
                <a:gd name="T48" fmla="*/ 365 w 671"/>
                <a:gd name="T49" fmla="*/ 521 h 566"/>
                <a:gd name="T50" fmla="*/ 415 w 671"/>
                <a:gd name="T51" fmla="*/ 533 h 566"/>
                <a:gd name="T52" fmla="*/ 461 w 671"/>
                <a:gd name="T53" fmla="*/ 545 h 566"/>
                <a:gd name="T54" fmla="*/ 499 w 671"/>
                <a:gd name="T55" fmla="*/ 554 h 566"/>
                <a:gd name="T56" fmla="*/ 528 w 671"/>
                <a:gd name="T57" fmla="*/ 561 h 566"/>
                <a:gd name="T58" fmla="*/ 542 w 671"/>
                <a:gd name="T59" fmla="*/ 565 h 566"/>
                <a:gd name="T60" fmla="*/ 582 w 671"/>
                <a:gd name="T61" fmla="*/ 389 h 566"/>
                <a:gd name="T62" fmla="*/ 601 w 671"/>
                <a:gd name="T63" fmla="*/ 336 h 566"/>
                <a:gd name="T64" fmla="*/ 586 w 671"/>
                <a:gd name="T65" fmla="*/ 315 h 566"/>
                <a:gd name="T66" fmla="*/ 589 w 671"/>
                <a:gd name="T67" fmla="*/ 309 h 566"/>
                <a:gd name="T68" fmla="*/ 618 w 671"/>
                <a:gd name="T69" fmla="*/ 273 h 566"/>
                <a:gd name="T70" fmla="*/ 668 w 671"/>
                <a:gd name="T71" fmla="*/ 201 h 566"/>
                <a:gd name="T72" fmla="*/ 646 w 671"/>
                <a:gd name="T73" fmla="*/ 156 h 566"/>
                <a:gd name="T74" fmla="*/ 499 w 671"/>
                <a:gd name="T75" fmla="*/ 122 h 566"/>
                <a:gd name="T76" fmla="*/ 481 w 671"/>
                <a:gd name="T77" fmla="*/ 123 h 566"/>
                <a:gd name="T78" fmla="*/ 460 w 671"/>
                <a:gd name="T79" fmla="*/ 120 h 566"/>
                <a:gd name="T80" fmla="*/ 447 w 671"/>
                <a:gd name="T81" fmla="*/ 117 h 566"/>
                <a:gd name="T82" fmla="*/ 440 w 671"/>
                <a:gd name="T83" fmla="*/ 122 h 566"/>
                <a:gd name="T84" fmla="*/ 400 w 671"/>
                <a:gd name="T85" fmla="*/ 124 h 566"/>
                <a:gd name="T86" fmla="*/ 373 w 671"/>
                <a:gd name="T87" fmla="*/ 119 h 566"/>
                <a:gd name="T88" fmla="*/ 355 w 671"/>
                <a:gd name="T89" fmla="*/ 120 h 566"/>
                <a:gd name="T90" fmla="*/ 334 w 671"/>
                <a:gd name="T91" fmla="*/ 120 h 566"/>
                <a:gd name="T92" fmla="*/ 305 w 671"/>
                <a:gd name="T93" fmla="*/ 101 h 566"/>
                <a:gd name="T94" fmla="*/ 287 w 671"/>
                <a:gd name="T95" fmla="*/ 99 h 566"/>
                <a:gd name="T96" fmla="*/ 266 w 671"/>
                <a:gd name="T97" fmla="*/ 102 h 566"/>
                <a:gd name="T98" fmla="*/ 244 w 671"/>
                <a:gd name="T99" fmla="*/ 101 h 566"/>
                <a:gd name="T100" fmla="*/ 232 w 671"/>
                <a:gd name="T101" fmla="*/ 94 h 566"/>
                <a:gd name="T102" fmla="*/ 223 w 671"/>
                <a:gd name="T103" fmla="*/ 87 h 566"/>
                <a:gd name="T104" fmla="*/ 221 w 671"/>
                <a:gd name="T105" fmla="*/ 72 h 566"/>
                <a:gd name="T106" fmla="*/ 222 w 671"/>
                <a:gd name="T107" fmla="*/ 53 h 566"/>
                <a:gd name="T108" fmla="*/ 215 w 671"/>
                <a:gd name="T109" fmla="*/ 30 h 566"/>
                <a:gd name="T110" fmla="*/ 200 w 671"/>
                <a:gd name="T111" fmla="*/ 23 h 566"/>
                <a:gd name="T112" fmla="*/ 193 w 671"/>
                <a:gd name="T113" fmla="*/ 21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71" h="566">
                  <a:moveTo>
                    <a:pt x="202" y="23"/>
                  </a:moveTo>
                  <a:lnTo>
                    <a:pt x="196" y="23"/>
                  </a:lnTo>
                  <a:lnTo>
                    <a:pt x="191" y="18"/>
                  </a:lnTo>
                  <a:lnTo>
                    <a:pt x="188" y="15"/>
                  </a:lnTo>
                  <a:lnTo>
                    <a:pt x="186" y="11"/>
                  </a:lnTo>
                  <a:lnTo>
                    <a:pt x="181" y="9"/>
                  </a:lnTo>
                  <a:lnTo>
                    <a:pt x="179" y="9"/>
                  </a:lnTo>
                  <a:lnTo>
                    <a:pt x="179" y="9"/>
                  </a:lnTo>
                  <a:lnTo>
                    <a:pt x="175" y="11"/>
                  </a:lnTo>
                  <a:lnTo>
                    <a:pt x="170" y="9"/>
                  </a:lnTo>
                  <a:lnTo>
                    <a:pt x="166" y="6"/>
                  </a:lnTo>
                  <a:lnTo>
                    <a:pt x="163" y="6"/>
                  </a:lnTo>
                  <a:lnTo>
                    <a:pt x="160" y="9"/>
                  </a:lnTo>
                  <a:lnTo>
                    <a:pt x="156" y="5"/>
                  </a:lnTo>
                  <a:lnTo>
                    <a:pt x="153" y="0"/>
                  </a:lnTo>
                  <a:lnTo>
                    <a:pt x="151" y="0"/>
                  </a:lnTo>
                  <a:lnTo>
                    <a:pt x="152" y="14"/>
                  </a:lnTo>
                  <a:lnTo>
                    <a:pt x="151" y="21"/>
                  </a:lnTo>
                  <a:lnTo>
                    <a:pt x="142" y="28"/>
                  </a:lnTo>
                  <a:lnTo>
                    <a:pt x="146" y="35"/>
                  </a:lnTo>
                  <a:lnTo>
                    <a:pt x="142" y="39"/>
                  </a:lnTo>
                  <a:lnTo>
                    <a:pt x="136" y="53"/>
                  </a:lnTo>
                  <a:lnTo>
                    <a:pt x="139" y="61"/>
                  </a:lnTo>
                  <a:lnTo>
                    <a:pt x="131" y="74"/>
                  </a:lnTo>
                  <a:lnTo>
                    <a:pt x="113" y="124"/>
                  </a:lnTo>
                  <a:lnTo>
                    <a:pt x="100" y="143"/>
                  </a:lnTo>
                  <a:lnTo>
                    <a:pt x="100" y="149"/>
                  </a:lnTo>
                  <a:lnTo>
                    <a:pt x="86" y="187"/>
                  </a:lnTo>
                  <a:lnTo>
                    <a:pt x="87" y="187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7"/>
                  </a:lnTo>
                  <a:lnTo>
                    <a:pt x="80" y="201"/>
                  </a:lnTo>
                  <a:lnTo>
                    <a:pt x="76" y="215"/>
                  </a:lnTo>
                  <a:lnTo>
                    <a:pt x="70" y="225"/>
                  </a:lnTo>
                  <a:lnTo>
                    <a:pt x="64" y="236"/>
                  </a:lnTo>
                  <a:lnTo>
                    <a:pt x="60" y="245"/>
                  </a:lnTo>
                  <a:lnTo>
                    <a:pt x="56" y="252"/>
                  </a:lnTo>
                  <a:lnTo>
                    <a:pt x="51" y="260"/>
                  </a:lnTo>
                  <a:lnTo>
                    <a:pt x="47" y="266"/>
                  </a:lnTo>
                  <a:lnTo>
                    <a:pt x="44" y="272"/>
                  </a:lnTo>
                  <a:lnTo>
                    <a:pt x="41" y="276"/>
                  </a:lnTo>
                  <a:lnTo>
                    <a:pt x="38" y="280"/>
                  </a:lnTo>
                  <a:lnTo>
                    <a:pt x="35" y="282"/>
                  </a:lnTo>
                  <a:lnTo>
                    <a:pt x="34" y="284"/>
                  </a:lnTo>
                  <a:lnTo>
                    <a:pt x="32" y="285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32" y="290"/>
                  </a:lnTo>
                  <a:lnTo>
                    <a:pt x="31" y="291"/>
                  </a:lnTo>
                  <a:lnTo>
                    <a:pt x="29" y="296"/>
                  </a:lnTo>
                  <a:lnTo>
                    <a:pt x="26" y="303"/>
                  </a:lnTo>
                  <a:lnTo>
                    <a:pt x="20" y="311"/>
                  </a:lnTo>
                  <a:lnTo>
                    <a:pt x="15" y="318"/>
                  </a:lnTo>
                  <a:lnTo>
                    <a:pt x="11" y="326"/>
                  </a:lnTo>
                  <a:lnTo>
                    <a:pt x="8" y="332"/>
                  </a:lnTo>
                  <a:lnTo>
                    <a:pt x="7" y="335"/>
                  </a:lnTo>
                  <a:lnTo>
                    <a:pt x="8" y="339"/>
                  </a:lnTo>
                  <a:lnTo>
                    <a:pt x="10" y="343"/>
                  </a:lnTo>
                  <a:lnTo>
                    <a:pt x="10" y="347"/>
                  </a:lnTo>
                  <a:lnTo>
                    <a:pt x="10" y="351"/>
                  </a:lnTo>
                  <a:lnTo>
                    <a:pt x="10" y="354"/>
                  </a:lnTo>
                  <a:lnTo>
                    <a:pt x="10" y="357"/>
                  </a:lnTo>
                  <a:lnTo>
                    <a:pt x="10" y="360"/>
                  </a:lnTo>
                  <a:lnTo>
                    <a:pt x="10" y="362"/>
                  </a:lnTo>
                  <a:lnTo>
                    <a:pt x="7" y="365"/>
                  </a:lnTo>
                  <a:lnTo>
                    <a:pt x="5" y="369"/>
                  </a:lnTo>
                  <a:lnTo>
                    <a:pt x="4" y="373"/>
                  </a:lnTo>
                  <a:lnTo>
                    <a:pt x="2" y="377"/>
                  </a:lnTo>
                  <a:lnTo>
                    <a:pt x="1" y="381"/>
                  </a:lnTo>
                  <a:lnTo>
                    <a:pt x="1" y="386"/>
                  </a:lnTo>
                  <a:lnTo>
                    <a:pt x="0" y="390"/>
                  </a:lnTo>
                  <a:lnTo>
                    <a:pt x="0" y="393"/>
                  </a:lnTo>
                  <a:lnTo>
                    <a:pt x="0" y="398"/>
                  </a:lnTo>
                  <a:lnTo>
                    <a:pt x="0" y="401"/>
                  </a:lnTo>
                  <a:lnTo>
                    <a:pt x="0" y="404"/>
                  </a:lnTo>
                  <a:lnTo>
                    <a:pt x="1" y="406"/>
                  </a:lnTo>
                  <a:lnTo>
                    <a:pt x="1" y="408"/>
                  </a:lnTo>
                  <a:lnTo>
                    <a:pt x="1" y="410"/>
                  </a:lnTo>
                  <a:lnTo>
                    <a:pt x="1" y="411"/>
                  </a:lnTo>
                  <a:lnTo>
                    <a:pt x="1" y="411"/>
                  </a:lnTo>
                  <a:lnTo>
                    <a:pt x="1" y="411"/>
                  </a:lnTo>
                  <a:lnTo>
                    <a:pt x="1" y="413"/>
                  </a:lnTo>
                  <a:lnTo>
                    <a:pt x="2" y="414"/>
                  </a:lnTo>
                  <a:lnTo>
                    <a:pt x="2" y="417"/>
                  </a:lnTo>
                  <a:lnTo>
                    <a:pt x="4" y="419"/>
                  </a:lnTo>
                  <a:lnTo>
                    <a:pt x="4" y="420"/>
                  </a:lnTo>
                  <a:lnTo>
                    <a:pt x="5" y="422"/>
                  </a:lnTo>
                  <a:lnTo>
                    <a:pt x="5" y="423"/>
                  </a:lnTo>
                  <a:lnTo>
                    <a:pt x="8" y="425"/>
                  </a:lnTo>
                  <a:lnTo>
                    <a:pt x="13" y="425"/>
                  </a:lnTo>
                  <a:lnTo>
                    <a:pt x="17" y="428"/>
                  </a:lnTo>
                  <a:lnTo>
                    <a:pt x="21" y="429"/>
                  </a:lnTo>
                  <a:lnTo>
                    <a:pt x="27" y="431"/>
                  </a:lnTo>
                  <a:lnTo>
                    <a:pt x="32" y="432"/>
                  </a:lnTo>
                  <a:lnTo>
                    <a:pt x="40" y="435"/>
                  </a:lnTo>
                  <a:lnTo>
                    <a:pt x="47" y="436"/>
                  </a:lnTo>
                  <a:lnTo>
                    <a:pt x="56" y="439"/>
                  </a:lnTo>
                  <a:lnTo>
                    <a:pt x="64" y="440"/>
                  </a:lnTo>
                  <a:lnTo>
                    <a:pt x="73" y="443"/>
                  </a:lnTo>
                  <a:lnTo>
                    <a:pt x="82" y="446"/>
                  </a:lnTo>
                  <a:lnTo>
                    <a:pt x="92" y="449"/>
                  </a:lnTo>
                  <a:lnTo>
                    <a:pt x="101" y="452"/>
                  </a:lnTo>
                  <a:lnTo>
                    <a:pt x="112" y="455"/>
                  </a:lnTo>
                  <a:lnTo>
                    <a:pt x="123" y="458"/>
                  </a:lnTo>
                  <a:lnTo>
                    <a:pt x="134" y="461"/>
                  </a:lnTo>
                  <a:lnTo>
                    <a:pt x="146" y="464"/>
                  </a:lnTo>
                  <a:lnTo>
                    <a:pt x="158" y="467"/>
                  </a:lnTo>
                  <a:lnTo>
                    <a:pt x="169" y="469"/>
                  </a:lnTo>
                  <a:lnTo>
                    <a:pt x="181" y="473"/>
                  </a:lnTo>
                  <a:lnTo>
                    <a:pt x="193" y="476"/>
                  </a:lnTo>
                  <a:lnTo>
                    <a:pt x="206" y="479"/>
                  </a:lnTo>
                  <a:lnTo>
                    <a:pt x="220" y="483"/>
                  </a:lnTo>
                  <a:lnTo>
                    <a:pt x="232" y="486"/>
                  </a:lnTo>
                  <a:lnTo>
                    <a:pt x="244" y="489"/>
                  </a:lnTo>
                  <a:lnTo>
                    <a:pt x="257" y="494"/>
                  </a:lnTo>
                  <a:lnTo>
                    <a:pt x="269" y="497"/>
                  </a:lnTo>
                  <a:lnTo>
                    <a:pt x="284" y="499"/>
                  </a:lnTo>
                  <a:lnTo>
                    <a:pt x="295" y="502"/>
                  </a:lnTo>
                  <a:lnTo>
                    <a:pt x="310" y="506"/>
                  </a:lnTo>
                  <a:lnTo>
                    <a:pt x="321" y="509"/>
                  </a:lnTo>
                  <a:lnTo>
                    <a:pt x="332" y="512"/>
                  </a:lnTo>
                  <a:lnTo>
                    <a:pt x="344" y="515"/>
                  </a:lnTo>
                  <a:lnTo>
                    <a:pt x="354" y="518"/>
                  </a:lnTo>
                  <a:lnTo>
                    <a:pt x="365" y="521"/>
                  </a:lnTo>
                  <a:lnTo>
                    <a:pt x="376" y="524"/>
                  </a:lnTo>
                  <a:lnTo>
                    <a:pt x="385" y="525"/>
                  </a:lnTo>
                  <a:lnTo>
                    <a:pt x="397" y="528"/>
                  </a:lnTo>
                  <a:lnTo>
                    <a:pt x="406" y="531"/>
                  </a:lnTo>
                  <a:lnTo>
                    <a:pt x="415" y="533"/>
                  </a:lnTo>
                  <a:lnTo>
                    <a:pt x="425" y="534"/>
                  </a:lnTo>
                  <a:lnTo>
                    <a:pt x="436" y="537"/>
                  </a:lnTo>
                  <a:lnTo>
                    <a:pt x="445" y="540"/>
                  </a:lnTo>
                  <a:lnTo>
                    <a:pt x="453" y="542"/>
                  </a:lnTo>
                  <a:lnTo>
                    <a:pt x="461" y="545"/>
                  </a:lnTo>
                  <a:lnTo>
                    <a:pt x="470" y="546"/>
                  </a:lnTo>
                  <a:lnTo>
                    <a:pt x="478" y="549"/>
                  </a:lnTo>
                  <a:lnTo>
                    <a:pt x="486" y="551"/>
                  </a:lnTo>
                  <a:lnTo>
                    <a:pt x="493" y="552"/>
                  </a:lnTo>
                  <a:lnTo>
                    <a:pt x="499" y="554"/>
                  </a:lnTo>
                  <a:lnTo>
                    <a:pt x="506" y="555"/>
                  </a:lnTo>
                  <a:lnTo>
                    <a:pt x="511" y="557"/>
                  </a:lnTo>
                  <a:lnTo>
                    <a:pt x="517" y="558"/>
                  </a:lnTo>
                  <a:lnTo>
                    <a:pt x="522" y="560"/>
                  </a:lnTo>
                  <a:lnTo>
                    <a:pt x="528" y="561"/>
                  </a:lnTo>
                  <a:lnTo>
                    <a:pt x="530" y="562"/>
                  </a:lnTo>
                  <a:lnTo>
                    <a:pt x="535" y="564"/>
                  </a:lnTo>
                  <a:lnTo>
                    <a:pt x="538" y="564"/>
                  </a:lnTo>
                  <a:lnTo>
                    <a:pt x="541" y="564"/>
                  </a:lnTo>
                  <a:lnTo>
                    <a:pt x="542" y="565"/>
                  </a:lnTo>
                  <a:lnTo>
                    <a:pt x="544" y="565"/>
                  </a:lnTo>
                  <a:lnTo>
                    <a:pt x="544" y="565"/>
                  </a:lnTo>
                  <a:lnTo>
                    <a:pt x="544" y="565"/>
                  </a:lnTo>
                  <a:lnTo>
                    <a:pt x="583" y="401"/>
                  </a:lnTo>
                  <a:lnTo>
                    <a:pt x="582" y="389"/>
                  </a:lnTo>
                  <a:lnTo>
                    <a:pt x="598" y="362"/>
                  </a:lnTo>
                  <a:lnTo>
                    <a:pt x="598" y="353"/>
                  </a:lnTo>
                  <a:lnTo>
                    <a:pt x="602" y="347"/>
                  </a:lnTo>
                  <a:lnTo>
                    <a:pt x="605" y="341"/>
                  </a:lnTo>
                  <a:lnTo>
                    <a:pt x="601" y="336"/>
                  </a:lnTo>
                  <a:lnTo>
                    <a:pt x="585" y="326"/>
                  </a:lnTo>
                  <a:lnTo>
                    <a:pt x="586" y="318"/>
                  </a:lnTo>
                  <a:lnTo>
                    <a:pt x="586" y="318"/>
                  </a:lnTo>
                  <a:lnTo>
                    <a:pt x="586" y="317"/>
                  </a:lnTo>
                  <a:lnTo>
                    <a:pt x="586" y="315"/>
                  </a:lnTo>
                  <a:lnTo>
                    <a:pt x="588" y="314"/>
                  </a:lnTo>
                  <a:lnTo>
                    <a:pt x="588" y="313"/>
                  </a:lnTo>
                  <a:lnTo>
                    <a:pt x="589" y="312"/>
                  </a:lnTo>
                  <a:lnTo>
                    <a:pt x="589" y="311"/>
                  </a:lnTo>
                  <a:lnTo>
                    <a:pt x="589" y="309"/>
                  </a:lnTo>
                  <a:lnTo>
                    <a:pt x="594" y="300"/>
                  </a:lnTo>
                  <a:lnTo>
                    <a:pt x="598" y="293"/>
                  </a:lnTo>
                  <a:lnTo>
                    <a:pt x="605" y="285"/>
                  </a:lnTo>
                  <a:lnTo>
                    <a:pt x="610" y="279"/>
                  </a:lnTo>
                  <a:lnTo>
                    <a:pt x="618" y="273"/>
                  </a:lnTo>
                  <a:lnTo>
                    <a:pt x="624" y="269"/>
                  </a:lnTo>
                  <a:lnTo>
                    <a:pt x="627" y="266"/>
                  </a:lnTo>
                  <a:lnTo>
                    <a:pt x="628" y="264"/>
                  </a:lnTo>
                  <a:lnTo>
                    <a:pt x="628" y="257"/>
                  </a:lnTo>
                  <a:lnTo>
                    <a:pt x="668" y="201"/>
                  </a:lnTo>
                  <a:lnTo>
                    <a:pt x="670" y="194"/>
                  </a:lnTo>
                  <a:lnTo>
                    <a:pt x="664" y="183"/>
                  </a:lnTo>
                  <a:lnTo>
                    <a:pt x="655" y="17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505" y="122"/>
                  </a:lnTo>
                  <a:lnTo>
                    <a:pt x="505" y="122"/>
                  </a:lnTo>
                  <a:lnTo>
                    <a:pt x="503" y="122"/>
                  </a:lnTo>
                  <a:lnTo>
                    <a:pt x="502" y="122"/>
                  </a:lnTo>
                  <a:lnTo>
                    <a:pt x="499" y="122"/>
                  </a:lnTo>
                  <a:lnTo>
                    <a:pt x="496" y="122"/>
                  </a:lnTo>
                  <a:lnTo>
                    <a:pt x="493" y="123"/>
                  </a:lnTo>
                  <a:lnTo>
                    <a:pt x="489" y="123"/>
                  </a:lnTo>
                  <a:lnTo>
                    <a:pt x="486" y="123"/>
                  </a:lnTo>
                  <a:lnTo>
                    <a:pt x="481" y="123"/>
                  </a:lnTo>
                  <a:lnTo>
                    <a:pt x="478" y="123"/>
                  </a:lnTo>
                  <a:lnTo>
                    <a:pt x="473" y="123"/>
                  </a:lnTo>
                  <a:lnTo>
                    <a:pt x="469" y="122"/>
                  </a:lnTo>
                  <a:lnTo>
                    <a:pt x="464" y="122"/>
                  </a:lnTo>
                  <a:lnTo>
                    <a:pt x="460" y="120"/>
                  </a:lnTo>
                  <a:lnTo>
                    <a:pt x="456" y="119"/>
                  </a:lnTo>
                  <a:lnTo>
                    <a:pt x="451" y="117"/>
                  </a:lnTo>
                  <a:lnTo>
                    <a:pt x="450" y="117"/>
                  </a:lnTo>
                  <a:lnTo>
                    <a:pt x="448" y="117"/>
                  </a:lnTo>
                  <a:lnTo>
                    <a:pt x="447" y="117"/>
                  </a:lnTo>
                  <a:lnTo>
                    <a:pt x="446" y="119"/>
                  </a:lnTo>
                  <a:lnTo>
                    <a:pt x="443" y="120"/>
                  </a:lnTo>
                  <a:lnTo>
                    <a:pt x="442" y="122"/>
                  </a:lnTo>
                  <a:lnTo>
                    <a:pt x="440" y="122"/>
                  </a:lnTo>
                  <a:lnTo>
                    <a:pt x="440" y="122"/>
                  </a:lnTo>
                  <a:lnTo>
                    <a:pt x="421" y="122"/>
                  </a:lnTo>
                  <a:lnTo>
                    <a:pt x="420" y="122"/>
                  </a:lnTo>
                  <a:lnTo>
                    <a:pt x="415" y="122"/>
                  </a:lnTo>
                  <a:lnTo>
                    <a:pt x="409" y="123"/>
                  </a:lnTo>
                  <a:lnTo>
                    <a:pt x="400" y="124"/>
                  </a:lnTo>
                  <a:lnTo>
                    <a:pt x="392" y="124"/>
                  </a:lnTo>
                  <a:lnTo>
                    <a:pt x="384" y="124"/>
                  </a:lnTo>
                  <a:lnTo>
                    <a:pt x="379" y="122"/>
                  </a:lnTo>
                  <a:lnTo>
                    <a:pt x="373" y="119"/>
                  </a:lnTo>
                  <a:lnTo>
                    <a:pt x="373" y="119"/>
                  </a:lnTo>
                  <a:lnTo>
                    <a:pt x="370" y="119"/>
                  </a:lnTo>
                  <a:lnTo>
                    <a:pt x="367" y="119"/>
                  </a:lnTo>
                  <a:lnTo>
                    <a:pt x="362" y="119"/>
                  </a:lnTo>
                  <a:lnTo>
                    <a:pt x="358" y="119"/>
                  </a:lnTo>
                  <a:lnTo>
                    <a:pt x="355" y="120"/>
                  </a:lnTo>
                  <a:lnTo>
                    <a:pt x="352" y="120"/>
                  </a:lnTo>
                  <a:lnTo>
                    <a:pt x="352" y="120"/>
                  </a:lnTo>
                  <a:lnTo>
                    <a:pt x="346" y="119"/>
                  </a:lnTo>
                  <a:lnTo>
                    <a:pt x="334" y="122"/>
                  </a:lnTo>
                  <a:lnTo>
                    <a:pt x="334" y="120"/>
                  </a:lnTo>
                  <a:lnTo>
                    <a:pt x="329" y="117"/>
                  </a:lnTo>
                  <a:lnTo>
                    <a:pt x="325" y="113"/>
                  </a:lnTo>
                  <a:lnTo>
                    <a:pt x="319" y="108"/>
                  </a:lnTo>
                  <a:lnTo>
                    <a:pt x="313" y="104"/>
                  </a:lnTo>
                  <a:lnTo>
                    <a:pt x="305" y="101"/>
                  </a:lnTo>
                  <a:lnTo>
                    <a:pt x="298" y="98"/>
                  </a:lnTo>
                  <a:lnTo>
                    <a:pt x="292" y="98"/>
                  </a:lnTo>
                  <a:lnTo>
                    <a:pt x="290" y="98"/>
                  </a:lnTo>
                  <a:lnTo>
                    <a:pt x="289" y="98"/>
                  </a:lnTo>
                  <a:lnTo>
                    <a:pt x="287" y="99"/>
                  </a:lnTo>
                  <a:lnTo>
                    <a:pt x="284" y="99"/>
                  </a:lnTo>
                  <a:lnTo>
                    <a:pt x="281" y="101"/>
                  </a:lnTo>
                  <a:lnTo>
                    <a:pt x="277" y="101"/>
                  </a:lnTo>
                  <a:lnTo>
                    <a:pt x="271" y="102"/>
                  </a:lnTo>
                  <a:lnTo>
                    <a:pt x="266" y="102"/>
                  </a:lnTo>
                  <a:lnTo>
                    <a:pt x="262" y="102"/>
                  </a:lnTo>
                  <a:lnTo>
                    <a:pt x="256" y="102"/>
                  </a:lnTo>
                  <a:lnTo>
                    <a:pt x="253" y="102"/>
                  </a:lnTo>
                  <a:lnTo>
                    <a:pt x="248" y="102"/>
                  </a:lnTo>
                  <a:lnTo>
                    <a:pt x="244" y="101"/>
                  </a:lnTo>
                  <a:lnTo>
                    <a:pt x="239" y="99"/>
                  </a:lnTo>
                  <a:lnTo>
                    <a:pt x="236" y="98"/>
                  </a:lnTo>
                  <a:lnTo>
                    <a:pt x="235" y="95"/>
                  </a:lnTo>
                  <a:lnTo>
                    <a:pt x="233" y="94"/>
                  </a:lnTo>
                  <a:lnTo>
                    <a:pt x="232" y="94"/>
                  </a:lnTo>
                  <a:lnTo>
                    <a:pt x="230" y="93"/>
                  </a:lnTo>
                  <a:lnTo>
                    <a:pt x="227" y="90"/>
                  </a:lnTo>
                  <a:lnTo>
                    <a:pt x="226" y="89"/>
                  </a:lnTo>
                  <a:lnTo>
                    <a:pt x="224" y="87"/>
                  </a:lnTo>
                  <a:lnTo>
                    <a:pt x="223" y="87"/>
                  </a:lnTo>
                  <a:lnTo>
                    <a:pt x="223" y="87"/>
                  </a:lnTo>
                  <a:lnTo>
                    <a:pt x="220" y="77"/>
                  </a:lnTo>
                  <a:lnTo>
                    <a:pt x="220" y="77"/>
                  </a:lnTo>
                  <a:lnTo>
                    <a:pt x="220" y="75"/>
                  </a:lnTo>
                  <a:lnTo>
                    <a:pt x="221" y="72"/>
                  </a:lnTo>
                  <a:lnTo>
                    <a:pt x="221" y="69"/>
                  </a:lnTo>
                  <a:lnTo>
                    <a:pt x="222" y="65"/>
                  </a:lnTo>
                  <a:lnTo>
                    <a:pt x="222" y="61"/>
                  </a:lnTo>
                  <a:lnTo>
                    <a:pt x="222" y="57"/>
                  </a:lnTo>
                  <a:lnTo>
                    <a:pt x="222" y="53"/>
                  </a:lnTo>
                  <a:lnTo>
                    <a:pt x="222" y="47"/>
                  </a:lnTo>
                  <a:lnTo>
                    <a:pt x="221" y="42"/>
                  </a:lnTo>
                  <a:lnTo>
                    <a:pt x="221" y="38"/>
                  </a:lnTo>
                  <a:lnTo>
                    <a:pt x="218" y="33"/>
                  </a:lnTo>
                  <a:lnTo>
                    <a:pt x="215" y="30"/>
                  </a:lnTo>
                  <a:lnTo>
                    <a:pt x="212" y="27"/>
                  </a:lnTo>
                  <a:lnTo>
                    <a:pt x="208" y="24"/>
                  </a:lnTo>
                  <a:lnTo>
                    <a:pt x="202" y="23"/>
                  </a:lnTo>
                  <a:lnTo>
                    <a:pt x="202" y="23"/>
                  </a:lnTo>
                  <a:lnTo>
                    <a:pt x="200" y="23"/>
                  </a:lnTo>
                  <a:lnTo>
                    <a:pt x="199" y="23"/>
                  </a:lnTo>
                  <a:lnTo>
                    <a:pt x="196" y="21"/>
                  </a:lnTo>
                  <a:lnTo>
                    <a:pt x="194" y="21"/>
                  </a:lnTo>
                  <a:lnTo>
                    <a:pt x="193" y="21"/>
                  </a:lnTo>
                  <a:lnTo>
                    <a:pt x="193" y="21"/>
                  </a:lnTo>
                  <a:lnTo>
                    <a:pt x="191" y="21"/>
                  </a:lnTo>
                  <a:lnTo>
                    <a:pt x="202" y="23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" name="Freeform 6"/>
            <p:cNvSpPr>
              <a:spLocks/>
            </p:cNvSpPr>
            <p:nvPr/>
          </p:nvSpPr>
          <p:spPr bwMode="auto">
            <a:xfrm>
              <a:off x="782057" y="4076636"/>
              <a:ext cx="450905" cy="379407"/>
            </a:xfrm>
            <a:custGeom>
              <a:avLst/>
              <a:gdLst>
                <a:gd name="T0" fmla="*/ 186 w 671"/>
                <a:gd name="T1" fmla="*/ 11 h 566"/>
                <a:gd name="T2" fmla="*/ 170 w 671"/>
                <a:gd name="T3" fmla="*/ 9 h 566"/>
                <a:gd name="T4" fmla="*/ 153 w 671"/>
                <a:gd name="T5" fmla="*/ 0 h 566"/>
                <a:gd name="T6" fmla="*/ 146 w 671"/>
                <a:gd name="T7" fmla="*/ 35 h 566"/>
                <a:gd name="T8" fmla="*/ 113 w 671"/>
                <a:gd name="T9" fmla="*/ 124 h 566"/>
                <a:gd name="T10" fmla="*/ 87 w 671"/>
                <a:gd name="T11" fmla="*/ 187 h 566"/>
                <a:gd name="T12" fmla="*/ 80 w 671"/>
                <a:gd name="T13" fmla="*/ 201 h 566"/>
                <a:gd name="T14" fmla="*/ 56 w 671"/>
                <a:gd name="T15" fmla="*/ 252 h 566"/>
                <a:gd name="T16" fmla="*/ 38 w 671"/>
                <a:gd name="T17" fmla="*/ 280 h 566"/>
                <a:gd name="T18" fmla="*/ 32 w 671"/>
                <a:gd name="T19" fmla="*/ 287 h 566"/>
                <a:gd name="T20" fmla="*/ 26 w 671"/>
                <a:gd name="T21" fmla="*/ 303 h 566"/>
                <a:gd name="T22" fmla="*/ 7 w 671"/>
                <a:gd name="T23" fmla="*/ 335 h 566"/>
                <a:gd name="T24" fmla="*/ 10 w 671"/>
                <a:gd name="T25" fmla="*/ 351 h 566"/>
                <a:gd name="T26" fmla="*/ 10 w 671"/>
                <a:gd name="T27" fmla="*/ 362 h 566"/>
                <a:gd name="T28" fmla="*/ 1 w 671"/>
                <a:gd name="T29" fmla="*/ 381 h 566"/>
                <a:gd name="T30" fmla="*/ 0 w 671"/>
                <a:gd name="T31" fmla="*/ 401 h 566"/>
                <a:gd name="T32" fmla="*/ 1 w 671"/>
                <a:gd name="T33" fmla="*/ 411 h 566"/>
                <a:gd name="T34" fmla="*/ 2 w 671"/>
                <a:gd name="T35" fmla="*/ 414 h 566"/>
                <a:gd name="T36" fmla="*/ 5 w 671"/>
                <a:gd name="T37" fmla="*/ 423 h 566"/>
                <a:gd name="T38" fmla="*/ 21 w 671"/>
                <a:gd name="T39" fmla="*/ 429 h 566"/>
                <a:gd name="T40" fmla="*/ 56 w 671"/>
                <a:gd name="T41" fmla="*/ 439 h 566"/>
                <a:gd name="T42" fmla="*/ 101 w 671"/>
                <a:gd name="T43" fmla="*/ 452 h 566"/>
                <a:gd name="T44" fmla="*/ 158 w 671"/>
                <a:gd name="T45" fmla="*/ 467 h 566"/>
                <a:gd name="T46" fmla="*/ 220 w 671"/>
                <a:gd name="T47" fmla="*/ 483 h 566"/>
                <a:gd name="T48" fmla="*/ 284 w 671"/>
                <a:gd name="T49" fmla="*/ 499 h 566"/>
                <a:gd name="T50" fmla="*/ 332 w 671"/>
                <a:gd name="T51" fmla="*/ 512 h 566"/>
                <a:gd name="T52" fmla="*/ 385 w 671"/>
                <a:gd name="T53" fmla="*/ 525 h 566"/>
                <a:gd name="T54" fmla="*/ 436 w 671"/>
                <a:gd name="T55" fmla="*/ 537 h 566"/>
                <a:gd name="T56" fmla="*/ 478 w 671"/>
                <a:gd name="T57" fmla="*/ 549 h 566"/>
                <a:gd name="T58" fmla="*/ 511 w 671"/>
                <a:gd name="T59" fmla="*/ 557 h 566"/>
                <a:gd name="T60" fmla="*/ 535 w 671"/>
                <a:gd name="T61" fmla="*/ 564 h 566"/>
                <a:gd name="T62" fmla="*/ 544 w 671"/>
                <a:gd name="T63" fmla="*/ 565 h 566"/>
                <a:gd name="T64" fmla="*/ 598 w 671"/>
                <a:gd name="T65" fmla="*/ 353 h 566"/>
                <a:gd name="T66" fmla="*/ 586 w 671"/>
                <a:gd name="T67" fmla="*/ 318 h 566"/>
                <a:gd name="T68" fmla="*/ 588 w 671"/>
                <a:gd name="T69" fmla="*/ 314 h 566"/>
                <a:gd name="T70" fmla="*/ 589 w 671"/>
                <a:gd name="T71" fmla="*/ 309 h 566"/>
                <a:gd name="T72" fmla="*/ 618 w 671"/>
                <a:gd name="T73" fmla="*/ 273 h 566"/>
                <a:gd name="T74" fmla="*/ 668 w 671"/>
                <a:gd name="T75" fmla="*/ 201 h 566"/>
                <a:gd name="T76" fmla="*/ 646 w 671"/>
                <a:gd name="T77" fmla="*/ 156 h 566"/>
                <a:gd name="T78" fmla="*/ 502 w 671"/>
                <a:gd name="T79" fmla="*/ 122 h 566"/>
                <a:gd name="T80" fmla="*/ 486 w 671"/>
                <a:gd name="T81" fmla="*/ 123 h 566"/>
                <a:gd name="T82" fmla="*/ 464 w 671"/>
                <a:gd name="T83" fmla="*/ 122 h 566"/>
                <a:gd name="T84" fmla="*/ 450 w 671"/>
                <a:gd name="T85" fmla="*/ 117 h 566"/>
                <a:gd name="T86" fmla="*/ 442 w 671"/>
                <a:gd name="T87" fmla="*/ 122 h 566"/>
                <a:gd name="T88" fmla="*/ 420 w 671"/>
                <a:gd name="T89" fmla="*/ 122 h 566"/>
                <a:gd name="T90" fmla="*/ 384 w 671"/>
                <a:gd name="T91" fmla="*/ 124 h 566"/>
                <a:gd name="T92" fmla="*/ 370 w 671"/>
                <a:gd name="T93" fmla="*/ 119 h 566"/>
                <a:gd name="T94" fmla="*/ 352 w 671"/>
                <a:gd name="T95" fmla="*/ 120 h 566"/>
                <a:gd name="T96" fmla="*/ 334 w 671"/>
                <a:gd name="T97" fmla="*/ 120 h 566"/>
                <a:gd name="T98" fmla="*/ 305 w 671"/>
                <a:gd name="T99" fmla="*/ 101 h 566"/>
                <a:gd name="T100" fmla="*/ 289 w 671"/>
                <a:gd name="T101" fmla="*/ 98 h 566"/>
                <a:gd name="T102" fmla="*/ 271 w 671"/>
                <a:gd name="T103" fmla="*/ 102 h 566"/>
                <a:gd name="T104" fmla="*/ 248 w 671"/>
                <a:gd name="T105" fmla="*/ 102 h 566"/>
                <a:gd name="T106" fmla="*/ 235 w 671"/>
                <a:gd name="T107" fmla="*/ 95 h 566"/>
                <a:gd name="T108" fmla="*/ 226 w 671"/>
                <a:gd name="T109" fmla="*/ 89 h 566"/>
                <a:gd name="T110" fmla="*/ 220 w 671"/>
                <a:gd name="T111" fmla="*/ 77 h 566"/>
                <a:gd name="T112" fmla="*/ 222 w 671"/>
                <a:gd name="T113" fmla="*/ 65 h 566"/>
                <a:gd name="T114" fmla="*/ 221 w 671"/>
                <a:gd name="T115" fmla="*/ 42 h 566"/>
                <a:gd name="T116" fmla="*/ 208 w 671"/>
                <a:gd name="T117" fmla="*/ 24 h 566"/>
                <a:gd name="T118" fmla="*/ 199 w 671"/>
                <a:gd name="T119" fmla="*/ 23 h 566"/>
                <a:gd name="T120" fmla="*/ 191 w 671"/>
                <a:gd name="T121" fmla="*/ 21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1" h="566">
                  <a:moveTo>
                    <a:pt x="202" y="23"/>
                  </a:moveTo>
                  <a:lnTo>
                    <a:pt x="196" y="23"/>
                  </a:lnTo>
                  <a:lnTo>
                    <a:pt x="191" y="18"/>
                  </a:lnTo>
                  <a:lnTo>
                    <a:pt x="188" y="15"/>
                  </a:lnTo>
                  <a:lnTo>
                    <a:pt x="186" y="11"/>
                  </a:lnTo>
                  <a:lnTo>
                    <a:pt x="181" y="9"/>
                  </a:lnTo>
                  <a:lnTo>
                    <a:pt x="179" y="9"/>
                  </a:lnTo>
                  <a:lnTo>
                    <a:pt x="179" y="9"/>
                  </a:lnTo>
                  <a:lnTo>
                    <a:pt x="175" y="11"/>
                  </a:lnTo>
                  <a:lnTo>
                    <a:pt x="170" y="9"/>
                  </a:lnTo>
                  <a:lnTo>
                    <a:pt x="166" y="6"/>
                  </a:lnTo>
                  <a:lnTo>
                    <a:pt x="163" y="6"/>
                  </a:lnTo>
                  <a:lnTo>
                    <a:pt x="160" y="9"/>
                  </a:lnTo>
                  <a:lnTo>
                    <a:pt x="156" y="5"/>
                  </a:lnTo>
                  <a:lnTo>
                    <a:pt x="153" y="0"/>
                  </a:lnTo>
                  <a:lnTo>
                    <a:pt x="151" y="0"/>
                  </a:lnTo>
                  <a:lnTo>
                    <a:pt x="152" y="14"/>
                  </a:lnTo>
                  <a:lnTo>
                    <a:pt x="151" y="21"/>
                  </a:lnTo>
                  <a:lnTo>
                    <a:pt x="142" y="28"/>
                  </a:lnTo>
                  <a:lnTo>
                    <a:pt x="146" y="35"/>
                  </a:lnTo>
                  <a:lnTo>
                    <a:pt x="142" y="39"/>
                  </a:lnTo>
                  <a:lnTo>
                    <a:pt x="136" y="53"/>
                  </a:lnTo>
                  <a:lnTo>
                    <a:pt x="139" y="61"/>
                  </a:lnTo>
                  <a:lnTo>
                    <a:pt x="131" y="74"/>
                  </a:lnTo>
                  <a:lnTo>
                    <a:pt x="113" y="124"/>
                  </a:lnTo>
                  <a:lnTo>
                    <a:pt x="100" y="143"/>
                  </a:lnTo>
                  <a:lnTo>
                    <a:pt x="100" y="149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7" y="187"/>
                  </a:lnTo>
                  <a:lnTo>
                    <a:pt x="87" y="186"/>
                  </a:lnTo>
                  <a:lnTo>
                    <a:pt x="87" y="186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0" y="201"/>
                  </a:lnTo>
                  <a:lnTo>
                    <a:pt x="76" y="215"/>
                  </a:lnTo>
                  <a:lnTo>
                    <a:pt x="70" y="225"/>
                  </a:lnTo>
                  <a:lnTo>
                    <a:pt x="64" y="236"/>
                  </a:lnTo>
                  <a:lnTo>
                    <a:pt x="60" y="245"/>
                  </a:lnTo>
                  <a:lnTo>
                    <a:pt x="56" y="252"/>
                  </a:lnTo>
                  <a:lnTo>
                    <a:pt x="51" y="260"/>
                  </a:lnTo>
                  <a:lnTo>
                    <a:pt x="47" y="266"/>
                  </a:lnTo>
                  <a:lnTo>
                    <a:pt x="44" y="272"/>
                  </a:lnTo>
                  <a:lnTo>
                    <a:pt x="41" y="276"/>
                  </a:lnTo>
                  <a:lnTo>
                    <a:pt x="38" y="280"/>
                  </a:lnTo>
                  <a:lnTo>
                    <a:pt x="35" y="282"/>
                  </a:lnTo>
                  <a:lnTo>
                    <a:pt x="34" y="284"/>
                  </a:lnTo>
                  <a:lnTo>
                    <a:pt x="32" y="285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32" y="290"/>
                  </a:lnTo>
                  <a:lnTo>
                    <a:pt x="32" y="290"/>
                  </a:lnTo>
                  <a:lnTo>
                    <a:pt x="31" y="291"/>
                  </a:lnTo>
                  <a:lnTo>
                    <a:pt x="29" y="296"/>
                  </a:lnTo>
                  <a:lnTo>
                    <a:pt x="26" y="303"/>
                  </a:lnTo>
                  <a:lnTo>
                    <a:pt x="20" y="311"/>
                  </a:lnTo>
                  <a:lnTo>
                    <a:pt x="15" y="318"/>
                  </a:lnTo>
                  <a:lnTo>
                    <a:pt x="11" y="326"/>
                  </a:lnTo>
                  <a:lnTo>
                    <a:pt x="8" y="332"/>
                  </a:lnTo>
                  <a:lnTo>
                    <a:pt x="7" y="335"/>
                  </a:lnTo>
                  <a:lnTo>
                    <a:pt x="7" y="335"/>
                  </a:lnTo>
                  <a:lnTo>
                    <a:pt x="8" y="339"/>
                  </a:lnTo>
                  <a:lnTo>
                    <a:pt x="10" y="343"/>
                  </a:lnTo>
                  <a:lnTo>
                    <a:pt x="10" y="347"/>
                  </a:lnTo>
                  <a:lnTo>
                    <a:pt x="10" y="351"/>
                  </a:lnTo>
                  <a:lnTo>
                    <a:pt x="10" y="354"/>
                  </a:lnTo>
                  <a:lnTo>
                    <a:pt x="10" y="357"/>
                  </a:lnTo>
                  <a:lnTo>
                    <a:pt x="10" y="360"/>
                  </a:lnTo>
                  <a:lnTo>
                    <a:pt x="10" y="362"/>
                  </a:lnTo>
                  <a:lnTo>
                    <a:pt x="10" y="362"/>
                  </a:lnTo>
                  <a:lnTo>
                    <a:pt x="7" y="365"/>
                  </a:lnTo>
                  <a:lnTo>
                    <a:pt x="5" y="369"/>
                  </a:lnTo>
                  <a:lnTo>
                    <a:pt x="4" y="373"/>
                  </a:lnTo>
                  <a:lnTo>
                    <a:pt x="2" y="377"/>
                  </a:lnTo>
                  <a:lnTo>
                    <a:pt x="1" y="381"/>
                  </a:lnTo>
                  <a:lnTo>
                    <a:pt x="1" y="386"/>
                  </a:lnTo>
                  <a:lnTo>
                    <a:pt x="0" y="390"/>
                  </a:lnTo>
                  <a:lnTo>
                    <a:pt x="0" y="393"/>
                  </a:lnTo>
                  <a:lnTo>
                    <a:pt x="0" y="398"/>
                  </a:lnTo>
                  <a:lnTo>
                    <a:pt x="0" y="401"/>
                  </a:lnTo>
                  <a:lnTo>
                    <a:pt x="0" y="404"/>
                  </a:lnTo>
                  <a:lnTo>
                    <a:pt x="1" y="406"/>
                  </a:lnTo>
                  <a:lnTo>
                    <a:pt x="1" y="408"/>
                  </a:lnTo>
                  <a:lnTo>
                    <a:pt x="1" y="410"/>
                  </a:lnTo>
                  <a:lnTo>
                    <a:pt x="1" y="411"/>
                  </a:lnTo>
                  <a:lnTo>
                    <a:pt x="1" y="411"/>
                  </a:lnTo>
                  <a:lnTo>
                    <a:pt x="1" y="411"/>
                  </a:lnTo>
                  <a:lnTo>
                    <a:pt x="1" y="411"/>
                  </a:lnTo>
                  <a:lnTo>
                    <a:pt x="1" y="413"/>
                  </a:lnTo>
                  <a:lnTo>
                    <a:pt x="2" y="414"/>
                  </a:lnTo>
                  <a:lnTo>
                    <a:pt x="2" y="417"/>
                  </a:lnTo>
                  <a:lnTo>
                    <a:pt x="4" y="419"/>
                  </a:lnTo>
                  <a:lnTo>
                    <a:pt x="4" y="420"/>
                  </a:lnTo>
                  <a:lnTo>
                    <a:pt x="5" y="422"/>
                  </a:lnTo>
                  <a:lnTo>
                    <a:pt x="5" y="423"/>
                  </a:lnTo>
                  <a:lnTo>
                    <a:pt x="5" y="423"/>
                  </a:lnTo>
                  <a:lnTo>
                    <a:pt x="8" y="425"/>
                  </a:lnTo>
                  <a:lnTo>
                    <a:pt x="13" y="425"/>
                  </a:lnTo>
                  <a:lnTo>
                    <a:pt x="17" y="428"/>
                  </a:lnTo>
                  <a:lnTo>
                    <a:pt x="21" y="429"/>
                  </a:lnTo>
                  <a:lnTo>
                    <a:pt x="27" y="431"/>
                  </a:lnTo>
                  <a:lnTo>
                    <a:pt x="32" y="432"/>
                  </a:lnTo>
                  <a:lnTo>
                    <a:pt x="40" y="435"/>
                  </a:lnTo>
                  <a:lnTo>
                    <a:pt x="47" y="436"/>
                  </a:lnTo>
                  <a:lnTo>
                    <a:pt x="56" y="439"/>
                  </a:lnTo>
                  <a:lnTo>
                    <a:pt x="64" y="440"/>
                  </a:lnTo>
                  <a:lnTo>
                    <a:pt x="73" y="443"/>
                  </a:lnTo>
                  <a:lnTo>
                    <a:pt x="82" y="446"/>
                  </a:lnTo>
                  <a:lnTo>
                    <a:pt x="92" y="449"/>
                  </a:lnTo>
                  <a:lnTo>
                    <a:pt x="101" y="452"/>
                  </a:lnTo>
                  <a:lnTo>
                    <a:pt x="112" y="455"/>
                  </a:lnTo>
                  <a:lnTo>
                    <a:pt x="123" y="458"/>
                  </a:lnTo>
                  <a:lnTo>
                    <a:pt x="134" y="461"/>
                  </a:lnTo>
                  <a:lnTo>
                    <a:pt x="146" y="464"/>
                  </a:lnTo>
                  <a:lnTo>
                    <a:pt x="158" y="467"/>
                  </a:lnTo>
                  <a:lnTo>
                    <a:pt x="169" y="469"/>
                  </a:lnTo>
                  <a:lnTo>
                    <a:pt x="181" y="473"/>
                  </a:lnTo>
                  <a:lnTo>
                    <a:pt x="193" y="476"/>
                  </a:lnTo>
                  <a:lnTo>
                    <a:pt x="206" y="479"/>
                  </a:lnTo>
                  <a:lnTo>
                    <a:pt x="220" y="483"/>
                  </a:lnTo>
                  <a:lnTo>
                    <a:pt x="232" y="486"/>
                  </a:lnTo>
                  <a:lnTo>
                    <a:pt x="244" y="489"/>
                  </a:lnTo>
                  <a:lnTo>
                    <a:pt x="257" y="494"/>
                  </a:lnTo>
                  <a:lnTo>
                    <a:pt x="269" y="497"/>
                  </a:lnTo>
                  <a:lnTo>
                    <a:pt x="284" y="499"/>
                  </a:lnTo>
                  <a:lnTo>
                    <a:pt x="295" y="502"/>
                  </a:lnTo>
                  <a:lnTo>
                    <a:pt x="310" y="506"/>
                  </a:lnTo>
                  <a:lnTo>
                    <a:pt x="321" y="509"/>
                  </a:lnTo>
                  <a:lnTo>
                    <a:pt x="321" y="509"/>
                  </a:lnTo>
                  <a:lnTo>
                    <a:pt x="332" y="512"/>
                  </a:lnTo>
                  <a:lnTo>
                    <a:pt x="344" y="515"/>
                  </a:lnTo>
                  <a:lnTo>
                    <a:pt x="354" y="518"/>
                  </a:lnTo>
                  <a:lnTo>
                    <a:pt x="365" y="521"/>
                  </a:lnTo>
                  <a:lnTo>
                    <a:pt x="376" y="524"/>
                  </a:lnTo>
                  <a:lnTo>
                    <a:pt x="385" y="525"/>
                  </a:lnTo>
                  <a:lnTo>
                    <a:pt x="397" y="528"/>
                  </a:lnTo>
                  <a:lnTo>
                    <a:pt x="406" y="531"/>
                  </a:lnTo>
                  <a:lnTo>
                    <a:pt x="415" y="533"/>
                  </a:lnTo>
                  <a:lnTo>
                    <a:pt x="425" y="534"/>
                  </a:lnTo>
                  <a:lnTo>
                    <a:pt x="436" y="537"/>
                  </a:lnTo>
                  <a:lnTo>
                    <a:pt x="445" y="540"/>
                  </a:lnTo>
                  <a:lnTo>
                    <a:pt x="453" y="542"/>
                  </a:lnTo>
                  <a:lnTo>
                    <a:pt x="461" y="545"/>
                  </a:lnTo>
                  <a:lnTo>
                    <a:pt x="470" y="546"/>
                  </a:lnTo>
                  <a:lnTo>
                    <a:pt x="478" y="549"/>
                  </a:lnTo>
                  <a:lnTo>
                    <a:pt x="486" y="551"/>
                  </a:lnTo>
                  <a:lnTo>
                    <a:pt x="493" y="552"/>
                  </a:lnTo>
                  <a:lnTo>
                    <a:pt x="499" y="554"/>
                  </a:lnTo>
                  <a:lnTo>
                    <a:pt x="506" y="555"/>
                  </a:lnTo>
                  <a:lnTo>
                    <a:pt x="511" y="557"/>
                  </a:lnTo>
                  <a:lnTo>
                    <a:pt x="517" y="558"/>
                  </a:lnTo>
                  <a:lnTo>
                    <a:pt x="522" y="560"/>
                  </a:lnTo>
                  <a:lnTo>
                    <a:pt x="528" y="561"/>
                  </a:lnTo>
                  <a:lnTo>
                    <a:pt x="530" y="562"/>
                  </a:lnTo>
                  <a:lnTo>
                    <a:pt x="535" y="564"/>
                  </a:lnTo>
                  <a:lnTo>
                    <a:pt x="538" y="564"/>
                  </a:lnTo>
                  <a:lnTo>
                    <a:pt x="541" y="564"/>
                  </a:lnTo>
                  <a:lnTo>
                    <a:pt x="542" y="565"/>
                  </a:lnTo>
                  <a:lnTo>
                    <a:pt x="544" y="565"/>
                  </a:lnTo>
                  <a:lnTo>
                    <a:pt x="544" y="565"/>
                  </a:lnTo>
                  <a:lnTo>
                    <a:pt x="544" y="565"/>
                  </a:lnTo>
                  <a:lnTo>
                    <a:pt x="583" y="401"/>
                  </a:lnTo>
                  <a:lnTo>
                    <a:pt x="582" y="389"/>
                  </a:lnTo>
                  <a:lnTo>
                    <a:pt x="598" y="362"/>
                  </a:lnTo>
                  <a:lnTo>
                    <a:pt x="598" y="353"/>
                  </a:lnTo>
                  <a:lnTo>
                    <a:pt x="602" y="347"/>
                  </a:lnTo>
                  <a:lnTo>
                    <a:pt x="605" y="341"/>
                  </a:lnTo>
                  <a:lnTo>
                    <a:pt x="601" y="336"/>
                  </a:lnTo>
                  <a:lnTo>
                    <a:pt x="585" y="326"/>
                  </a:lnTo>
                  <a:lnTo>
                    <a:pt x="586" y="318"/>
                  </a:lnTo>
                  <a:lnTo>
                    <a:pt x="586" y="318"/>
                  </a:lnTo>
                  <a:lnTo>
                    <a:pt x="586" y="318"/>
                  </a:lnTo>
                  <a:lnTo>
                    <a:pt x="586" y="317"/>
                  </a:lnTo>
                  <a:lnTo>
                    <a:pt x="586" y="315"/>
                  </a:lnTo>
                  <a:lnTo>
                    <a:pt x="588" y="314"/>
                  </a:lnTo>
                  <a:lnTo>
                    <a:pt x="588" y="313"/>
                  </a:lnTo>
                  <a:lnTo>
                    <a:pt x="589" y="312"/>
                  </a:lnTo>
                  <a:lnTo>
                    <a:pt x="589" y="311"/>
                  </a:lnTo>
                  <a:lnTo>
                    <a:pt x="589" y="309"/>
                  </a:lnTo>
                  <a:lnTo>
                    <a:pt x="589" y="309"/>
                  </a:lnTo>
                  <a:lnTo>
                    <a:pt x="594" y="300"/>
                  </a:lnTo>
                  <a:lnTo>
                    <a:pt x="598" y="293"/>
                  </a:lnTo>
                  <a:lnTo>
                    <a:pt x="605" y="285"/>
                  </a:lnTo>
                  <a:lnTo>
                    <a:pt x="610" y="279"/>
                  </a:lnTo>
                  <a:lnTo>
                    <a:pt x="618" y="273"/>
                  </a:lnTo>
                  <a:lnTo>
                    <a:pt x="624" y="269"/>
                  </a:lnTo>
                  <a:lnTo>
                    <a:pt x="627" y="266"/>
                  </a:lnTo>
                  <a:lnTo>
                    <a:pt x="628" y="264"/>
                  </a:lnTo>
                  <a:lnTo>
                    <a:pt x="628" y="257"/>
                  </a:lnTo>
                  <a:lnTo>
                    <a:pt x="668" y="201"/>
                  </a:lnTo>
                  <a:lnTo>
                    <a:pt x="670" y="194"/>
                  </a:lnTo>
                  <a:lnTo>
                    <a:pt x="664" y="183"/>
                  </a:lnTo>
                  <a:lnTo>
                    <a:pt x="655" y="17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505" y="122"/>
                  </a:lnTo>
                  <a:lnTo>
                    <a:pt x="505" y="122"/>
                  </a:lnTo>
                  <a:lnTo>
                    <a:pt x="505" y="122"/>
                  </a:lnTo>
                  <a:lnTo>
                    <a:pt x="503" y="122"/>
                  </a:lnTo>
                  <a:lnTo>
                    <a:pt x="502" y="122"/>
                  </a:lnTo>
                  <a:lnTo>
                    <a:pt x="499" y="122"/>
                  </a:lnTo>
                  <a:lnTo>
                    <a:pt x="496" y="122"/>
                  </a:lnTo>
                  <a:lnTo>
                    <a:pt x="493" y="123"/>
                  </a:lnTo>
                  <a:lnTo>
                    <a:pt x="489" y="123"/>
                  </a:lnTo>
                  <a:lnTo>
                    <a:pt x="486" y="123"/>
                  </a:lnTo>
                  <a:lnTo>
                    <a:pt x="481" y="123"/>
                  </a:lnTo>
                  <a:lnTo>
                    <a:pt x="478" y="123"/>
                  </a:lnTo>
                  <a:lnTo>
                    <a:pt x="473" y="123"/>
                  </a:lnTo>
                  <a:lnTo>
                    <a:pt x="469" y="122"/>
                  </a:lnTo>
                  <a:lnTo>
                    <a:pt x="464" y="122"/>
                  </a:lnTo>
                  <a:lnTo>
                    <a:pt x="460" y="120"/>
                  </a:lnTo>
                  <a:lnTo>
                    <a:pt x="456" y="119"/>
                  </a:lnTo>
                  <a:lnTo>
                    <a:pt x="451" y="117"/>
                  </a:lnTo>
                  <a:lnTo>
                    <a:pt x="451" y="117"/>
                  </a:lnTo>
                  <a:lnTo>
                    <a:pt x="450" y="117"/>
                  </a:lnTo>
                  <a:lnTo>
                    <a:pt x="448" y="117"/>
                  </a:lnTo>
                  <a:lnTo>
                    <a:pt x="447" y="117"/>
                  </a:lnTo>
                  <a:lnTo>
                    <a:pt x="446" y="119"/>
                  </a:lnTo>
                  <a:lnTo>
                    <a:pt x="443" y="120"/>
                  </a:lnTo>
                  <a:lnTo>
                    <a:pt x="442" y="122"/>
                  </a:lnTo>
                  <a:lnTo>
                    <a:pt x="440" y="122"/>
                  </a:lnTo>
                  <a:lnTo>
                    <a:pt x="440" y="122"/>
                  </a:lnTo>
                  <a:lnTo>
                    <a:pt x="421" y="122"/>
                  </a:lnTo>
                  <a:lnTo>
                    <a:pt x="421" y="122"/>
                  </a:lnTo>
                  <a:lnTo>
                    <a:pt x="420" y="122"/>
                  </a:lnTo>
                  <a:lnTo>
                    <a:pt x="415" y="122"/>
                  </a:lnTo>
                  <a:lnTo>
                    <a:pt x="409" y="123"/>
                  </a:lnTo>
                  <a:lnTo>
                    <a:pt x="400" y="124"/>
                  </a:lnTo>
                  <a:lnTo>
                    <a:pt x="392" y="124"/>
                  </a:lnTo>
                  <a:lnTo>
                    <a:pt x="384" y="124"/>
                  </a:lnTo>
                  <a:lnTo>
                    <a:pt x="379" y="122"/>
                  </a:lnTo>
                  <a:lnTo>
                    <a:pt x="373" y="119"/>
                  </a:lnTo>
                  <a:lnTo>
                    <a:pt x="373" y="119"/>
                  </a:lnTo>
                  <a:lnTo>
                    <a:pt x="373" y="119"/>
                  </a:lnTo>
                  <a:lnTo>
                    <a:pt x="370" y="119"/>
                  </a:lnTo>
                  <a:lnTo>
                    <a:pt x="367" y="119"/>
                  </a:lnTo>
                  <a:lnTo>
                    <a:pt x="362" y="119"/>
                  </a:lnTo>
                  <a:lnTo>
                    <a:pt x="358" y="119"/>
                  </a:lnTo>
                  <a:lnTo>
                    <a:pt x="355" y="120"/>
                  </a:lnTo>
                  <a:lnTo>
                    <a:pt x="352" y="120"/>
                  </a:lnTo>
                  <a:lnTo>
                    <a:pt x="352" y="120"/>
                  </a:lnTo>
                  <a:lnTo>
                    <a:pt x="346" y="119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0"/>
                  </a:lnTo>
                  <a:lnTo>
                    <a:pt x="329" y="117"/>
                  </a:lnTo>
                  <a:lnTo>
                    <a:pt x="325" y="113"/>
                  </a:lnTo>
                  <a:lnTo>
                    <a:pt x="319" y="108"/>
                  </a:lnTo>
                  <a:lnTo>
                    <a:pt x="313" y="104"/>
                  </a:lnTo>
                  <a:lnTo>
                    <a:pt x="305" y="101"/>
                  </a:lnTo>
                  <a:lnTo>
                    <a:pt x="298" y="98"/>
                  </a:lnTo>
                  <a:lnTo>
                    <a:pt x="292" y="98"/>
                  </a:lnTo>
                  <a:lnTo>
                    <a:pt x="292" y="98"/>
                  </a:lnTo>
                  <a:lnTo>
                    <a:pt x="290" y="98"/>
                  </a:lnTo>
                  <a:lnTo>
                    <a:pt x="289" y="98"/>
                  </a:lnTo>
                  <a:lnTo>
                    <a:pt x="287" y="99"/>
                  </a:lnTo>
                  <a:lnTo>
                    <a:pt x="284" y="99"/>
                  </a:lnTo>
                  <a:lnTo>
                    <a:pt x="281" y="101"/>
                  </a:lnTo>
                  <a:lnTo>
                    <a:pt x="277" y="101"/>
                  </a:lnTo>
                  <a:lnTo>
                    <a:pt x="271" y="102"/>
                  </a:lnTo>
                  <a:lnTo>
                    <a:pt x="266" y="102"/>
                  </a:lnTo>
                  <a:lnTo>
                    <a:pt x="262" y="102"/>
                  </a:lnTo>
                  <a:lnTo>
                    <a:pt x="256" y="102"/>
                  </a:lnTo>
                  <a:lnTo>
                    <a:pt x="253" y="102"/>
                  </a:lnTo>
                  <a:lnTo>
                    <a:pt x="248" y="102"/>
                  </a:lnTo>
                  <a:lnTo>
                    <a:pt x="244" y="101"/>
                  </a:lnTo>
                  <a:lnTo>
                    <a:pt x="239" y="99"/>
                  </a:lnTo>
                  <a:lnTo>
                    <a:pt x="236" y="98"/>
                  </a:lnTo>
                  <a:lnTo>
                    <a:pt x="235" y="95"/>
                  </a:lnTo>
                  <a:lnTo>
                    <a:pt x="235" y="95"/>
                  </a:lnTo>
                  <a:lnTo>
                    <a:pt x="233" y="94"/>
                  </a:lnTo>
                  <a:lnTo>
                    <a:pt x="232" y="94"/>
                  </a:lnTo>
                  <a:lnTo>
                    <a:pt x="230" y="93"/>
                  </a:lnTo>
                  <a:lnTo>
                    <a:pt x="227" y="90"/>
                  </a:lnTo>
                  <a:lnTo>
                    <a:pt x="226" y="89"/>
                  </a:lnTo>
                  <a:lnTo>
                    <a:pt x="224" y="87"/>
                  </a:lnTo>
                  <a:lnTo>
                    <a:pt x="223" y="87"/>
                  </a:lnTo>
                  <a:lnTo>
                    <a:pt x="223" y="87"/>
                  </a:lnTo>
                  <a:lnTo>
                    <a:pt x="220" y="77"/>
                  </a:lnTo>
                  <a:lnTo>
                    <a:pt x="220" y="77"/>
                  </a:lnTo>
                  <a:lnTo>
                    <a:pt x="220" y="77"/>
                  </a:lnTo>
                  <a:lnTo>
                    <a:pt x="220" y="75"/>
                  </a:lnTo>
                  <a:lnTo>
                    <a:pt x="221" y="72"/>
                  </a:lnTo>
                  <a:lnTo>
                    <a:pt x="221" y="69"/>
                  </a:lnTo>
                  <a:lnTo>
                    <a:pt x="222" y="65"/>
                  </a:lnTo>
                  <a:lnTo>
                    <a:pt x="222" y="61"/>
                  </a:lnTo>
                  <a:lnTo>
                    <a:pt x="222" y="57"/>
                  </a:lnTo>
                  <a:lnTo>
                    <a:pt x="222" y="53"/>
                  </a:lnTo>
                  <a:lnTo>
                    <a:pt x="222" y="47"/>
                  </a:lnTo>
                  <a:lnTo>
                    <a:pt x="221" y="42"/>
                  </a:lnTo>
                  <a:lnTo>
                    <a:pt x="221" y="38"/>
                  </a:lnTo>
                  <a:lnTo>
                    <a:pt x="218" y="33"/>
                  </a:lnTo>
                  <a:lnTo>
                    <a:pt x="215" y="30"/>
                  </a:lnTo>
                  <a:lnTo>
                    <a:pt x="212" y="27"/>
                  </a:lnTo>
                  <a:lnTo>
                    <a:pt x="208" y="24"/>
                  </a:lnTo>
                  <a:lnTo>
                    <a:pt x="202" y="23"/>
                  </a:lnTo>
                  <a:lnTo>
                    <a:pt x="202" y="23"/>
                  </a:lnTo>
                  <a:lnTo>
                    <a:pt x="202" y="23"/>
                  </a:lnTo>
                  <a:lnTo>
                    <a:pt x="200" y="23"/>
                  </a:lnTo>
                  <a:lnTo>
                    <a:pt x="199" y="23"/>
                  </a:lnTo>
                  <a:lnTo>
                    <a:pt x="196" y="21"/>
                  </a:lnTo>
                  <a:lnTo>
                    <a:pt x="194" y="21"/>
                  </a:lnTo>
                  <a:lnTo>
                    <a:pt x="193" y="21"/>
                  </a:lnTo>
                  <a:lnTo>
                    <a:pt x="193" y="21"/>
                  </a:lnTo>
                  <a:lnTo>
                    <a:pt x="191" y="21"/>
                  </a:lnTo>
                  <a:lnTo>
                    <a:pt x="202" y="23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" name="Freeform 7"/>
            <p:cNvSpPr>
              <a:spLocks/>
            </p:cNvSpPr>
            <p:nvPr/>
          </p:nvSpPr>
          <p:spPr bwMode="auto">
            <a:xfrm>
              <a:off x="743477" y="4361036"/>
              <a:ext cx="449699" cy="769370"/>
            </a:xfrm>
            <a:custGeom>
              <a:avLst/>
              <a:gdLst>
                <a:gd name="T0" fmla="*/ 98 w 670"/>
                <a:gd name="T1" fmla="*/ 11 h 1147"/>
                <a:gd name="T2" fmla="*/ 169 w 670"/>
                <a:gd name="T3" fmla="*/ 31 h 1147"/>
                <a:gd name="T4" fmla="*/ 264 w 670"/>
                <a:gd name="T5" fmla="*/ 56 h 1147"/>
                <a:gd name="T6" fmla="*/ 367 w 670"/>
                <a:gd name="T7" fmla="*/ 83 h 1147"/>
                <a:gd name="T8" fmla="*/ 655 w 670"/>
                <a:gd name="T9" fmla="*/ 966 h 1147"/>
                <a:gd name="T10" fmla="*/ 638 w 670"/>
                <a:gd name="T11" fmla="*/ 1011 h 1147"/>
                <a:gd name="T12" fmla="*/ 626 w 670"/>
                <a:gd name="T13" fmla="*/ 1052 h 1147"/>
                <a:gd name="T14" fmla="*/ 607 w 670"/>
                <a:gd name="T15" fmla="*/ 1076 h 1147"/>
                <a:gd name="T16" fmla="*/ 613 w 670"/>
                <a:gd name="T17" fmla="*/ 1119 h 1147"/>
                <a:gd name="T18" fmla="*/ 588 w 670"/>
                <a:gd name="T19" fmla="*/ 1146 h 1147"/>
                <a:gd name="T20" fmla="*/ 370 w 670"/>
                <a:gd name="T21" fmla="*/ 1091 h 1147"/>
                <a:gd name="T22" fmla="*/ 377 w 670"/>
                <a:gd name="T23" fmla="*/ 1071 h 1147"/>
                <a:gd name="T24" fmla="*/ 359 w 670"/>
                <a:gd name="T25" fmla="*/ 1023 h 1147"/>
                <a:gd name="T26" fmla="*/ 323 w 670"/>
                <a:gd name="T27" fmla="*/ 975 h 1147"/>
                <a:gd name="T28" fmla="*/ 305 w 670"/>
                <a:gd name="T29" fmla="*/ 975 h 1147"/>
                <a:gd name="T30" fmla="*/ 297 w 670"/>
                <a:gd name="T31" fmla="*/ 966 h 1147"/>
                <a:gd name="T32" fmla="*/ 290 w 670"/>
                <a:gd name="T33" fmla="*/ 938 h 1147"/>
                <a:gd name="T34" fmla="*/ 255 w 670"/>
                <a:gd name="T35" fmla="*/ 926 h 1147"/>
                <a:gd name="T36" fmla="*/ 228 w 670"/>
                <a:gd name="T37" fmla="*/ 887 h 1147"/>
                <a:gd name="T38" fmla="*/ 205 w 670"/>
                <a:gd name="T39" fmla="*/ 875 h 1147"/>
                <a:gd name="T40" fmla="*/ 177 w 670"/>
                <a:gd name="T41" fmla="*/ 861 h 1147"/>
                <a:gd name="T42" fmla="*/ 141 w 670"/>
                <a:gd name="T43" fmla="*/ 851 h 1147"/>
                <a:gd name="T44" fmla="*/ 139 w 670"/>
                <a:gd name="T45" fmla="*/ 827 h 1147"/>
                <a:gd name="T46" fmla="*/ 147 w 670"/>
                <a:gd name="T47" fmla="*/ 779 h 1147"/>
                <a:gd name="T48" fmla="*/ 132 w 670"/>
                <a:gd name="T49" fmla="*/ 768 h 1147"/>
                <a:gd name="T50" fmla="*/ 137 w 670"/>
                <a:gd name="T51" fmla="*/ 749 h 1147"/>
                <a:gd name="T52" fmla="*/ 123 w 670"/>
                <a:gd name="T53" fmla="*/ 728 h 1147"/>
                <a:gd name="T54" fmla="*/ 95 w 670"/>
                <a:gd name="T55" fmla="*/ 665 h 1147"/>
                <a:gd name="T56" fmla="*/ 81 w 670"/>
                <a:gd name="T57" fmla="*/ 641 h 1147"/>
                <a:gd name="T58" fmla="*/ 77 w 670"/>
                <a:gd name="T59" fmla="*/ 630 h 1147"/>
                <a:gd name="T60" fmla="*/ 84 w 670"/>
                <a:gd name="T61" fmla="*/ 602 h 1147"/>
                <a:gd name="T62" fmla="*/ 99 w 670"/>
                <a:gd name="T63" fmla="*/ 570 h 1147"/>
                <a:gd name="T64" fmla="*/ 65 w 670"/>
                <a:gd name="T65" fmla="*/ 540 h 1147"/>
                <a:gd name="T66" fmla="*/ 65 w 670"/>
                <a:gd name="T67" fmla="*/ 521 h 1147"/>
                <a:gd name="T68" fmla="*/ 66 w 670"/>
                <a:gd name="T69" fmla="*/ 501 h 1147"/>
                <a:gd name="T70" fmla="*/ 71 w 670"/>
                <a:gd name="T71" fmla="*/ 470 h 1147"/>
                <a:gd name="T72" fmla="*/ 78 w 670"/>
                <a:gd name="T73" fmla="*/ 478 h 1147"/>
                <a:gd name="T74" fmla="*/ 86 w 670"/>
                <a:gd name="T75" fmla="*/ 501 h 1147"/>
                <a:gd name="T76" fmla="*/ 98 w 670"/>
                <a:gd name="T77" fmla="*/ 504 h 1147"/>
                <a:gd name="T78" fmla="*/ 93 w 670"/>
                <a:gd name="T79" fmla="*/ 488 h 1147"/>
                <a:gd name="T80" fmla="*/ 89 w 670"/>
                <a:gd name="T81" fmla="*/ 476 h 1147"/>
                <a:gd name="T82" fmla="*/ 89 w 670"/>
                <a:gd name="T83" fmla="*/ 451 h 1147"/>
                <a:gd name="T84" fmla="*/ 125 w 670"/>
                <a:gd name="T85" fmla="*/ 444 h 1147"/>
                <a:gd name="T86" fmla="*/ 93 w 670"/>
                <a:gd name="T87" fmla="*/ 437 h 1147"/>
                <a:gd name="T88" fmla="*/ 78 w 670"/>
                <a:gd name="T89" fmla="*/ 443 h 1147"/>
                <a:gd name="T90" fmla="*/ 54 w 670"/>
                <a:gd name="T91" fmla="*/ 446 h 1147"/>
                <a:gd name="T92" fmla="*/ 38 w 670"/>
                <a:gd name="T93" fmla="*/ 434 h 1147"/>
                <a:gd name="T94" fmla="*/ 42 w 670"/>
                <a:gd name="T95" fmla="*/ 390 h 1147"/>
                <a:gd name="T96" fmla="*/ 26 w 670"/>
                <a:gd name="T97" fmla="*/ 365 h 1147"/>
                <a:gd name="T98" fmla="*/ 15 w 670"/>
                <a:gd name="T99" fmla="*/ 338 h 1147"/>
                <a:gd name="T100" fmla="*/ 8 w 670"/>
                <a:gd name="T101" fmla="*/ 320 h 1147"/>
                <a:gd name="T102" fmla="*/ 15 w 670"/>
                <a:gd name="T103" fmla="*/ 295 h 1147"/>
                <a:gd name="T104" fmla="*/ 21 w 670"/>
                <a:gd name="T105" fmla="*/ 259 h 1147"/>
                <a:gd name="T106" fmla="*/ 26 w 670"/>
                <a:gd name="T107" fmla="*/ 226 h 1147"/>
                <a:gd name="T108" fmla="*/ 15 w 670"/>
                <a:gd name="T109" fmla="*/ 206 h 1147"/>
                <a:gd name="T110" fmla="*/ 11 w 670"/>
                <a:gd name="T111" fmla="*/ 194 h 1147"/>
                <a:gd name="T112" fmla="*/ 1 w 670"/>
                <a:gd name="T113" fmla="*/ 158 h 1147"/>
                <a:gd name="T114" fmla="*/ 36 w 670"/>
                <a:gd name="T115" fmla="*/ 111 h 1147"/>
                <a:gd name="T116" fmla="*/ 47 w 670"/>
                <a:gd name="T117" fmla="*/ 78 h 1147"/>
                <a:gd name="T118" fmla="*/ 60 w 670"/>
                <a:gd name="T119" fmla="*/ 38 h 1147"/>
                <a:gd name="T120" fmla="*/ 63 w 670"/>
                <a:gd name="T121" fmla="*/ 0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0" h="1147">
                  <a:moveTo>
                    <a:pt x="63" y="0"/>
                  </a:moveTo>
                  <a:lnTo>
                    <a:pt x="66" y="1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8" y="5"/>
                  </a:lnTo>
                  <a:lnTo>
                    <a:pt x="84" y="7"/>
                  </a:lnTo>
                  <a:lnTo>
                    <a:pt x="90" y="8"/>
                  </a:lnTo>
                  <a:lnTo>
                    <a:pt x="98" y="11"/>
                  </a:lnTo>
                  <a:lnTo>
                    <a:pt x="104" y="12"/>
                  </a:lnTo>
                  <a:lnTo>
                    <a:pt x="113" y="15"/>
                  </a:lnTo>
                  <a:lnTo>
                    <a:pt x="122" y="17"/>
                  </a:lnTo>
                  <a:lnTo>
                    <a:pt x="131" y="20"/>
                  </a:lnTo>
                  <a:lnTo>
                    <a:pt x="139" y="23"/>
                  </a:lnTo>
                  <a:lnTo>
                    <a:pt x="149" y="26"/>
                  </a:lnTo>
                  <a:lnTo>
                    <a:pt x="159" y="29"/>
                  </a:lnTo>
                  <a:lnTo>
                    <a:pt x="169" y="31"/>
                  </a:lnTo>
                  <a:lnTo>
                    <a:pt x="180" y="34"/>
                  </a:lnTo>
                  <a:lnTo>
                    <a:pt x="192" y="37"/>
                  </a:lnTo>
                  <a:lnTo>
                    <a:pt x="203" y="40"/>
                  </a:lnTo>
                  <a:lnTo>
                    <a:pt x="215" y="43"/>
                  </a:lnTo>
                  <a:lnTo>
                    <a:pt x="227" y="45"/>
                  </a:lnTo>
                  <a:lnTo>
                    <a:pt x="238" y="50"/>
                  </a:lnTo>
                  <a:lnTo>
                    <a:pt x="251" y="53"/>
                  </a:lnTo>
                  <a:lnTo>
                    <a:pt x="264" y="56"/>
                  </a:lnTo>
                  <a:lnTo>
                    <a:pt x="277" y="60"/>
                  </a:lnTo>
                  <a:lnTo>
                    <a:pt x="290" y="63"/>
                  </a:lnTo>
                  <a:lnTo>
                    <a:pt x="301" y="65"/>
                  </a:lnTo>
                  <a:lnTo>
                    <a:pt x="315" y="70"/>
                  </a:lnTo>
                  <a:lnTo>
                    <a:pt x="327" y="73"/>
                  </a:lnTo>
                  <a:lnTo>
                    <a:pt x="341" y="75"/>
                  </a:lnTo>
                  <a:lnTo>
                    <a:pt x="353" y="78"/>
                  </a:lnTo>
                  <a:lnTo>
                    <a:pt x="367" y="83"/>
                  </a:lnTo>
                  <a:lnTo>
                    <a:pt x="379" y="86"/>
                  </a:lnTo>
                  <a:lnTo>
                    <a:pt x="380" y="84"/>
                  </a:lnTo>
                  <a:lnTo>
                    <a:pt x="300" y="393"/>
                  </a:lnTo>
                  <a:lnTo>
                    <a:pt x="638" y="905"/>
                  </a:lnTo>
                  <a:lnTo>
                    <a:pt x="641" y="918"/>
                  </a:lnTo>
                  <a:lnTo>
                    <a:pt x="646" y="929"/>
                  </a:lnTo>
                  <a:lnTo>
                    <a:pt x="656" y="951"/>
                  </a:lnTo>
                  <a:lnTo>
                    <a:pt x="655" y="966"/>
                  </a:lnTo>
                  <a:lnTo>
                    <a:pt x="669" y="986"/>
                  </a:lnTo>
                  <a:lnTo>
                    <a:pt x="669" y="993"/>
                  </a:lnTo>
                  <a:lnTo>
                    <a:pt x="663" y="1001"/>
                  </a:lnTo>
                  <a:lnTo>
                    <a:pt x="662" y="1002"/>
                  </a:lnTo>
                  <a:lnTo>
                    <a:pt x="657" y="1002"/>
                  </a:lnTo>
                  <a:lnTo>
                    <a:pt x="652" y="1004"/>
                  </a:lnTo>
                  <a:lnTo>
                    <a:pt x="646" y="1007"/>
                  </a:lnTo>
                  <a:lnTo>
                    <a:pt x="638" y="1011"/>
                  </a:lnTo>
                  <a:lnTo>
                    <a:pt x="633" y="1017"/>
                  </a:lnTo>
                  <a:lnTo>
                    <a:pt x="630" y="1023"/>
                  </a:lnTo>
                  <a:lnTo>
                    <a:pt x="629" y="1031"/>
                  </a:lnTo>
                  <a:lnTo>
                    <a:pt x="629" y="1032"/>
                  </a:lnTo>
                  <a:lnTo>
                    <a:pt x="629" y="1037"/>
                  </a:lnTo>
                  <a:lnTo>
                    <a:pt x="629" y="1041"/>
                  </a:lnTo>
                  <a:lnTo>
                    <a:pt x="627" y="1047"/>
                  </a:lnTo>
                  <a:lnTo>
                    <a:pt x="626" y="1052"/>
                  </a:lnTo>
                  <a:lnTo>
                    <a:pt x="624" y="1058"/>
                  </a:lnTo>
                  <a:lnTo>
                    <a:pt x="620" y="1062"/>
                  </a:lnTo>
                  <a:lnTo>
                    <a:pt x="616" y="1067"/>
                  </a:lnTo>
                  <a:lnTo>
                    <a:pt x="614" y="1068"/>
                  </a:lnTo>
                  <a:lnTo>
                    <a:pt x="613" y="1070"/>
                  </a:lnTo>
                  <a:lnTo>
                    <a:pt x="611" y="1071"/>
                  </a:lnTo>
                  <a:lnTo>
                    <a:pt x="608" y="1073"/>
                  </a:lnTo>
                  <a:lnTo>
                    <a:pt x="607" y="1076"/>
                  </a:lnTo>
                  <a:lnTo>
                    <a:pt x="604" y="1077"/>
                  </a:lnTo>
                  <a:lnTo>
                    <a:pt x="602" y="1079"/>
                  </a:lnTo>
                  <a:lnTo>
                    <a:pt x="602" y="1079"/>
                  </a:lnTo>
                  <a:lnTo>
                    <a:pt x="600" y="1086"/>
                  </a:lnTo>
                  <a:lnTo>
                    <a:pt x="602" y="1097"/>
                  </a:lnTo>
                  <a:lnTo>
                    <a:pt x="597" y="1112"/>
                  </a:lnTo>
                  <a:lnTo>
                    <a:pt x="611" y="1118"/>
                  </a:lnTo>
                  <a:lnTo>
                    <a:pt x="613" y="1119"/>
                  </a:lnTo>
                  <a:lnTo>
                    <a:pt x="613" y="1122"/>
                  </a:lnTo>
                  <a:lnTo>
                    <a:pt x="613" y="1127"/>
                  </a:lnTo>
                  <a:lnTo>
                    <a:pt x="613" y="1131"/>
                  </a:lnTo>
                  <a:lnTo>
                    <a:pt x="611" y="1137"/>
                  </a:lnTo>
                  <a:lnTo>
                    <a:pt x="610" y="1142"/>
                  </a:lnTo>
                  <a:lnTo>
                    <a:pt x="605" y="1144"/>
                  </a:lnTo>
                  <a:lnTo>
                    <a:pt x="602" y="1146"/>
                  </a:lnTo>
                  <a:lnTo>
                    <a:pt x="588" y="1146"/>
                  </a:lnTo>
                  <a:lnTo>
                    <a:pt x="381" y="1121"/>
                  </a:lnTo>
                  <a:lnTo>
                    <a:pt x="377" y="1114"/>
                  </a:lnTo>
                  <a:lnTo>
                    <a:pt x="381" y="1114"/>
                  </a:lnTo>
                  <a:lnTo>
                    <a:pt x="381" y="1104"/>
                  </a:lnTo>
                  <a:lnTo>
                    <a:pt x="376" y="1100"/>
                  </a:lnTo>
                  <a:lnTo>
                    <a:pt x="370" y="1104"/>
                  </a:lnTo>
                  <a:lnTo>
                    <a:pt x="370" y="1091"/>
                  </a:lnTo>
                  <a:lnTo>
                    <a:pt x="370" y="1091"/>
                  </a:lnTo>
                  <a:lnTo>
                    <a:pt x="370" y="1089"/>
                  </a:lnTo>
                  <a:lnTo>
                    <a:pt x="371" y="1088"/>
                  </a:lnTo>
                  <a:lnTo>
                    <a:pt x="373" y="1086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6" y="1080"/>
                  </a:lnTo>
                  <a:lnTo>
                    <a:pt x="377" y="1076"/>
                  </a:lnTo>
                  <a:lnTo>
                    <a:pt x="377" y="1071"/>
                  </a:lnTo>
                  <a:lnTo>
                    <a:pt x="377" y="1067"/>
                  </a:lnTo>
                  <a:lnTo>
                    <a:pt x="377" y="1061"/>
                  </a:lnTo>
                  <a:lnTo>
                    <a:pt x="374" y="1055"/>
                  </a:lnTo>
                  <a:lnTo>
                    <a:pt x="373" y="1049"/>
                  </a:lnTo>
                  <a:lnTo>
                    <a:pt x="370" y="1041"/>
                  </a:lnTo>
                  <a:lnTo>
                    <a:pt x="366" y="1034"/>
                  </a:lnTo>
                  <a:lnTo>
                    <a:pt x="360" y="1025"/>
                  </a:lnTo>
                  <a:lnTo>
                    <a:pt x="359" y="1023"/>
                  </a:lnTo>
                  <a:lnTo>
                    <a:pt x="357" y="1020"/>
                  </a:lnTo>
                  <a:lnTo>
                    <a:pt x="353" y="1018"/>
                  </a:lnTo>
                  <a:lnTo>
                    <a:pt x="350" y="1014"/>
                  </a:lnTo>
                  <a:lnTo>
                    <a:pt x="347" y="1010"/>
                  </a:lnTo>
                  <a:lnTo>
                    <a:pt x="344" y="1007"/>
                  </a:lnTo>
                  <a:lnTo>
                    <a:pt x="341" y="1004"/>
                  </a:lnTo>
                  <a:lnTo>
                    <a:pt x="340" y="1004"/>
                  </a:lnTo>
                  <a:lnTo>
                    <a:pt x="323" y="975"/>
                  </a:lnTo>
                  <a:lnTo>
                    <a:pt x="323" y="975"/>
                  </a:lnTo>
                  <a:lnTo>
                    <a:pt x="321" y="974"/>
                  </a:lnTo>
                  <a:lnTo>
                    <a:pt x="321" y="972"/>
                  </a:lnTo>
                  <a:lnTo>
                    <a:pt x="318" y="971"/>
                  </a:lnTo>
                  <a:lnTo>
                    <a:pt x="317" y="971"/>
                  </a:lnTo>
                  <a:lnTo>
                    <a:pt x="314" y="971"/>
                  </a:lnTo>
                  <a:lnTo>
                    <a:pt x="310" y="972"/>
                  </a:lnTo>
                  <a:lnTo>
                    <a:pt x="305" y="975"/>
                  </a:lnTo>
                  <a:lnTo>
                    <a:pt x="305" y="975"/>
                  </a:lnTo>
                  <a:lnTo>
                    <a:pt x="304" y="975"/>
                  </a:lnTo>
                  <a:lnTo>
                    <a:pt x="302" y="974"/>
                  </a:lnTo>
                  <a:lnTo>
                    <a:pt x="301" y="972"/>
                  </a:lnTo>
                  <a:lnTo>
                    <a:pt x="300" y="969"/>
                  </a:lnTo>
                  <a:lnTo>
                    <a:pt x="299" y="968"/>
                  </a:lnTo>
                  <a:lnTo>
                    <a:pt x="297" y="966"/>
                  </a:lnTo>
                  <a:lnTo>
                    <a:pt x="297" y="966"/>
                  </a:lnTo>
                  <a:lnTo>
                    <a:pt x="301" y="960"/>
                  </a:lnTo>
                  <a:lnTo>
                    <a:pt x="301" y="955"/>
                  </a:lnTo>
                  <a:lnTo>
                    <a:pt x="301" y="955"/>
                  </a:lnTo>
                  <a:lnTo>
                    <a:pt x="300" y="953"/>
                  </a:lnTo>
                  <a:lnTo>
                    <a:pt x="300" y="950"/>
                  </a:lnTo>
                  <a:lnTo>
                    <a:pt x="297" y="945"/>
                  </a:lnTo>
                  <a:lnTo>
                    <a:pt x="294" y="942"/>
                  </a:lnTo>
                  <a:lnTo>
                    <a:pt x="290" y="938"/>
                  </a:lnTo>
                  <a:lnTo>
                    <a:pt x="284" y="936"/>
                  </a:lnTo>
                  <a:lnTo>
                    <a:pt x="275" y="935"/>
                  </a:lnTo>
                  <a:lnTo>
                    <a:pt x="274" y="935"/>
                  </a:lnTo>
                  <a:lnTo>
                    <a:pt x="274" y="935"/>
                  </a:lnTo>
                  <a:lnTo>
                    <a:pt x="271" y="935"/>
                  </a:lnTo>
                  <a:lnTo>
                    <a:pt x="267" y="933"/>
                  </a:lnTo>
                  <a:lnTo>
                    <a:pt x="263" y="930"/>
                  </a:lnTo>
                  <a:lnTo>
                    <a:pt x="255" y="926"/>
                  </a:lnTo>
                  <a:lnTo>
                    <a:pt x="248" y="920"/>
                  </a:lnTo>
                  <a:lnTo>
                    <a:pt x="238" y="909"/>
                  </a:lnTo>
                  <a:lnTo>
                    <a:pt x="238" y="908"/>
                  </a:lnTo>
                  <a:lnTo>
                    <a:pt x="238" y="906"/>
                  </a:lnTo>
                  <a:lnTo>
                    <a:pt x="236" y="902"/>
                  </a:lnTo>
                  <a:lnTo>
                    <a:pt x="235" y="896"/>
                  </a:lnTo>
                  <a:lnTo>
                    <a:pt x="233" y="892"/>
                  </a:lnTo>
                  <a:lnTo>
                    <a:pt x="228" y="887"/>
                  </a:lnTo>
                  <a:lnTo>
                    <a:pt x="222" y="881"/>
                  </a:lnTo>
                  <a:lnTo>
                    <a:pt x="215" y="875"/>
                  </a:lnTo>
                  <a:lnTo>
                    <a:pt x="213" y="875"/>
                  </a:lnTo>
                  <a:lnTo>
                    <a:pt x="212" y="875"/>
                  </a:lnTo>
                  <a:lnTo>
                    <a:pt x="210" y="875"/>
                  </a:lnTo>
                  <a:lnTo>
                    <a:pt x="208" y="875"/>
                  </a:lnTo>
                  <a:lnTo>
                    <a:pt x="206" y="875"/>
                  </a:lnTo>
                  <a:lnTo>
                    <a:pt x="205" y="875"/>
                  </a:lnTo>
                  <a:lnTo>
                    <a:pt x="203" y="875"/>
                  </a:lnTo>
                  <a:lnTo>
                    <a:pt x="203" y="875"/>
                  </a:lnTo>
                  <a:lnTo>
                    <a:pt x="198" y="870"/>
                  </a:lnTo>
                  <a:lnTo>
                    <a:pt x="189" y="870"/>
                  </a:lnTo>
                  <a:lnTo>
                    <a:pt x="188" y="869"/>
                  </a:lnTo>
                  <a:lnTo>
                    <a:pt x="186" y="867"/>
                  </a:lnTo>
                  <a:lnTo>
                    <a:pt x="183" y="864"/>
                  </a:lnTo>
                  <a:lnTo>
                    <a:pt x="177" y="861"/>
                  </a:lnTo>
                  <a:lnTo>
                    <a:pt x="172" y="858"/>
                  </a:lnTo>
                  <a:lnTo>
                    <a:pt x="165" y="857"/>
                  </a:lnTo>
                  <a:lnTo>
                    <a:pt x="155" y="855"/>
                  </a:lnTo>
                  <a:lnTo>
                    <a:pt x="144" y="855"/>
                  </a:lnTo>
                  <a:lnTo>
                    <a:pt x="144" y="855"/>
                  </a:lnTo>
                  <a:lnTo>
                    <a:pt x="143" y="854"/>
                  </a:lnTo>
                  <a:lnTo>
                    <a:pt x="143" y="852"/>
                  </a:lnTo>
                  <a:lnTo>
                    <a:pt x="141" y="851"/>
                  </a:lnTo>
                  <a:lnTo>
                    <a:pt x="141" y="849"/>
                  </a:lnTo>
                  <a:lnTo>
                    <a:pt x="140" y="848"/>
                  </a:lnTo>
                  <a:lnTo>
                    <a:pt x="140" y="846"/>
                  </a:lnTo>
                  <a:lnTo>
                    <a:pt x="140" y="846"/>
                  </a:lnTo>
                  <a:lnTo>
                    <a:pt x="136" y="840"/>
                  </a:lnTo>
                  <a:lnTo>
                    <a:pt x="132" y="840"/>
                  </a:lnTo>
                  <a:lnTo>
                    <a:pt x="132" y="833"/>
                  </a:lnTo>
                  <a:lnTo>
                    <a:pt x="139" y="827"/>
                  </a:lnTo>
                  <a:lnTo>
                    <a:pt x="137" y="816"/>
                  </a:lnTo>
                  <a:lnTo>
                    <a:pt x="143" y="810"/>
                  </a:lnTo>
                  <a:lnTo>
                    <a:pt x="140" y="798"/>
                  </a:lnTo>
                  <a:lnTo>
                    <a:pt x="140" y="797"/>
                  </a:lnTo>
                  <a:lnTo>
                    <a:pt x="143" y="795"/>
                  </a:lnTo>
                  <a:lnTo>
                    <a:pt x="144" y="789"/>
                  </a:lnTo>
                  <a:lnTo>
                    <a:pt x="146" y="785"/>
                  </a:lnTo>
                  <a:lnTo>
                    <a:pt x="147" y="779"/>
                  </a:lnTo>
                  <a:lnTo>
                    <a:pt x="146" y="776"/>
                  </a:lnTo>
                  <a:lnTo>
                    <a:pt x="143" y="773"/>
                  </a:lnTo>
                  <a:lnTo>
                    <a:pt x="137" y="774"/>
                  </a:lnTo>
                  <a:lnTo>
                    <a:pt x="137" y="774"/>
                  </a:lnTo>
                  <a:lnTo>
                    <a:pt x="136" y="773"/>
                  </a:lnTo>
                  <a:lnTo>
                    <a:pt x="134" y="771"/>
                  </a:lnTo>
                  <a:lnTo>
                    <a:pt x="133" y="770"/>
                  </a:lnTo>
                  <a:lnTo>
                    <a:pt x="132" y="768"/>
                  </a:lnTo>
                  <a:lnTo>
                    <a:pt x="131" y="767"/>
                  </a:lnTo>
                  <a:lnTo>
                    <a:pt x="131" y="766"/>
                  </a:lnTo>
                  <a:lnTo>
                    <a:pt x="129" y="766"/>
                  </a:lnTo>
                  <a:lnTo>
                    <a:pt x="131" y="764"/>
                  </a:lnTo>
                  <a:lnTo>
                    <a:pt x="132" y="762"/>
                  </a:lnTo>
                  <a:lnTo>
                    <a:pt x="133" y="758"/>
                  </a:lnTo>
                  <a:lnTo>
                    <a:pt x="136" y="753"/>
                  </a:lnTo>
                  <a:lnTo>
                    <a:pt x="137" y="749"/>
                  </a:lnTo>
                  <a:lnTo>
                    <a:pt x="136" y="744"/>
                  </a:lnTo>
                  <a:lnTo>
                    <a:pt x="134" y="741"/>
                  </a:lnTo>
                  <a:lnTo>
                    <a:pt x="131" y="740"/>
                  </a:lnTo>
                  <a:lnTo>
                    <a:pt x="131" y="740"/>
                  </a:lnTo>
                  <a:lnTo>
                    <a:pt x="128" y="737"/>
                  </a:lnTo>
                  <a:lnTo>
                    <a:pt x="126" y="734"/>
                  </a:lnTo>
                  <a:lnTo>
                    <a:pt x="125" y="731"/>
                  </a:lnTo>
                  <a:lnTo>
                    <a:pt x="123" y="728"/>
                  </a:lnTo>
                  <a:lnTo>
                    <a:pt x="122" y="723"/>
                  </a:lnTo>
                  <a:lnTo>
                    <a:pt x="120" y="722"/>
                  </a:lnTo>
                  <a:lnTo>
                    <a:pt x="120" y="720"/>
                  </a:lnTo>
                  <a:lnTo>
                    <a:pt x="110" y="710"/>
                  </a:lnTo>
                  <a:lnTo>
                    <a:pt x="108" y="696"/>
                  </a:lnTo>
                  <a:lnTo>
                    <a:pt x="101" y="680"/>
                  </a:lnTo>
                  <a:lnTo>
                    <a:pt x="100" y="672"/>
                  </a:lnTo>
                  <a:lnTo>
                    <a:pt x="95" y="665"/>
                  </a:lnTo>
                  <a:lnTo>
                    <a:pt x="96" y="665"/>
                  </a:lnTo>
                  <a:lnTo>
                    <a:pt x="96" y="663"/>
                  </a:lnTo>
                  <a:lnTo>
                    <a:pt x="96" y="662"/>
                  </a:lnTo>
                  <a:lnTo>
                    <a:pt x="96" y="659"/>
                  </a:lnTo>
                  <a:lnTo>
                    <a:pt x="93" y="656"/>
                  </a:lnTo>
                  <a:lnTo>
                    <a:pt x="92" y="651"/>
                  </a:lnTo>
                  <a:lnTo>
                    <a:pt x="87" y="647"/>
                  </a:lnTo>
                  <a:lnTo>
                    <a:pt x="81" y="641"/>
                  </a:lnTo>
                  <a:lnTo>
                    <a:pt x="80" y="640"/>
                  </a:lnTo>
                  <a:lnTo>
                    <a:pt x="78" y="638"/>
                  </a:lnTo>
                  <a:lnTo>
                    <a:pt x="78" y="637"/>
                  </a:lnTo>
                  <a:lnTo>
                    <a:pt x="78" y="636"/>
                  </a:lnTo>
                  <a:lnTo>
                    <a:pt x="77" y="633"/>
                  </a:lnTo>
                  <a:lnTo>
                    <a:pt x="77" y="632"/>
                  </a:lnTo>
                  <a:lnTo>
                    <a:pt x="77" y="630"/>
                  </a:lnTo>
                  <a:lnTo>
                    <a:pt x="77" y="630"/>
                  </a:lnTo>
                  <a:lnTo>
                    <a:pt x="81" y="626"/>
                  </a:lnTo>
                  <a:lnTo>
                    <a:pt x="78" y="609"/>
                  </a:lnTo>
                  <a:lnTo>
                    <a:pt x="83" y="607"/>
                  </a:lnTo>
                  <a:lnTo>
                    <a:pt x="80" y="603"/>
                  </a:lnTo>
                  <a:lnTo>
                    <a:pt x="84" y="599"/>
                  </a:lnTo>
                  <a:lnTo>
                    <a:pt x="84" y="599"/>
                  </a:lnTo>
                  <a:lnTo>
                    <a:pt x="84" y="600"/>
                  </a:lnTo>
                  <a:lnTo>
                    <a:pt x="84" y="602"/>
                  </a:lnTo>
                  <a:lnTo>
                    <a:pt x="86" y="603"/>
                  </a:lnTo>
                  <a:lnTo>
                    <a:pt x="89" y="603"/>
                  </a:lnTo>
                  <a:lnTo>
                    <a:pt x="92" y="600"/>
                  </a:lnTo>
                  <a:lnTo>
                    <a:pt x="96" y="596"/>
                  </a:lnTo>
                  <a:lnTo>
                    <a:pt x="98" y="588"/>
                  </a:lnTo>
                  <a:lnTo>
                    <a:pt x="99" y="581"/>
                  </a:lnTo>
                  <a:lnTo>
                    <a:pt x="100" y="575"/>
                  </a:lnTo>
                  <a:lnTo>
                    <a:pt x="99" y="570"/>
                  </a:lnTo>
                  <a:lnTo>
                    <a:pt x="96" y="566"/>
                  </a:lnTo>
                  <a:lnTo>
                    <a:pt x="92" y="564"/>
                  </a:lnTo>
                  <a:lnTo>
                    <a:pt x="90" y="564"/>
                  </a:lnTo>
                  <a:lnTo>
                    <a:pt x="90" y="564"/>
                  </a:lnTo>
                  <a:lnTo>
                    <a:pt x="92" y="564"/>
                  </a:lnTo>
                  <a:lnTo>
                    <a:pt x="92" y="564"/>
                  </a:lnTo>
                  <a:lnTo>
                    <a:pt x="81" y="563"/>
                  </a:lnTo>
                  <a:lnTo>
                    <a:pt x="65" y="540"/>
                  </a:lnTo>
                  <a:lnTo>
                    <a:pt x="65" y="534"/>
                  </a:lnTo>
                  <a:lnTo>
                    <a:pt x="65" y="533"/>
                  </a:lnTo>
                  <a:lnTo>
                    <a:pt x="65" y="533"/>
                  </a:lnTo>
                  <a:lnTo>
                    <a:pt x="63" y="531"/>
                  </a:lnTo>
                  <a:lnTo>
                    <a:pt x="63" y="530"/>
                  </a:lnTo>
                  <a:lnTo>
                    <a:pt x="63" y="527"/>
                  </a:lnTo>
                  <a:lnTo>
                    <a:pt x="63" y="524"/>
                  </a:lnTo>
                  <a:lnTo>
                    <a:pt x="65" y="521"/>
                  </a:lnTo>
                  <a:lnTo>
                    <a:pt x="66" y="516"/>
                  </a:lnTo>
                  <a:lnTo>
                    <a:pt x="66" y="515"/>
                  </a:lnTo>
                  <a:lnTo>
                    <a:pt x="66" y="514"/>
                  </a:lnTo>
                  <a:lnTo>
                    <a:pt x="66" y="511"/>
                  </a:lnTo>
                  <a:lnTo>
                    <a:pt x="66" y="509"/>
                  </a:lnTo>
                  <a:lnTo>
                    <a:pt x="66" y="506"/>
                  </a:lnTo>
                  <a:lnTo>
                    <a:pt x="66" y="503"/>
                  </a:lnTo>
                  <a:lnTo>
                    <a:pt x="66" y="501"/>
                  </a:lnTo>
                  <a:lnTo>
                    <a:pt x="66" y="500"/>
                  </a:lnTo>
                  <a:lnTo>
                    <a:pt x="65" y="495"/>
                  </a:lnTo>
                  <a:lnTo>
                    <a:pt x="65" y="488"/>
                  </a:lnTo>
                  <a:lnTo>
                    <a:pt x="67" y="484"/>
                  </a:lnTo>
                  <a:lnTo>
                    <a:pt x="70" y="473"/>
                  </a:lnTo>
                  <a:lnTo>
                    <a:pt x="70" y="473"/>
                  </a:lnTo>
                  <a:lnTo>
                    <a:pt x="70" y="471"/>
                  </a:lnTo>
                  <a:lnTo>
                    <a:pt x="71" y="470"/>
                  </a:lnTo>
                  <a:lnTo>
                    <a:pt x="72" y="468"/>
                  </a:lnTo>
                  <a:lnTo>
                    <a:pt x="74" y="468"/>
                  </a:lnTo>
                  <a:lnTo>
                    <a:pt x="75" y="468"/>
                  </a:lnTo>
                  <a:lnTo>
                    <a:pt x="77" y="470"/>
                  </a:lnTo>
                  <a:lnTo>
                    <a:pt x="78" y="474"/>
                  </a:lnTo>
                  <a:lnTo>
                    <a:pt x="78" y="476"/>
                  </a:lnTo>
                  <a:lnTo>
                    <a:pt x="78" y="477"/>
                  </a:lnTo>
                  <a:lnTo>
                    <a:pt x="78" y="478"/>
                  </a:lnTo>
                  <a:lnTo>
                    <a:pt x="77" y="481"/>
                  </a:lnTo>
                  <a:lnTo>
                    <a:pt x="77" y="482"/>
                  </a:lnTo>
                  <a:lnTo>
                    <a:pt x="75" y="485"/>
                  </a:lnTo>
                  <a:lnTo>
                    <a:pt x="75" y="485"/>
                  </a:lnTo>
                  <a:lnTo>
                    <a:pt x="75" y="486"/>
                  </a:lnTo>
                  <a:lnTo>
                    <a:pt x="77" y="489"/>
                  </a:lnTo>
                  <a:lnTo>
                    <a:pt x="84" y="497"/>
                  </a:lnTo>
                  <a:lnTo>
                    <a:pt x="86" y="501"/>
                  </a:lnTo>
                  <a:lnTo>
                    <a:pt x="96" y="512"/>
                  </a:lnTo>
                  <a:lnTo>
                    <a:pt x="98" y="514"/>
                  </a:lnTo>
                  <a:lnTo>
                    <a:pt x="99" y="514"/>
                  </a:lnTo>
                  <a:lnTo>
                    <a:pt x="101" y="512"/>
                  </a:lnTo>
                  <a:lnTo>
                    <a:pt x="100" y="509"/>
                  </a:lnTo>
                  <a:lnTo>
                    <a:pt x="100" y="509"/>
                  </a:lnTo>
                  <a:lnTo>
                    <a:pt x="99" y="507"/>
                  </a:lnTo>
                  <a:lnTo>
                    <a:pt x="98" y="504"/>
                  </a:lnTo>
                  <a:lnTo>
                    <a:pt x="96" y="503"/>
                  </a:lnTo>
                  <a:lnTo>
                    <a:pt x="95" y="500"/>
                  </a:lnTo>
                  <a:lnTo>
                    <a:pt x="93" y="497"/>
                  </a:lnTo>
                  <a:lnTo>
                    <a:pt x="93" y="492"/>
                  </a:lnTo>
                  <a:lnTo>
                    <a:pt x="93" y="489"/>
                  </a:lnTo>
                  <a:lnTo>
                    <a:pt x="93" y="489"/>
                  </a:lnTo>
                  <a:lnTo>
                    <a:pt x="93" y="488"/>
                  </a:lnTo>
                  <a:lnTo>
                    <a:pt x="93" y="488"/>
                  </a:lnTo>
                  <a:lnTo>
                    <a:pt x="93" y="485"/>
                  </a:lnTo>
                  <a:lnTo>
                    <a:pt x="93" y="484"/>
                  </a:lnTo>
                  <a:lnTo>
                    <a:pt x="92" y="482"/>
                  </a:lnTo>
                  <a:lnTo>
                    <a:pt x="90" y="481"/>
                  </a:lnTo>
                  <a:lnTo>
                    <a:pt x="89" y="478"/>
                  </a:lnTo>
                  <a:lnTo>
                    <a:pt x="89" y="478"/>
                  </a:lnTo>
                  <a:lnTo>
                    <a:pt x="89" y="477"/>
                  </a:lnTo>
                  <a:lnTo>
                    <a:pt x="89" y="476"/>
                  </a:lnTo>
                  <a:lnTo>
                    <a:pt x="89" y="474"/>
                  </a:lnTo>
                  <a:lnTo>
                    <a:pt x="89" y="473"/>
                  </a:lnTo>
                  <a:lnTo>
                    <a:pt x="89" y="471"/>
                  </a:lnTo>
                  <a:lnTo>
                    <a:pt x="89" y="470"/>
                  </a:lnTo>
                  <a:lnTo>
                    <a:pt x="89" y="470"/>
                  </a:lnTo>
                  <a:lnTo>
                    <a:pt x="84" y="459"/>
                  </a:lnTo>
                  <a:lnTo>
                    <a:pt x="84" y="452"/>
                  </a:lnTo>
                  <a:lnTo>
                    <a:pt x="89" y="451"/>
                  </a:lnTo>
                  <a:lnTo>
                    <a:pt x="100" y="446"/>
                  </a:lnTo>
                  <a:lnTo>
                    <a:pt x="103" y="448"/>
                  </a:lnTo>
                  <a:lnTo>
                    <a:pt x="105" y="451"/>
                  </a:lnTo>
                  <a:lnTo>
                    <a:pt x="122" y="453"/>
                  </a:lnTo>
                  <a:lnTo>
                    <a:pt x="126" y="453"/>
                  </a:lnTo>
                  <a:lnTo>
                    <a:pt x="132" y="458"/>
                  </a:lnTo>
                  <a:lnTo>
                    <a:pt x="125" y="449"/>
                  </a:lnTo>
                  <a:lnTo>
                    <a:pt x="125" y="444"/>
                  </a:lnTo>
                  <a:lnTo>
                    <a:pt x="116" y="444"/>
                  </a:lnTo>
                  <a:lnTo>
                    <a:pt x="110" y="446"/>
                  </a:lnTo>
                  <a:lnTo>
                    <a:pt x="104" y="446"/>
                  </a:lnTo>
                  <a:lnTo>
                    <a:pt x="101" y="444"/>
                  </a:lnTo>
                  <a:lnTo>
                    <a:pt x="100" y="443"/>
                  </a:lnTo>
                  <a:lnTo>
                    <a:pt x="99" y="441"/>
                  </a:lnTo>
                  <a:lnTo>
                    <a:pt x="96" y="438"/>
                  </a:lnTo>
                  <a:lnTo>
                    <a:pt x="93" y="437"/>
                  </a:lnTo>
                  <a:lnTo>
                    <a:pt x="90" y="434"/>
                  </a:lnTo>
                  <a:lnTo>
                    <a:pt x="87" y="434"/>
                  </a:lnTo>
                  <a:lnTo>
                    <a:pt x="83" y="435"/>
                  </a:lnTo>
                  <a:lnTo>
                    <a:pt x="81" y="438"/>
                  </a:lnTo>
                  <a:lnTo>
                    <a:pt x="80" y="440"/>
                  </a:lnTo>
                  <a:lnTo>
                    <a:pt x="78" y="441"/>
                  </a:lnTo>
                  <a:lnTo>
                    <a:pt x="78" y="443"/>
                  </a:lnTo>
                  <a:lnTo>
                    <a:pt x="78" y="443"/>
                  </a:lnTo>
                  <a:lnTo>
                    <a:pt x="78" y="461"/>
                  </a:lnTo>
                  <a:lnTo>
                    <a:pt x="75" y="464"/>
                  </a:lnTo>
                  <a:lnTo>
                    <a:pt x="70" y="462"/>
                  </a:lnTo>
                  <a:lnTo>
                    <a:pt x="65" y="453"/>
                  </a:lnTo>
                  <a:lnTo>
                    <a:pt x="62" y="451"/>
                  </a:lnTo>
                  <a:lnTo>
                    <a:pt x="56" y="451"/>
                  </a:lnTo>
                  <a:lnTo>
                    <a:pt x="56" y="449"/>
                  </a:lnTo>
                  <a:lnTo>
                    <a:pt x="54" y="446"/>
                  </a:lnTo>
                  <a:lnTo>
                    <a:pt x="53" y="444"/>
                  </a:lnTo>
                  <a:lnTo>
                    <a:pt x="51" y="441"/>
                  </a:lnTo>
                  <a:lnTo>
                    <a:pt x="48" y="437"/>
                  </a:lnTo>
                  <a:lnTo>
                    <a:pt x="45" y="434"/>
                  </a:lnTo>
                  <a:lnTo>
                    <a:pt x="42" y="434"/>
                  </a:lnTo>
                  <a:lnTo>
                    <a:pt x="38" y="434"/>
                  </a:lnTo>
                  <a:lnTo>
                    <a:pt x="38" y="434"/>
                  </a:lnTo>
                  <a:lnTo>
                    <a:pt x="38" y="434"/>
                  </a:lnTo>
                  <a:lnTo>
                    <a:pt x="38" y="432"/>
                  </a:lnTo>
                  <a:lnTo>
                    <a:pt x="38" y="432"/>
                  </a:lnTo>
                  <a:lnTo>
                    <a:pt x="44" y="425"/>
                  </a:lnTo>
                  <a:lnTo>
                    <a:pt x="47" y="421"/>
                  </a:lnTo>
                  <a:lnTo>
                    <a:pt x="45" y="415"/>
                  </a:lnTo>
                  <a:lnTo>
                    <a:pt x="48" y="410"/>
                  </a:lnTo>
                  <a:lnTo>
                    <a:pt x="41" y="401"/>
                  </a:lnTo>
                  <a:lnTo>
                    <a:pt x="42" y="390"/>
                  </a:lnTo>
                  <a:lnTo>
                    <a:pt x="35" y="382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4" y="378"/>
                  </a:lnTo>
                  <a:lnTo>
                    <a:pt x="32" y="375"/>
                  </a:lnTo>
                  <a:lnTo>
                    <a:pt x="30" y="372"/>
                  </a:lnTo>
                  <a:lnTo>
                    <a:pt x="27" y="369"/>
                  </a:lnTo>
                  <a:lnTo>
                    <a:pt x="26" y="365"/>
                  </a:lnTo>
                  <a:lnTo>
                    <a:pt x="24" y="360"/>
                  </a:lnTo>
                  <a:lnTo>
                    <a:pt x="24" y="355"/>
                  </a:lnTo>
                  <a:lnTo>
                    <a:pt x="24" y="355"/>
                  </a:lnTo>
                  <a:lnTo>
                    <a:pt x="23" y="352"/>
                  </a:lnTo>
                  <a:lnTo>
                    <a:pt x="23" y="350"/>
                  </a:lnTo>
                  <a:lnTo>
                    <a:pt x="20" y="345"/>
                  </a:lnTo>
                  <a:lnTo>
                    <a:pt x="18" y="342"/>
                  </a:lnTo>
                  <a:lnTo>
                    <a:pt x="15" y="338"/>
                  </a:lnTo>
                  <a:lnTo>
                    <a:pt x="14" y="333"/>
                  </a:lnTo>
                  <a:lnTo>
                    <a:pt x="11" y="330"/>
                  </a:lnTo>
                  <a:lnTo>
                    <a:pt x="11" y="329"/>
                  </a:lnTo>
                  <a:lnTo>
                    <a:pt x="9" y="327"/>
                  </a:lnTo>
                  <a:lnTo>
                    <a:pt x="9" y="326"/>
                  </a:lnTo>
                  <a:lnTo>
                    <a:pt x="9" y="325"/>
                  </a:lnTo>
                  <a:lnTo>
                    <a:pt x="8" y="323"/>
                  </a:lnTo>
                  <a:lnTo>
                    <a:pt x="8" y="320"/>
                  </a:lnTo>
                  <a:lnTo>
                    <a:pt x="17" y="312"/>
                  </a:lnTo>
                  <a:lnTo>
                    <a:pt x="17" y="312"/>
                  </a:lnTo>
                  <a:lnTo>
                    <a:pt x="17" y="311"/>
                  </a:lnTo>
                  <a:lnTo>
                    <a:pt x="17" y="308"/>
                  </a:lnTo>
                  <a:lnTo>
                    <a:pt x="15" y="306"/>
                  </a:lnTo>
                  <a:lnTo>
                    <a:pt x="15" y="302"/>
                  </a:lnTo>
                  <a:lnTo>
                    <a:pt x="15" y="299"/>
                  </a:lnTo>
                  <a:lnTo>
                    <a:pt x="15" y="295"/>
                  </a:lnTo>
                  <a:lnTo>
                    <a:pt x="14" y="290"/>
                  </a:lnTo>
                  <a:lnTo>
                    <a:pt x="14" y="285"/>
                  </a:lnTo>
                  <a:lnTo>
                    <a:pt x="15" y="281"/>
                  </a:lnTo>
                  <a:lnTo>
                    <a:pt x="15" y="276"/>
                  </a:lnTo>
                  <a:lnTo>
                    <a:pt x="15" y="272"/>
                  </a:lnTo>
                  <a:lnTo>
                    <a:pt x="17" y="267"/>
                  </a:lnTo>
                  <a:lnTo>
                    <a:pt x="20" y="263"/>
                  </a:lnTo>
                  <a:lnTo>
                    <a:pt x="21" y="259"/>
                  </a:lnTo>
                  <a:lnTo>
                    <a:pt x="24" y="256"/>
                  </a:lnTo>
                  <a:lnTo>
                    <a:pt x="24" y="254"/>
                  </a:lnTo>
                  <a:lnTo>
                    <a:pt x="24" y="251"/>
                  </a:lnTo>
                  <a:lnTo>
                    <a:pt x="24" y="246"/>
                  </a:lnTo>
                  <a:lnTo>
                    <a:pt x="26" y="240"/>
                  </a:lnTo>
                  <a:lnTo>
                    <a:pt x="26" y="234"/>
                  </a:lnTo>
                  <a:lnTo>
                    <a:pt x="26" y="229"/>
                  </a:lnTo>
                  <a:lnTo>
                    <a:pt x="26" y="226"/>
                  </a:lnTo>
                  <a:lnTo>
                    <a:pt x="26" y="224"/>
                  </a:lnTo>
                  <a:lnTo>
                    <a:pt x="26" y="223"/>
                  </a:lnTo>
                  <a:lnTo>
                    <a:pt x="24" y="222"/>
                  </a:lnTo>
                  <a:lnTo>
                    <a:pt x="24" y="219"/>
                  </a:lnTo>
                  <a:lnTo>
                    <a:pt x="23" y="216"/>
                  </a:lnTo>
                  <a:lnTo>
                    <a:pt x="20" y="212"/>
                  </a:lnTo>
                  <a:lnTo>
                    <a:pt x="18" y="209"/>
                  </a:lnTo>
                  <a:lnTo>
                    <a:pt x="15" y="206"/>
                  </a:lnTo>
                  <a:lnTo>
                    <a:pt x="14" y="204"/>
                  </a:lnTo>
                  <a:lnTo>
                    <a:pt x="14" y="203"/>
                  </a:lnTo>
                  <a:lnTo>
                    <a:pt x="14" y="200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2" y="196"/>
                  </a:lnTo>
                  <a:lnTo>
                    <a:pt x="11" y="194"/>
                  </a:lnTo>
                  <a:lnTo>
                    <a:pt x="8" y="191"/>
                  </a:lnTo>
                  <a:lnTo>
                    <a:pt x="5" y="189"/>
                  </a:lnTo>
                  <a:lnTo>
                    <a:pt x="3" y="185"/>
                  </a:lnTo>
                  <a:lnTo>
                    <a:pt x="2" y="180"/>
                  </a:lnTo>
                  <a:lnTo>
                    <a:pt x="1" y="176"/>
                  </a:lnTo>
                  <a:lnTo>
                    <a:pt x="0" y="170"/>
                  </a:lnTo>
                  <a:lnTo>
                    <a:pt x="0" y="164"/>
                  </a:lnTo>
                  <a:lnTo>
                    <a:pt x="1" y="158"/>
                  </a:lnTo>
                  <a:lnTo>
                    <a:pt x="3" y="150"/>
                  </a:lnTo>
                  <a:lnTo>
                    <a:pt x="8" y="143"/>
                  </a:lnTo>
                  <a:lnTo>
                    <a:pt x="14" y="134"/>
                  </a:lnTo>
                  <a:lnTo>
                    <a:pt x="23" y="126"/>
                  </a:lnTo>
                  <a:lnTo>
                    <a:pt x="33" y="117"/>
                  </a:lnTo>
                  <a:lnTo>
                    <a:pt x="34" y="116"/>
                  </a:lnTo>
                  <a:lnTo>
                    <a:pt x="35" y="114"/>
                  </a:lnTo>
                  <a:lnTo>
                    <a:pt x="36" y="111"/>
                  </a:lnTo>
                  <a:lnTo>
                    <a:pt x="38" y="107"/>
                  </a:lnTo>
                  <a:lnTo>
                    <a:pt x="39" y="103"/>
                  </a:lnTo>
                  <a:lnTo>
                    <a:pt x="41" y="98"/>
                  </a:lnTo>
                  <a:lnTo>
                    <a:pt x="41" y="95"/>
                  </a:lnTo>
                  <a:lnTo>
                    <a:pt x="41" y="90"/>
                  </a:lnTo>
                  <a:lnTo>
                    <a:pt x="41" y="89"/>
                  </a:lnTo>
                  <a:lnTo>
                    <a:pt x="44" y="84"/>
                  </a:lnTo>
                  <a:lnTo>
                    <a:pt x="47" y="78"/>
                  </a:lnTo>
                  <a:lnTo>
                    <a:pt x="51" y="73"/>
                  </a:lnTo>
                  <a:lnTo>
                    <a:pt x="56" y="65"/>
                  </a:lnTo>
                  <a:lnTo>
                    <a:pt x="57" y="59"/>
                  </a:lnTo>
                  <a:lnTo>
                    <a:pt x="59" y="51"/>
                  </a:lnTo>
                  <a:lnTo>
                    <a:pt x="59" y="44"/>
                  </a:lnTo>
                  <a:lnTo>
                    <a:pt x="59" y="43"/>
                  </a:lnTo>
                  <a:lnTo>
                    <a:pt x="59" y="41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9" y="37"/>
                  </a:lnTo>
                  <a:lnTo>
                    <a:pt x="59" y="29"/>
                  </a:lnTo>
                  <a:lnTo>
                    <a:pt x="54" y="23"/>
                  </a:lnTo>
                  <a:lnTo>
                    <a:pt x="56" y="20"/>
                  </a:lnTo>
                  <a:lnTo>
                    <a:pt x="63" y="8"/>
                  </a:lnTo>
                  <a:lnTo>
                    <a:pt x="65" y="2"/>
                  </a:lnTo>
                  <a:lnTo>
                    <a:pt x="63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" name="Freeform 8"/>
            <p:cNvSpPr>
              <a:spLocks/>
            </p:cNvSpPr>
            <p:nvPr/>
          </p:nvSpPr>
          <p:spPr bwMode="auto">
            <a:xfrm>
              <a:off x="743477" y="4361036"/>
              <a:ext cx="449699" cy="769370"/>
            </a:xfrm>
            <a:custGeom>
              <a:avLst/>
              <a:gdLst>
                <a:gd name="T0" fmla="*/ 98 w 670"/>
                <a:gd name="T1" fmla="*/ 11 h 1147"/>
                <a:gd name="T2" fmla="*/ 180 w 670"/>
                <a:gd name="T3" fmla="*/ 34 h 1147"/>
                <a:gd name="T4" fmla="*/ 290 w 670"/>
                <a:gd name="T5" fmla="*/ 63 h 1147"/>
                <a:gd name="T6" fmla="*/ 300 w 670"/>
                <a:gd name="T7" fmla="*/ 393 h 1147"/>
                <a:gd name="T8" fmla="*/ 663 w 670"/>
                <a:gd name="T9" fmla="*/ 1001 h 1147"/>
                <a:gd name="T10" fmla="*/ 629 w 670"/>
                <a:gd name="T11" fmla="*/ 1031 h 1147"/>
                <a:gd name="T12" fmla="*/ 616 w 670"/>
                <a:gd name="T13" fmla="*/ 1067 h 1147"/>
                <a:gd name="T14" fmla="*/ 600 w 670"/>
                <a:gd name="T15" fmla="*/ 1086 h 1147"/>
                <a:gd name="T16" fmla="*/ 611 w 670"/>
                <a:gd name="T17" fmla="*/ 1137 h 1147"/>
                <a:gd name="T18" fmla="*/ 376 w 670"/>
                <a:gd name="T19" fmla="*/ 1100 h 1147"/>
                <a:gd name="T20" fmla="*/ 374 w 670"/>
                <a:gd name="T21" fmla="*/ 1082 h 1147"/>
                <a:gd name="T22" fmla="*/ 366 w 670"/>
                <a:gd name="T23" fmla="*/ 1034 h 1147"/>
                <a:gd name="T24" fmla="*/ 341 w 670"/>
                <a:gd name="T25" fmla="*/ 1004 h 1147"/>
                <a:gd name="T26" fmla="*/ 314 w 670"/>
                <a:gd name="T27" fmla="*/ 971 h 1147"/>
                <a:gd name="T28" fmla="*/ 299 w 670"/>
                <a:gd name="T29" fmla="*/ 968 h 1147"/>
                <a:gd name="T30" fmla="*/ 297 w 670"/>
                <a:gd name="T31" fmla="*/ 945 h 1147"/>
                <a:gd name="T32" fmla="*/ 267 w 670"/>
                <a:gd name="T33" fmla="*/ 933 h 1147"/>
                <a:gd name="T34" fmla="*/ 235 w 670"/>
                <a:gd name="T35" fmla="*/ 896 h 1147"/>
                <a:gd name="T36" fmla="*/ 208 w 670"/>
                <a:gd name="T37" fmla="*/ 875 h 1147"/>
                <a:gd name="T38" fmla="*/ 186 w 670"/>
                <a:gd name="T39" fmla="*/ 867 h 1147"/>
                <a:gd name="T40" fmla="*/ 143 w 670"/>
                <a:gd name="T41" fmla="*/ 854 h 1147"/>
                <a:gd name="T42" fmla="*/ 132 w 670"/>
                <a:gd name="T43" fmla="*/ 833 h 1147"/>
                <a:gd name="T44" fmla="*/ 146 w 670"/>
                <a:gd name="T45" fmla="*/ 785 h 1147"/>
                <a:gd name="T46" fmla="*/ 133 w 670"/>
                <a:gd name="T47" fmla="*/ 770 h 1147"/>
                <a:gd name="T48" fmla="*/ 136 w 670"/>
                <a:gd name="T49" fmla="*/ 753 h 1147"/>
                <a:gd name="T50" fmla="*/ 125 w 670"/>
                <a:gd name="T51" fmla="*/ 731 h 1147"/>
                <a:gd name="T52" fmla="*/ 95 w 670"/>
                <a:gd name="T53" fmla="*/ 665 h 1147"/>
                <a:gd name="T54" fmla="*/ 81 w 670"/>
                <a:gd name="T55" fmla="*/ 641 h 1147"/>
                <a:gd name="T56" fmla="*/ 77 w 670"/>
                <a:gd name="T57" fmla="*/ 630 h 1147"/>
                <a:gd name="T58" fmla="*/ 84 w 670"/>
                <a:gd name="T59" fmla="*/ 602 h 1147"/>
                <a:gd name="T60" fmla="*/ 99 w 670"/>
                <a:gd name="T61" fmla="*/ 570 h 1147"/>
                <a:gd name="T62" fmla="*/ 65 w 670"/>
                <a:gd name="T63" fmla="*/ 540 h 1147"/>
                <a:gd name="T64" fmla="*/ 65 w 670"/>
                <a:gd name="T65" fmla="*/ 521 h 1147"/>
                <a:gd name="T66" fmla="*/ 66 w 670"/>
                <a:gd name="T67" fmla="*/ 501 h 1147"/>
                <a:gd name="T68" fmla="*/ 71 w 670"/>
                <a:gd name="T69" fmla="*/ 470 h 1147"/>
                <a:gd name="T70" fmla="*/ 78 w 670"/>
                <a:gd name="T71" fmla="*/ 478 h 1147"/>
                <a:gd name="T72" fmla="*/ 96 w 670"/>
                <a:gd name="T73" fmla="*/ 512 h 1147"/>
                <a:gd name="T74" fmla="*/ 98 w 670"/>
                <a:gd name="T75" fmla="*/ 504 h 1147"/>
                <a:gd name="T76" fmla="*/ 93 w 670"/>
                <a:gd name="T77" fmla="*/ 488 h 1147"/>
                <a:gd name="T78" fmla="*/ 89 w 670"/>
                <a:gd name="T79" fmla="*/ 476 h 1147"/>
                <a:gd name="T80" fmla="*/ 100 w 670"/>
                <a:gd name="T81" fmla="*/ 446 h 1147"/>
                <a:gd name="T82" fmla="*/ 110 w 670"/>
                <a:gd name="T83" fmla="*/ 446 h 1147"/>
                <a:gd name="T84" fmla="*/ 87 w 670"/>
                <a:gd name="T85" fmla="*/ 434 h 1147"/>
                <a:gd name="T86" fmla="*/ 75 w 670"/>
                <a:gd name="T87" fmla="*/ 464 h 1147"/>
                <a:gd name="T88" fmla="*/ 51 w 670"/>
                <a:gd name="T89" fmla="*/ 441 h 1147"/>
                <a:gd name="T90" fmla="*/ 38 w 670"/>
                <a:gd name="T91" fmla="*/ 432 h 1147"/>
                <a:gd name="T92" fmla="*/ 35 w 670"/>
                <a:gd name="T93" fmla="*/ 380 h 1147"/>
                <a:gd name="T94" fmla="*/ 24 w 670"/>
                <a:gd name="T95" fmla="*/ 355 h 1147"/>
                <a:gd name="T96" fmla="*/ 11 w 670"/>
                <a:gd name="T97" fmla="*/ 330 h 1147"/>
                <a:gd name="T98" fmla="*/ 17 w 670"/>
                <a:gd name="T99" fmla="*/ 312 h 1147"/>
                <a:gd name="T100" fmla="*/ 15 w 670"/>
                <a:gd name="T101" fmla="*/ 281 h 1147"/>
                <a:gd name="T102" fmla="*/ 24 w 670"/>
                <a:gd name="T103" fmla="*/ 251 h 1147"/>
                <a:gd name="T104" fmla="*/ 24 w 670"/>
                <a:gd name="T105" fmla="*/ 222 h 1147"/>
                <a:gd name="T106" fmla="*/ 14 w 670"/>
                <a:gd name="T107" fmla="*/ 200 h 1147"/>
                <a:gd name="T108" fmla="*/ 3 w 670"/>
                <a:gd name="T109" fmla="*/ 185 h 1147"/>
                <a:gd name="T110" fmla="*/ 23 w 670"/>
                <a:gd name="T111" fmla="*/ 126 h 1147"/>
                <a:gd name="T112" fmla="*/ 41 w 670"/>
                <a:gd name="T113" fmla="*/ 95 h 1147"/>
                <a:gd name="T114" fmla="*/ 59 w 670"/>
                <a:gd name="T115" fmla="*/ 51 h 1147"/>
                <a:gd name="T116" fmla="*/ 54 w 670"/>
                <a:gd name="T117" fmla="*/ 23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0" h="1147">
                  <a:moveTo>
                    <a:pt x="63" y="0"/>
                  </a:moveTo>
                  <a:lnTo>
                    <a:pt x="63" y="0"/>
                  </a:lnTo>
                  <a:lnTo>
                    <a:pt x="66" y="1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8" y="5"/>
                  </a:lnTo>
                  <a:lnTo>
                    <a:pt x="84" y="7"/>
                  </a:lnTo>
                  <a:lnTo>
                    <a:pt x="90" y="8"/>
                  </a:lnTo>
                  <a:lnTo>
                    <a:pt x="98" y="11"/>
                  </a:lnTo>
                  <a:lnTo>
                    <a:pt x="104" y="12"/>
                  </a:lnTo>
                  <a:lnTo>
                    <a:pt x="113" y="15"/>
                  </a:lnTo>
                  <a:lnTo>
                    <a:pt x="122" y="17"/>
                  </a:lnTo>
                  <a:lnTo>
                    <a:pt x="131" y="20"/>
                  </a:lnTo>
                  <a:lnTo>
                    <a:pt x="139" y="23"/>
                  </a:lnTo>
                  <a:lnTo>
                    <a:pt x="149" y="26"/>
                  </a:lnTo>
                  <a:lnTo>
                    <a:pt x="159" y="29"/>
                  </a:lnTo>
                  <a:lnTo>
                    <a:pt x="169" y="31"/>
                  </a:lnTo>
                  <a:lnTo>
                    <a:pt x="180" y="34"/>
                  </a:lnTo>
                  <a:lnTo>
                    <a:pt x="192" y="37"/>
                  </a:lnTo>
                  <a:lnTo>
                    <a:pt x="203" y="40"/>
                  </a:lnTo>
                  <a:lnTo>
                    <a:pt x="215" y="43"/>
                  </a:lnTo>
                  <a:lnTo>
                    <a:pt x="227" y="45"/>
                  </a:lnTo>
                  <a:lnTo>
                    <a:pt x="238" y="50"/>
                  </a:lnTo>
                  <a:lnTo>
                    <a:pt x="251" y="53"/>
                  </a:lnTo>
                  <a:lnTo>
                    <a:pt x="264" y="56"/>
                  </a:lnTo>
                  <a:lnTo>
                    <a:pt x="277" y="60"/>
                  </a:lnTo>
                  <a:lnTo>
                    <a:pt x="290" y="63"/>
                  </a:lnTo>
                  <a:lnTo>
                    <a:pt x="301" y="65"/>
                  </a:lnTo>
                  <a:lnTo>
                    <a:pt x="315" y="70"/>
                  </a:lnTo>
                  <a:lnTo>
                    <a:pt x="327" y="73"/>
                  </a:lnTo>
                  <a:lnTo>
                    <a:pt x="341" y="75"/>
                  </a:lnTo>
                  <a:lnTo>
                    <a:pt x="353" y="78"/>
                  </a:lnTo>
                  <a:lnTo>
                    <a:pt x="367" y="83"/>
                  </a:lnTo>
                  <a:lnTo>
                    <a:pt x="379" y="86"/>
                  </a:lnTo>
                  <a:lnTo>
                    <a:pt x="380" y="84"/>
                  </a:lnTo>
                  <a:lnTo>
                    <a:pt x="300" y="393"/>
                  </a:lnTo>
                  <a:lnTo>
                    <a:pt x="638" y="905"/>
                  </a:lnTo>
                  <a:lnTo>
                    <a:pt x="641" y="918"/>
                  </a:lnTo>
                  <a:lnTo>
                    <a:pt x="646" y="929"/>
                  </a:lnTo>
                  <a:lnTo>
                    <a:pt x="656" y="951"/>
                  </a:lnTo>
                  <a:lnTo>
                    <a:pt x="655" y="966"/>
                  </a:lnTo>
                  <a:lnTo>
                    <a:pt x="669" y="986"/>
                  </a:lnTo>
                  <a:lnTo>
                    <a:pt x="669" y="993"/>
                  </a:lnTo>
                  <a:lnTo>
                    <a:pt x="663" y="1001"/>
                  </a:lnTo>
                  <a:lnTo>
                    <a:pt x="663" y="1001"/>
                  </a:lnTo>
                  <a:lnTo>
                    <a:pt x="662" y="1002"/>
                  </a:lnTo>
                  <a:lnTo>
                    <a:pt x="657" y="1002"/>
                  </a:lnTo>
                  <a:lnTo>
                    <a:pt x="652" y="1004"/>
                  </a:lnTo>
                  <a:lnTo>
                    <a:pt x="646" y="1007"/>
                  </a:lnTo>
                  <a:lnTo>
                    <a:pt x="638" y="1011"/>
                  </a:lnTo>
                  <a:lnTo>
                    <a:pt x="633" y="1017"/>
                  </a:lnTo>
                  <a:lnTo>
                    <a:pt x="630" y="1023"/>
                  </a:lnTo>
                  <a:lnTo>
                    <a:pt x="629" y="1031"/>
                  </a:lnTo>
                  <a:lnTo>
                    <a:pt x="629" y="1031"/>
                  </a:lnTo>
                  <a:lnTo>
                    <a:pt x="629" y="1032"/>
                  </a:lnTo>
                  <a:lnTo>
                    <a:pt x="629" y="1037"/>
                  </a:lnTo>
                  <a:lnTo>
                    <a:pt x="629" y="1041"/>
                  </a:lnTo>
                  <a:lnTo>
                    <a:pt x="627" y="1047"/>
                  </a:lnTo>
                  <a:lnTo>
                    <a:pt x="626" y="1052"/>
                  </a:lnTo>
                  <a:lnTo>
                    <a:pt x="624" y="1058"/>
                  </a:lnTo>
                  <a:lnTo>
                    <a:pt x="620" y="1062"/>
                  </a:lnTo>
                  <a:lnTo>
                    <a:pt x="616" y="1067"/>
                  </a:lnTo>
                  <a:lnTo>
                    <a:pt x="616" y="1067"/>
                  </a:lnTo>
                  <a:lnTo>
                    <a:pt x="614" y="1068"/>
                  </a:lnTo>
                  <a:lnTo>
                    <a:pt x="613" y="1070"/>
                  </a:lnTo>
                  <a:lnTo>
                    <a:pt x="611" y="1071"/>
                  </a:lnTo>
                  <a:lnTo>
                    <a:pt x="608" y="1073"/>
                  </a:lnTo>
                  <a:lnTo>
                    <a:pt x="607" y="1076"/>
                  </a:lnTo>
                  <a:lnTo>
                    <a:pt x="604" y="1077"/>
                  </a:lnTo>
                  <a:lnTo>
                    <a:pt x="602" y="1079"/>
                  </a:lnTo>
                  <a:lnTo>
                    <a:pt x="602" y="1079"/>
                  </a:lnTo>
                  <a:lnTo>
                    <a:pt x="600" y="1086"/>
                  </a:lnTo>
                  <a:lnTo>
                    <a:pt x="602" y="1097"/>
                  </a:lnTo>
                  <a:lnTo>
                    <a:pt x="597" y="1112"/>
                  </a:lnTo>
                  <a:lnTo>
                    <a:pt x="611" y="1118"/>
                  </a:lnTo>
                  <a:lnTo>
                    <a:pt x="611" y="1118"/>
                  </a:lnTo>
                  <a:lnTo>
                    <a:pt x="613" y="1119"/>
                  </a:lnTo>
                  <a:lnTo>
                    <a:pt x="613" y="1122"/>
                  </a:lnTo>
                  <a:lnTo>
                    <a:pt x="613" y="1127"/>
                  </a:lnTo>
                  <a:lnTo>
                    <a:pt x="613" y="1131"/>
                  </a:lnTo>
                  <a:lnTo>
                    <a:pt x="611" y="1137"/>
                  </a:lnTo>
                  <a:lnTo>
                    <a:pt x="610" y="1142"/>
                  </a:lnTo>
                  <a:lnTo>
                    <a:pt x="605" y="1144"/>
                  </a:lnTo>
                  <a:lnTo>
                    <a:pt x="602" y="1146"/>
                  </a:lnTo>
                  <a:lnTo>
                    <a:pt x="588" y="1146"/>
                  </a:lnTo>
                  <a:lnTo>
                    <a:pt x="381" y="1121"/>
                  </a:lnTo>
                  <a:lnTo>
                    <a:pt x="377" y="1114"/>
                  </a:lnTo>
                  <a:lnTo>
                    <a:pt x="381" y="1114"/>
                  </a:lnTo>
                  <a:lnTo>
                    <a:pt x="381" y="1104"/>
                  </a:lnTo>
                  <a:lnTo>
                    <a:pt x="376" y="1100"/>
                  </a:lnTo>
                  <a:lnTo>
                    <a:pt x="370" y="1104"/>
                  </a:lnTo>
                  <a:lnTo>
                    <a:pt x="370" y="1091"/>
                  </a:lnTo>
                  <a:lnTo>
                    <a:pt x="370" y="1091"/>
                  </a:lnTo>
                  <a:lnTo>
                    <a:pt x="370" y="1091"/>
                  </a:lnTo>
                  <a:lnTo>
                    <a:pt x="370" y="1089"/>
                  </a:lnTo>
                  <a:lnTo>
                    <a:pt x="371" y="1088"/>
                  </a:lnTo>
                  <a:lnTo>
                    <a:pt x="373" y="1086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6" y="1080"/>
                  </a:lnTo>
                  <a:lnTo>
                    <a:pt x="377" y="1076"/>
                  </a:lnTo>
                  <a:lnTo>
                    <a:pt x="377" y="1071"/>
                  </a:lnTo>
                  <a:lnTo>
                    <a:pt x="377" y="1067"/>
                  </a:lnTo>
                  <a:lnTo>
                    <a:pt x="377" y="1061"/>
                  </a:lnTo>
                  <a:lnTo>
                    <a:pt x="374" y="1055"/>
                  </a:lnTo>
                  <a:lnTo>
                    <a:pt x="373" y="1049"/>
                  </a:lnTo>
                  <a:lnTo>
                    <a:pt x="370" y="1041"/>
                  </a:lnTo>
                  <a:lnTo>
                    <a:pt x="366" y="1034"/>
                  </a:lnTo>
                  <a:lnTo>
                    <a:pt x="360" y="1025"/>
                  </a:lnTo>
                  <a:lnTo>
                    <a:pt x="360" y="1025"/>
                  </a:lnTo>
                  <a:lnTo>
                    <a:pt x="359" y="1023"/>
                  </a:lnTo>
                  <a:lnTo>
                    <a:pt x="357" y="1020"/>
                  </a:lnTo>
                  <a:lnTo>
                    <a:pt x="353" y="1018"/>
                  </a:lnTo>
                  <a:lnTo>
                    <a:pt x="350" y="1014"/>
                  </a:lnTo>
                  <a:lnTo>
                    <a:pt x="347" y="1010"/>
                  </a:lnTo>
                  <a:lnTo>
                    <a:pt x="344" y="1007"/>
                  </a:lnTo>
                  <a:lnTo>
                    <a:pt x="341" y="1004"/>
                  </a:lnTo>
                  <a:lnTo>
                    <a:pt x="340" y="1004"/>
                  </a:lnTo>
                  <a:lnTo>
                    <a:pt x="323" y="975"/>
                  </a:lnTo>
                  <a:lnTo>
                    <a:pt x="323" y="975"/>
                  </a:lnTo>
                  <a:lnTo>
                    <a:pt x="323" y="975"/>
                  </a:lnTo>
                  <a:lnTo>
                    <a:pt x="321" y="974"/>
                  </a:lnTo>
                  <a:lnTo>
                    <a:pt x="321" y="972"/>
                  </a:lnTo>
                  <a:lnTo>
                    <a:pt x="318" y="971"/>
                  </a:lnTo>
                  <a:lnTo>
                    <a:pt x="317" y="971"/>
                  </a:lnTo>
                  <a:lnTo>
                    <a:pt x="314" y="971"/>
                  </a:lnTo>
                  <a:lnTo>
                    <a:pt x="310" y="972"/>
                  </a:lnTo>
                  <a:lnTo>
                    <a:pt x="305" y="975"/>
                  </a:lnTo>
                  <a:lnTo>
                    <a:pt x="305" y="975"/>
                  </a:lnTo>
                  <a:lnTo>
                    <a:pt x="305" y="975"/>
                  </a:lnTo>
                  <a:lnTo>
                    <a:pt x="304" y="975"/>
                  </a:lnTo>
                  <a:lnTo>
                    <a:pt x="302" y="974"/>
                  </a:lnTo>
                  <a:lnTo>
                    <a:pt x="301" y="972"/>
                  </a:lnTo>
                  <a:lnTo>
                    <a:pt x="300" y="969"/>
                  </a:lnTo>
                  <a:lnTo>
                    <a:pt x="299" y="968"/>
                  </a:lnTo>
                  <a:lnTo>
                    <a:pt x="297" y="966"/>
                  </a:lnTo>
                  <a:lnTo>
                    <a:pt x="297" y="966"/>
                  </a:lnTo>
                  <a:lnTo>
                    <a:pt x="301" y="960"/>
                  </a:lnTo>
                  <a:lnTo>
                    <a:pt x="301" y="955"/>
                  </a:lnTo>
                  <a:lnTo>
                    <a:pt x="301" y="955"/>
                  </a:lnTo>
                  <a:lnTo>
                    <a:pt x="301" y="955"/>
                  </a:lnTo>
                  <a:lnTo>
                    <a:pt x="300" y="953"/>
                  </a:lnTo>
                  <a:lnTo>
                    <a:pt x="300" y="950"/>
                  </a:lnTo>
                  <a:lnTo>
                    <a:pt x="297" y="945"/>
                  </a:lnTo>
                  <a:lnTo>
                    <a:pt x="294" y="942"/>
                  </a:lnTo>
                  <a:lnTo>
                    <a:pt x="290" y="938"/>
                  </a:lnTo>
                  <a:lnTo>
                    <a:pt x="284" y="936"/>
                  </a:lnTo>
                  <a:lnTo>
                    <a:pt x="275" y="935"/>
                  </a:lnTo>
                  <a:lnTo>
                    <a:pt x="275" y="935"/>
                  </a:lnTo>
                  <a:lnTo>
                    <a:pt x="274" y="935"/>
                  </a:lnTo>
                  <a:lnTo>
                    <a:pt x="274" y="935"/>
                  </a:lnTo>
                  <a:lnTo>
                    <a:pt x="271" y="935"/>
                  </a:lnTo>
                  <a:lnTo>
                    <a:pt x="267" y="933"/>
                  </a:lnTo>
                  <a:lnTo>
                    <a:pt x="263" y="930"/>
                  </a:lnTo>
                  <a:lnTo>
                    <a:pt x="255" y="926"/>
                  </a:lnTo>
                  <a:lnTo>
                    <a:pt x="248" y="920"/>
                  </a:lnTo>
                  <a:lnTo>
                    <a:pt x="238" y="909"/>
                  </a:lnTo>
                  <a:lnTo>
                    <a:pt x="238" y="909"/>
                  </a:lnTo>
                  <a:lnTo>
                    <a:pt x="238" y="908"/>
                  </a:lnTo>
                  <a:lnTo>
                    <a:pt x="238" y="906"/>
                  </a:lnTo>
                  <a:lnTo>
                    <a:pt x="236" y="902"/>
                  </a:lnTo>
                  <a:lnTo>
                    <a:pt x="235" y="896"/>
                  </a:lnTo>
                  <a:lnTo>
                    <a:pt x="233" y="892"/>
                  </a:lnTo>
                  <a:lnTo>
                    <a:pt x="228" y="887"/>
                  </a:lnTo>
                  <a:lnTo>
                    <a:pt x="222" y="881"/>
                  </a:lnTo>
                  <a:lnTo>
                    <a:pt x="215" y="875"/>
                  </a:lnTo>
                  <a:lnTo>
                    <a:pt x="215" y="875"/>
                  </a:lnTo>
                  <a:lnTo>
                    <a:pt x="213" y="875"/>
                  </a:lnTo>
                  <a:lnTo>
                    <a:pt x="212" y="875"/>
                  </a:lnTo>
                  <a:lnTo>
                    <a:pt x="210" y="875"/>
                  </a:lnTo>
                  <a:lnTo>
                    <a:pt x="208" y="875"/>
                  </a:lnTo>
                  <a:lnTo>
                    <a:pt x="206" y="875"/>
                  </a:lnTo>
                  <a:lnTo>
                    <a:pt x="205" y="875"/>
                  </a:lnTo>
                  <a:lnTo>
                    <a:pt x="203" y="875"/>
                  </a:lnTo>
                  <a:lnTo>
                    <a:pt x="203" y="875"/>
                  </a:lnTo>
                  <a:lnTo>
                    <a:pt x="198" y="870"/>
                  </a:lnTo>
                  <a:lnTo>
                    <a:pt x="189" y="870"/>
                  </a:lnTo>
                  <a:lnTo>
                    <a:pt x="189" y="870"/>
                  </a:lnTo>
                  <a:lnTo>
                    <a:pt x="188" y="869"/>
                  </a:lnTo>
                  <a:lnTo>
                    <a:pt x="186" y="867"/>
                  </a:lnTo>
                  <a:lnTo>
                    <a:pt x="183" y="864"/>
                  </a:lnTo>
                  <a:lnTo>
                    <a:pt x="177" y="861"/>
                  </a:lnTo>
                  <a:lnTo>
                    <a:pt x="172" y="858"/>
                  </a:lnTo>
                  <a:lnTo>
                    <a:pt x="165" y="857"/>
                  </a:lnTo>
                  <a:lnTo>
                    <a:pt x="155" y="855"/>
                  </a:lnTo>
                  <a:lnTo>
                    <a:pt x="144" y="855"/>
                  </a:lnTo>
                  <a:lnTo>
                    <a:pt x="144" y="855"/>
                  </a:lnTo>
                  <a:lnTo>
                    <a:pt x="144" y="855"/>
                  </a:lnTo>
                  <a:lnTo>
                    <a:pt x="143" y="854"/>
                  </a:lnTo>
                  <a:lnTo>
                    <a:pt x="143" y="852"/>
                  </a:lnTo>
                  <a:lnTo>
                    <a:pt x="141" y="851"/>
                  </a:lnTo>
                  <a:lnTo>
                    <a:pt x="141" y="849"/>
                  </a:lnTo>
                  <a:lnTo>
                    <a:pt x="140" y="848"/>
                  </a:lnTo>
                  <a:lnTo>
                    <a:pt x="140" y="846"/>
                  </a:lnTo>
                  <a:lnTo>
                    <a:pt x="140" y="846"/>
                  </a:lnTo>
                  <a:lnTo>
                    <a:pt x="136" y="840"/>
                  </a:lnTo>
                  <a:lnTo>
                    <a:pt x="132" y="840"/>
                  </a:lnTo>
                  <a:lnTo>
                    <a:pt x="132" y="833"/>
                  </a:lnTo>
                  <a:lnTo>
                    <a:pt x="139" y="827"/>
                  </a:lnTo>
                  <a:lnTo>
                    <a:pt x="137" y="816"/>
                  </a:lnTo>
                  <a:lnTo>
                    <a:pt x="143" y="810"/>
                  </a:lnTo>
                  <a:lnTo>
                    <a:pt x="140" y="798"/>
                  </a:lnTo>
                  <a:lnTo>
                    <a:pt x="140" y="798"/>
                  </a:lnTo>
                  <a:lnTo>
                    <a:pt x="140" y="797"/>
                  </a:lnTo>
                  <a:lnTo>
                    <a:pt x="143" y="795"/>
                  </a:lnTo>
                  <a:lnTo>
                    <a:pt x="144" y="789"/>
                  </a:lnTo>
                  <a:lnTo>
                    <a:pt x="146" y="785"/>
                  </a:lnTo>
                  <a:lnTo>
                    <a:pt x="147" y="779"/>
                  </a:lnTo>
                  <a:lnTo>
                    <a:pt x="146" y="776"/>
                  </a:lnTo>
                  <a:lnTo>
                    <a:pt x="143" y="773"/>
                  </a:lnTo>
                  <a:lnTo>
                    <a:pt x="137" y="774"/>
                  </a:lnTo>
                  <a:lnTo>
                    <a:pt x="137" y="774"/>
                  </a:lnTo>
                  <a:lnTo>
                    <a:pt x="137" y="774"/>
                  </a:lnTo>
                  <a:lnTo>
                    <a:pt x="136" y="773"/>
                  </a:lnTo>
                  <a:lnTo>
                    <a:pt x="134" y="771"/>
                  </a:lnTo>
                  <a:lnTo>
                    <a:pt x="133" y="770"/>
                  </a:lnTo>
                  <a:lnTo>
                    <a:pt x="132" y="768"/>
                  </a:lnTo>
                  <a:lnTo>
                    <a:pt x="131" y="767"/>
                  </a:lnTo>
                  <a:lnTo>
                    <a:pt x="131" y="766"/>
                  </a:lnTo>
                  <a:lnTo>
                    <a:pt x="129" y="766"/>
                  </a:lnTo>
                  <a:lnTo>
                    <a:pt x="129" y="766"/>
                  </a:lnTo>
                  <a:lnTo>
                    <a:pt x="131" y="764"/>
                  </a:lnTo>
                  <a:lnTo>
                    <a:pt x="132" y="762"/>
                  </a:lnTo>
                  <a:lnTo>
                    <a:pt x="133" y="758"/>
                  </a:lnTo>
                  <a:lnTo>
                    <a:pt x="136" y="753"/>
                  </a:lnTo>
                  <a:lnTo>
                    <a:pt x="137" y="749"/>
                  </a:lnTo>
                  <a:lnTo>
                    <a:pt x="136" y="744"/>
                  </a:lnTo>
                  <a:lnTo>
                    <a:pt x="134" y="741"/>
                  </a:lnTo>
                  <a:lnTo>
                    <a:pt x="131" y="740"/>
                  </a:lnTo>
                  <a:lnTo>
                    <a:pt x="131" y="740"/>
                  </a:lnTo>
                  <a:lnTo>
                    <a:pt x="131" y="740"/>
                  </a:lnTo>
                  <a:lnTo>
                    <a:pt x="128" y="737"/>
                  </a:lnTo>
                  <a:lnTo>
                    <a:pt x="126" y="734"/>
                  </a:lnTo>
                  <a:lnTo>
                    <a:pt x="125" y="731"/>
                  </a:lnTo>
                  <a:lnTo>
                    <a:pt x="123" y="728"/>
                  </a:lnTo>
                  <a:lnTo>
                    <a:pt x="122" y="723"/>
                  </a:lnTo>
                  <a:lnTo>
                    <a:pt x="120" y="722"/>
                  </a:lnTo>
                  <a:lnTo>
                    <a:pt x="120" y="720"/>
                  </a:lnTo>
                  <a:lnTo>
                    <a:pt x="110" y="710"/>
                  </a:lnTo>
                  <a:lnTo>
                    <a:pt x="108" y="696"/>
                  </a:lnTo>
                  <a:lnTo>
                    <a:pt x="101" y="680"/>
                  </a:lnTo>
                  <a:lnTo>
                    <a:pt x="100" y="672"/>
                  </a:lnTo>
                  <a:lnTo>
                    <a:pt x="95" y="665"/>
                  </a:lnTo>
                  <a:lnTo>
                    <a:pt x="95" y="665"/>
                  </a:lnTo>
                  <a:lnTo>
                    <a:pt x="96" y="665"/>
                  </a:lnTo>
                  <a:lnTo>
                    <a:pt x="96" y="663"/>
                  </a:lnTo>
                  <a:lnTo>
                    <a:pt x="96" y="662"/>
                  </a:lnTo>
                  <a:lnTo>
                    <a:pt x="96" y="659"/>
                  </a:lnTo>
                  <a:lnTo>
                    <a:pt x="93" y="656"/>
                  </a:lnTo>
                  <a:lnTo>
                    <a:pt x="92" y="651"/>
                  </a:lnTo>
                  <a:lnTo>
                    <a:pt x="87" y="647"/>
                  </a:lnTo>
                  <a:lnTo>
                    <a:pt x="81" y="641"/>
                  </a:lnTo>
                  <a:lnTo>
                    <a:pt x="81" y="641"/>
                  </a:lnTo>
                  <a:lnTo>
                    <a:pt x="80" y="640"/>
                  </a:lnTo>
                  <a:lnTo>
                    <a:pt x="78" y="638"/>
                  </a:lnTo>
                  <a:lnTo>
                    <a:pt x="78" y="637"/>
                  </a:lnTo>
                  <a:lnTo>
                    <a:pt x="78" y="636"/>
                  </a:lnTo>
                  <a:lnTo>
                    <a:pt x="77" y="633"/>
                  </a:lnTo>
                  <a:lnTo>
                    <a:pt x="77" y="632"/>
                  </a:lnTo>
                  <a:lnTo>
                    <a:pt x="77" y="630"/>
                  </a:lnTo>
                  <a:lnTo>
                    <a:pt x="77" y="630"/>
                  </a:lnTo>
                  <a:lnTo>
                    <a:pt x="81" y="626"/>
                  </a:lnTo>
                  <a:lnTo>
                    <a:pt x="78" y="609"/>
                  </a:lnTo>
                  <a:lnTo>
                    <a:pt x="83" y="607"/>
                  </a:lnTo>
                  <a:lnTo>
                    <a:pt x="80" y="603"/>
                  </a:lnTo>
                  <a:lnTo>
                    <a:pt x="84" y="599"/>
                  </a:lnTo>
                  <a:lnTo>
                    <a:pt x="84" y="599"/>
                  </a:lnTo>
                  <a:lnTo>
                    <a:pt x="84" y="599"/>
                  </a:lnTo>
                  <a:lnTo>
                    <a:pt x="84" y="600"/>
                  </a:lnTo>
                  <a:lnTo>
                    <a:pt x="84" y="602"/>
                  </a:lnTo>
                  <a:lnTo>
                    <a:pt x="86" y="603"/>
                  </a:lnTo>
                  <a:lnTo>
                    <a:pt x="89" y="603"/>
                  </a:lnTo>
                  <a:lnTo>
                    <a:pt x="89" y="603"/>
                  </a:lnTo>
                  <a:lnTo>
                    <a:pt x="92" y="600"/>
                  </a:lnTo>
                  <a:lnTo>
                    <a:pt x="96" y="596"/>
                  </a:lnTo>
                  <a:lnTo>
                    <a:pt x="98" y="588"/>
                  </a:lnTo>
                  <a:lnTo>
                    <a:pt x="99" y="581"/>
                  </a:lnTo>
                  <a:lnTo>
                    <a:pt x="100" y="575"/>
                  </a:lnTo>
                  <a:lnTo>
                    <a:pt x="99" y="570"/>
                  </a:lnTo>
                  <a:lnTo>
                    <a:pt x="96" y="566"/>
                  </a:lnTo>
                  <a:lnTo>
                    <a:pt x="92" y="564"/>
                  </a:lnTo>
                  <a:lnTo>
                    <a:pt x="92" y="564"/>
                  </a:lnTo>
                  <a:lnTo>
                    <a:pt x="90" y="564"/>
                  </a:lnTo>
                  <a:lnTo>
                    <a:pt x="90" y="564"/>
                  </a:lnTo>
                  <a:lnTo>
                    <a:pt x="92" y="564"/>
                  </a:lnTo>
                  <a:lnTo>
                    <a:pt x="92" y="564"/>
                  </a:lnTo>
                  <a:lnTo>
                    <a:pt x="81" y="563"/>
                  </a:lnTo>
                  <a:lnTo>
                    <a:pt x="65" y="540"/>
                  </a:lnTo>
                  <a:lnTo>
                    <a:pt x="65" y="534"/>
                  </a:lnTo>
                  <a:lnTo>
                    <a:pt x="65" y="534"/>
                  </a:lnTo>
                  <a:lnTo>
                    <a:pt x="65" y="533"/>
                  </a:lnTo>
                  <a:lnTo>
                    <a:pt x="65" y="533"/>
                  </a:lnTo>
                  <a:lnTo>
                    <a:pt x="63" y="531"/>
                  </a:lnTo>
                  <a:lnTo>
                    <a:pt x="63" y="530"/>
                  </a:lnTo>
                  <a:lnTo>
                    <a:pt x="63" y="527"/>
                  </a:lnTo>
                  <a:lnTo>
                    <a:pt x="63" y="524"/>
                  </a:lnTo>
                  <a:lnTo>
                    <a:pt x="65" y="521"/>
                  </a:lnTo>
                  <a:lnTo>
                    <a:pt x="66" y="516"/>
                  </a:lnTo>
                  <a:lnTo>
                    <a:pt x="66" y="516"/>
                  </a:lnTo>
                  <a:lnTo>
                    <a:pt x="66" y="515"/>
                  </a:lnTo>
                  <a:lnTo>
                    <a:pt x="66" y="514"/>
                  </a:lnTo>
                  <a:lnTo>
                    <a:pt x="66" y="511"/>
                  </a:lnTo>
                  <a:lnTo>
                    <a:pt x="66" y="509"/>
                  </a:lnTo>
                  <a:lnTo>
                    <a:pt x="66" y="506"/>
                  </a:lnTo>
                  <a:lnTo>
                    <a:pt x="66" y="503"/>
                  </a:lnTo>
                  <a:lnTo>
                    <a:pt x="66" y="501"/>
                  </a:lnTo>
                  <a:lnTo>
                    <a:pt x="66" y="500"/>
                  </a:lnTo>
                  <a:lnTo>
                    <a:pt x="65" y="495"/>
                  </a:lnTo>
                  <a:lnTo>
                    <a:pt x="65" y="488"/>
                  </a:lnTo>
                  <a:lnTo>
                    <a:pt x="67" y="484"/>
                  </a:lnTo>
                  <a:lnTo>
                    <a:pt x="70" y="473"/>
                  </a:lnTo>
                  <a:lnTo>
                    <a:pt x="70" y="473"/>
                  </a:lnTo>
                  <a:lnTo>
                    <a:pt x="70" y="473"/>
                  </a:lnTo>
                  <a:lnTo>
                    <a:pt x="70" y="471"/>
                  </a:lnTo>
                  <a:lnTo>
                    <a:pt x="71" y="470"/>
                  </a:lnTo>
                  <a:lnTo>
                    <a:pt x="72" y="468"/>
                  </a:lnTo>
                  <a:lnTo>
                    <a:pt x="74" y="468"/>
                  </a:lnTo>
                  <a:lnTo>
                    <a:pt x="75" y="468"/>
                  </a:lnTo>
                  <a:lnTo>
                    <a:pt x="77" y="470"/>
                  </a:lnTo>
                  <a:lnTo>
                    <a:pt x="78" y="474"/>
                  </a:lnTo>
                  <a:lnTo>
                    <a:pt x="78" y="474"/>
                  </a:lnTo>
                  <a:lnTo>
                    <a:pt x="78" y="476"/>
                  </a:lnTo>
                  <a:lnTo>
                    <a:pt x="78" y="477"/>
                  </a:lnTo>
                  <a:lnTo>
                    <a:pt x="78" y="478"/>
                  </a:lnTo>
                  <a:lnTo>
                    <a:pt x="77" y="481"/>
                  </a:lnTo>
                  <a:lnTo>
                    <a:pt x="77" y="482"/>
                  </a:lnTo>
                  <a:lnTo>
                    <a:pt x="75" y="485"/>
                  </a:lnTo>
                  <a:lnTo>
                    <a:pt x="75" y="485"/>
                  </a:lnTo>
                  <a:lnTo>
                    <a:pt x="75" y="486"/>
                  </a:lnTo>
                  <a:lnTo>
                    <a:pt x="77" y="489"/>
                  </a:lnTo>
                  <a:lnTo>
                    <a:pt x="84" y="497"/>
                  </a:lnTo>
                  <a:lnTo>
                    <a:pt x="86" y="501"/>
                  </a:lnTo>
                  <a:lnTo>
                    <a:pt x="96" y="512"/>
                  </a:lnTo>
                  <a:lnTo>
                    <a:pt x="96" y="512"/>
                  </a:lnTo>
                  <a:lnTo>
                    <a:pt x="98" y="514"/>
                  </a:lnTo>
                  <a:lnTo>
                    <a:pt x="99" y="514"/>
                  </a:lnTo>
                  <a:lnTo>
                    <a:pt x="101" y="512"/>
                  </a:lnTo>
                  <a:lnTo>
                    <a:pt x="100" y="509"/>
                  </a:lnTo>
                  <a:lnTo>
                    <a:pt x="100" y="509"/>
                  </a:lnTo>
                  <a:lnTo>
                    <a:pt x="100" y="509"/>
                  </a:lnTo>
                  <a:lnTo>
                    <a:pt x="99" y="507"/>
                  </a:lnTo>
                  <a:lnTo>
                    <a:pt x="98" y="504"/>
                  </a:lnTo>
                  <a:lnTo>
                    <a:pt x="96" y="503"/>
                  </a:lnTo>
                  <a:lnTo>
                    <a:pt x="95" y="500"/>
                  </a:lnTo>
                  <a:lnTo>
                    <a:pt x="93" y="497"/>
                  </a:lnTo>
                  <a:lnTo>
                    <a:pt x="93" y="492"/>
                  </a:lnTo>
                  <a:lnTo>
                    <a:pt x="93" y="489"/>
                  </a:lnTo>
                  <a:lnTo>
                    <a:pt x="93" y="489"/>
                  </a:lnTo>
                  <a:lnTo>
                    <a:pt x="93" y="489"/>
                  </a:lnTo>
                  <a:lnTo>
                    <a:pt x="93" y="488"/>
                  </a:lnTo>
                  <a:lnTo>
                    <a:pt x="93" y="488"/>
                  </a:lnTo>
                  <a:lnTo>
                    <a:pt x="93" y="485"/>
                  </a:lnTo>
                  <a:lnTo>
                    <a:pt x="93" y="484"/>
                  </a:lnTo>
                  <a:lnTo>
                    <a:pt x="92" y="482"/>
                  </a:lnTo>
                  <a:lnTo>
                    <a:pt x="90" y="481"/>
                  </a:lnTo>
                  <a:lnTo>
                    <a:pt x="89" y="478"/>
                  </a:lnTo>
                  <a:lnTo>
                    <a:pt x="89" y="478"/>
                  </a:lnTo>
                  <a:lnTo>
                    <a:pt x="89" y="478"/>
                  </a:lnTo>
                  <a:lnTo>
                    <a:pt x="89" y="477"/>
                  </a:lnTo>
                  <a:lnTo>
                    <a:pt x="89" y="476"/>
                  </a:lnTo>
                  <a:lnTo>
                    <a:pt x="89" y="474"/>
                  </a:lnTo>
                  <a:lnTo>
                    <a:pt x="89" y="473"/>
                  </a:lnTo>
                  <a:lnTo>
                    <a:pt x="89" y="471"/>
                  </a:lnTo>
                  <a:lnTo>
                    <a:pt x="89" y="470"/>
                  </a:lnTo>
                  <a:lnTo>
                    <a:pt x="89" y="470"/>
                  </a:lnTo>
                  <a:lnTo>
                    <a:pt x="84" y="459"/>
                  </a:lnTo>
                  <a:lnTo>
                    <a:pt x="84" y="452"/>
                  </a:lnTo>
                  <a:lnTo>
                    <a:pt x="89" y="451"/>
                  </a:lnTo>
                  <a:lnTo>
                    <a:pt x="100" y="446"/>
                  </a:lnTo>
                  <a:lnTo>
                    <a:pt x="103" y="448"/>
                  </a:lnTo>
                  <a:lnTo>
                    <a:pt x="105" y="451"/>
                  </a:lnTo>
                  <a:lnTo>
                    <a:pt x="122" y="453"/>
                  </a:lnTo>
                  <a:lnTo>
                    <a:pt x="126" y="453"/>
                  </a:lnTo>
                  <a:lnTo>
                    <a:pt x="132" y="458"/>
                  </a:lnTo>
                  <a:lnTo>
                    <a:pt x="125" y="449"/>
                  </a:lnTo>
                  <a:lnTo>
                    <a:pt x="125" y="444"/>
                  </a:lnTo>
                  <a:lnTo>
                    <a:pt x="116" y="444"/>
                  </a:lnTo>
                  <a:lnTo>
                    <a:pt x="110" y="446"/>
                  </a:lnTo>
                  <a:lnTo>
                    <a:pt x="104" y="446"/>
                  </a:lnTo>
                  <a:lnTo>
                    <a:pt x="101" y="444"/>
                  </a:lnTo>
                  <a:lnTo>
                    <a:pt x="101" y="444"/>
                  </a:lnTo>
                  <a:lnTo>
                    <a:pt x="100" y="443"/>
                  </a:lnTo>
                  <a:lnTo>
                    <a:pt x="99" y="441"/>
                  </a:lnTo>
                  <a:lnTo>
                    <a:pt x="96" y="438"/>
                  </a:lnTo>
                  <a:lnTo>
                    <a:pt x="93" y="437"/>
                  </a:lnTo>
                  <a:lnTo>
                    <a:pt x="90" y="434"/>
                  </a:lnTo>
                  <a:lnTo>
                    <a:pt x="87" y="434"/>
                  </a:lnTo>
                  <a:lnTo>
                    <a:pt x="83" y="435"/>
                  </a:lnTo>
                  <a:lnTo>
                    <a:pt x="81" y="438"/>
                  </a:lnTo>
                  <a:lnTo>
                    <a:pt x="81" y="438"/>
                  </a:lnTo>
                  <a:lnTo>
                    <a:pt x="80" y="440"/>
                  </a:lnTo>
                  <a:lnTo>
                    <a:pt x="78" y="441"/>
                  </a:lnTo>
                  <a:lnTo>
                    <a:pt x="78" y="443"/>
                  </a:lnTo>
                  <a:lnTo>
                    <a:pt x="78" y="443"/>
                  </a:lnTo>
                  <a:lnTo>
                    <a:pt x="78" y="461"/>
                  </a:lnTo>
                  <a:lnTo>
                    <a:pt x="75" y="464"/>
                  </a:lnTo>
                  <a:lnTo>
                    <a:pt x="70" y="462"/>
                  </a:lnTo>
                  <a:lnTo>
                    <a:pt x="65" y="453"/>
                  </a:lnTo>
                  <a:lnTo>
                    <a:pt x="62" y="451"/>
                  </a:lnTo>
                  <a:lnTo>
                    <a:pt x="56" y="451"/>
                  </a:lnTo>
                  <a:lnTo>
                    <a:pt x="56" y="451"/>
                  </a:lnTo>
                  <a:lnTo>
                    <a:pt x="56" y="449"/>
                  </a:lnTo>
                  <a:lnTo>
                    <a:pt x="54" y="446"/>
                  </a:lnTo>
                  <a:lnTo>
                    <a:pt x="53" y="444"/>
                  </a:lnTo>
                  <a:lnTo>
                    <a:pt x="51" y="441"/>
                  </a:lnTo>
                  <a:lnTo>
                    <a:pt x="48" y="437"/>
                  </a:lnTo>
                  <a:lnTo>
                    <a:pt x="45" y="434"/>
                  </a:lnTo>
                  <a:lnTo>
                    <a:pt x="42" y="434"/>
                  </a:lnTo>
                  <a:lnTo>
                    <a:pt x="38" y="434"/>
                  </a:lnTo>
                  <a:lnTo>
                    <a:pt x="38" y="434"/>
                  </a:lnTo>
                  <a:lnTo>
                    <a:pt x="38" y="434"/>
                  </a:lnTo>
                  <a:lnTo>
                    <a:pt x="38" y="434"/>
                  </a:lnTo>
                  <a:lnTo>
                    <a:pt x="38" y="432"/>
                  </a:lnTo>
                  <a:lnTo>
                    <a:pt x="38" y="432"/>
                  </a:lnTo>
                  <a:lnTo>
                    <a:pt x="44" y="425"/>
                  </a:lnTo>
                  <a:lnTo>
                    <a:pt x="47" y="421"/>
                  </a:lnTo>
                  <a:lnTo>
                    <a:pt x="45" y="415"/>
                  </a:lnTo>
                  <a:lnTo>
                    <a:pt x="48" y="410"/>
                  </a:lnTo>
                  <a:lnTo>
                    <a:pt x="41" y="401"/>
                  </a:lnTo>
                  <a:lnTo>
                    <a:pt x="42" y="390"/>
                  </a:lnTo>
                  <a:lnTo>
                    <a:pt x="35" y="382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4" y="378"/>
                  </a:lnTo>
                  <a:lnTo>
                    <a:pt x="32" y="375"/>
                  </a:lnTo>
                  <a:lnTo>
                    <a:pt x="30" y="372"/>
                  </a:lnTo>
                  <a:lnTo>
                    <a:pt x="27" y="369"/>
                  </a:lnTo>
                  <a:lnTo>
                    <a:pt x="26" y="365"/>
                  </a:lnTo>
                  <a:lnTo>
                    <a:pt x="24" y="360"/>
                  </a:lnTo>
                  <a:lnTo>
                    <a:pt x="24" y="355"/>
                  </a:lnTo>
                  <a:lnTo>
                    <a:pt x="24" y="355"/>
                  </a:lnTo>
                  <a:lnTo>
                    <a:pt x="24" y="355"/>
                  </a:lnTo>
                  <a:lnTo>
                    <a:pt x="23" y="352"/>
                  </a:lnTo>
                  <a:lnTo>
                    <a:pt x="23" y="350"/>
                  </a:lnTo>
                  <a:lnTo>
                    <a:pt x="20" y="345"/>
                  </a:lnTo>
                  <a:lnTo>
                    <a:pt x="18" y="342"/>
                  </a:lnTo>
                  <a:lnTo>
                    <a:pt x="15" y="338"/>
                  </a:lnTo>
                  <a:lnTo>
                    <a:pt x="14" y="333"/>
                  </a:lnTo>
                  <a:lnTo>
                    <a:pt x="11" y="330"/>
                  </a:lnTo>
                  <a:lnTo>
                    <a:pt x="11" y="330"/>
                  </a:lnTo>
                  <a:lnTo>
                    <a:pt x="11" y="329"/>
                  </a:lnTo>
                  <a:lnTo>
                    <a:pt x="9" y="327"/>
                  </a:lnTo>
                  <a:lnTo>
                    <a:pt x="9" y="326"/>
                  </a:lnTo>
                  <a:lnTo>
                    <a:pt x="9" y="325"/>
                  </a:lnTo>
                  <a:lnTo>
                    <a:pt x="8" y="323"/>
                  </a:lnTo>
                  <a:lnTo>
                    <a:pt x="8" y="320"/>
                  </a:lnTo>
                  <a:lnTo>
                    <a:pt x="17" y="312"/>
                  </a:lnTo>
                  <a:lnTo>
                    <a:pt x="17" y="312"/>
                  </a:lnTo>
                  <a:lnTo>
                    <a:pt x="17" y="312"/>
                  </a:lnTo>
                  <a:lnTo>
                    <a:pt x="17" y="311"/>
                  </a:lnTo>
                  <a:lnTo>
                    <a:pt x="17" y="308"/>
                  </a:lnTo>
                  <a:lnTo>
                    <a:pt x="15" y="306"/>
                  </a:lnTo>
                  <a:lnTo>
                    <a:pt x="15" y="302"/>
                  </a:lnTo>
                  <a:lnTo>
                    <a:pt x="15" y="299"/>
                  </a:lnTo>
                  <a:lnTo>
                    <a:pt x="15" y="295"/>
                  </a:lnTo>
                  <a:lnTo>
                    <a:pt x="14" y="290"/>
                  </a:lnTo>
                  <a:lnTo>
                    <a:pt x="14" y="285"/>
                  </a:lnTo>
                  <a:lnTo>
                    <a:pt x="15" y="281"/>
                  </a:lnTo>
                  <a:lnTo>
                    <a:pt x="15" y="276"/>
                  </a:lnTo>
                  <a:lnTo>
                    <a:pt x="15" y="272"/>
                  </a:lnTo>
                  <a:lnTo>
                    <a:pt x="17" y="267"/>
                  </a:lnTo>
                  <a:lnTo>
                    <a:pt x="20" y="263"/>
                  </a:lnTo>
                  <a:lnTo>
                    <a:pt x="21" y="259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4"/>
                  </a:lnTo>
                  <a:lnTo>
                    <a:pt x="24" y="251"/>
                  </a:lnTo>
                  <a:lnTo>
                    <a:pt x="24" y="246"/>
                  </a:lnTo>
                  <a:lnTo>
                    <a:pt x="26" y="240"/>
                  </a:lnTo>
                  <a:lnTo>
                    <a:pt x="26" y="234"/>
                  </a:lnTo>
                  <a:lnTo>
                    <a:pt x="26" y="229"/>
                  </a:lnTo>
                  <a:lnTo>
                    <a:pt x="26" y="226"/>
                  </a:lnTo>
                  <a:lnTo>
                    <a:pt x="26" y="224"/>
                  </a:lnTo>
                  <a:lnTo>
                    <a:pt x="26" y="224"/>
                  </a:lnTo>
                  <a:lnTo>
                    <a:pt x="26" y="223"/>
                  </a:lnTo>
                  <a:lnTo>
                    <a:pt x="24" y="222"/>
                  </a:lnTo>
                  <a:lnTo>
                    <a:pt x="24" y="219"/>
                  </a:lnTo>
                  <a:lnTo>
                    <a:pt x="23" y="216"/>
                  </a:lnTo>
                  <a:lnTo>
                    <a:pt x="20" y="212"/>
                  </a:lnTo>
                  <a:lnTo>
                    <a:pt x="18" y="209"/>
                  </a:lnTo>
                  <a:lnTo>
                    <a:pt x="15" y="206"/>
                  </a:lnTo>
                  <a:lnTo>
                    <a:pt x="14" y="204"/>
                  </a:lnTo>
                  <a:lnTo>
                    <a:pt x="14" y="204"/>
                  </a:lnTo>
                  <a:lnTo>
                    <a:pt x="14" y="203"/>
                  </a:lnTo>
                  <a:lnTo>
                    <a:pt x="14" y="200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2" y="196"/>
                  </a:lnTo>
                  <a:lnTo>
                    <a:pt x="11" y="194"/>
                  </a:lnTo>
                  <a:lnTo>
                    <a:pt x="8" y="191"/>
                  </a:lnTo>
                  <a:lnTo>
                    <a:pt x="5" y="189"/>
                  </a:lnTo>
                  <a:lnTo>
                    <a:pt x="3" y="185"/>
                  </a:lnTo>
                  <a:lnTo>
                    <a:pt x="2" y="180"/>
                  </a:lnTo>
                  <a:lnTo>
                    <a:pt x="1" y="176"/>
                  </a:lnTo>
                  <a:lnTo>
                    <a:pt x="0" y="170"/>
                  </a:lnTo>
                  <a:lnTo>
                    <a:pt x="0" y="164"/>
                  </a:lnTo>
                  <a:lnTo>
                    <a:pt x="1" y="158"/>
                  </a:lnTo>
                  <a:lnTo>
                    <a:pt x="3" y="150"/>
                  </a:lnTo>
                  <a:lnTo>
                    <a:pt x="8" y="143"/>
                  </a:lnTo>
                  <a:lnTo>
                    <a:pt x="14" y="134"/>
                  </a:lnTo>
                  <a:lnTo>
                    <a:pt x="23" y="126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4" y="116"/>
                  </a:lnTo>
                  <a:lnTo>
                    <a:pt x="35" y="114"/>
                  </a:lnTo>
                  <a:lnTo>
                    <a:pt x="36" y="111"/>
                  </a:lnTo>
                  <a:lnTo>
                    <a:pt x="38" y="107"/>
                  </a:lnTo>
                  <a:lnTo>
                    <a:pt x="39" y="103"/>
                  </a:lnTo>
                  <a:lnTo>
                    <a:pt x="41" y="98"/>
                  </a:lnTo>
                  <a:lnTo>
                    <a:pt x="41" y="95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89"/>
                  </a:lnTo>
                  <a:lnTo>
                    <a:pt x="44" y="84"/>
                  </a:lnTo>
                  <a:lnTo>
                    <a:pt x="47" y="78"/>
                  </a:lnTo>
                  <a:lnTo>
                    <a:pt x="51" y="73"/>
                  </a:lnTo>
                  <a:lnTo>
                    <a:pt x="56" y="65"/>
                  </a:lnTo>
                  <a:lnTo>
                    <a:pt x="57" y="59"/>
                  </a:lnTo>
                  <a:lnTo>
                    <a:pt x="59" y="51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3"/>
                  </a:lnTo>
                  <a:lnTo>
                    <a:pt x="59" y="41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9" y="37"/>
                  </a:lnTo>
                  <a:lnTo>
                    <a:pt x="59" y="29"/>
                  </a:lnTo>
                  <a:lnTo>
                    <a:pt x="54" y="23"/>
                  </a:lnTo>
                  <a:lnTo>
                    <a:pt x="56" y="20"/>
                  </a:lnTo>
                  <a:lnTo>
                    <a:pt x="63" y="8"/>
                  </a:lnTo>
                  <a:lnTo>
                    <a:pt x="65" y="2"/>
                  </a:lnTo>
                  <a:lnTo>
                    <a:pt x="63" y="0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" name="Freeform 9"/>
            <p:cNvSpPr>
              <a:spLocks/>
            </p:cNvSpPr>
            <p:nvPr/>
          </p:nvSpPr>
          <p:spPr bwMode="auto">
            <a:xfrm>
              <a:off x="944817" y="4417543"/>
              <a:ext cx="357469" cy="552034"/>
            </a:xfrm>
            <a:custGeom>
              <a:avLst/>
              <a:gdLst>
                <a:gd name="T0" fmla="*/ 0 w 532"/>
                <a:gd name="T1" fmla="*/ 309 h 823"/>
                <a:gd name="T2" fmla="*/ 79 w 532"/>
                <a:gd name="T3" fmla="*/ 1 h 823"/>
                <a:gd name="T4" fmla="*/ 101 w 532"/>
                <a:gd name="T5" fmla="*/ 7 h 823"/>
                <a:gd name="T6" fmla="*/ 123 w 532"/>
                <a:gd name="T7" fmla="*/ 13 h 823"/>
                <a:gd name="T8" fmla="*/ 143 w 532"/>
                <a:gd name="T9" fmla="*/ 17 h 823"/>
                <a:gd name="T10" fmla="*/ 164 w 532"/>
                <a:gd name="T11" fmla="*/ 23 h 823"/>
                <a:gd name="T12" fmla="*/ 183 w 532"/>
                <a:gd name="T13" fmla="*/ 27 h 823"/>
                <a:gd name="T14" fmla="*/ 202 w 532"/>
                <a:gd name="T15" fmla="*/ 32 h 823"/>
                <a:gd name="T16" fmla="*/ 219 w 532"/>
                <a:gd name="T17" fmla="*/ 37 h 823"/>
                <a:gd name="T18" fmla="*/ 235 w 532"/>
                <a:gd name="T19" fmla="*/ 41 h 823"/>
                <a:gd name="T20" fmla="*/ 251 w 532"/>
                <a:gd name="T21" fmla="*/ 44 h 823"/>
                <a:gd name="T22" fmla="*/ 264 w 532"/>
                <a:gd name="T23" fmla="*/ 47 h 823"/>
                <a:gd name="T24" fmla="*/ 275 w 532"/>
                <a:gd name="T25" fmla="*/ 50 h 823"/>
                <a:gd name="T26" fmla="*/ 286 w 532"/>
                <a:gd name="T27" fmla="*/ 53 h 823"/>
                <a:gd name="T28" fmla="*/ 293 w 532"/>
                <a:gd name="T29" fmla="*/ 56 h 823"/>
                <a:gd name="T30" fmla="*/ 298 w 532"/>
                <a:gd name="T31" fmla="*/ 56 h 823"/>
                <a:gd name="T32" fmla="*/ 302 w 532"/>
                <a:gd name="T33" fmla="*/ 57 h 823"/>
                <a:gd name="T34" fmla="*/ 302 w 532"/>
                <a:gd name="T35" fmla="*/ 57 h 823"/>
                <a:gd name="T36" fmla="*/ 531 w 532"/>
                <a:gd name="T37" fmla="*/ 106 h 823"/>
                <a:gd name="T38" fmla="*/ 416 w 532"/>
                <a:gd name="T39" fmla="*/ 704 h 823"/>
                <a:gd name="T40" fmla="*/ 415 w 532"/>
                <a:gd name="T41" fmla="*/ 708 h 823"/>
                <a:gd name="T42" fmla="*/ 410 w 532"/>
                <a:gd name="T43" fmla="*/ 720 h 823"/>
                <a:gd name="T44" fmla="*/ 403 w 532"/>
                <a:gd name="T45" fmla="*/ 726 h 823"/>
                <a:gd name="T46" fmla="*/ 393 w 532"/>
                <a:gd name="T47" fmla="*/ 723 h 823"/>
                <a:gd name="T48" fmla="*/ 392 w 532"/>
                <a:gd name="T49" fmla="*/ 720 h 823"/>
                <a:gd name="T50" fmla="*/ 392 w 532"/>
                <a:gd name="T51" fmla="*/ 717 h 823"/>
                <a:gd name="T52" fmla="*/ 388 w 532"/>
                <a:gd name="T53" fmla="*/ 713 h 823"/>
                <a:gd name="T54" fmla="*/ 380 w 532"/>
                <a:gd name="T55" fmla="*/ 711 h 823"/>
                <a:gd name="T56" fmla="*/ 377 w 532"/>
                <a:gd name="T57" fmla="*/ 710 h 823"/>
                <a:gd name="T58" fmla="*/ 376 w 532"/>
                <a:gd name="T59" fmla="*/ 707 h 823"/>
                <a:gd name="T60" fmla="*/ 371 w 532"/>
                <a:gd name="T61" fmla="*/ 705 h 823"/>
                <a:gd name="T62" fmla="*/ 368 w 532"/>
                <a:gd name="T63" fmla="*/ 708 h 823"/>
                <a:gd name="T64" fmla="*/ 365 w 532"/>
                <a:gd name="T65" fmla="*/ 710 h 823"/>
                <a:gd name="T66" fmla="*/ 360 w 532"/>
                <a:gd name="T67" fmla="*/ 710 h 823"/>
                <a:gd name="T68" fmla="*/ 356 w 532"/>
                <a:gd name="T69" fmla="*/ 711 h 823"/>
                <a:gd name="T70" fmla="*/ 355 w 532"/>
                <a:gd name="T71" fmla="*/ 714 h 823"/>
                <a:gd name="T72" fmla="*/ 355 w 532"/>
                <a:gd name="T73" fmla="*/ 717 h 823"/>
                <a:gd name="T74" fmla="*/ 356 w 532"/>
                <a:gd name="T75" fmla="*/ 723 h 823"/>
                <a:gd name="T76" fmla="*/ 356 w 532"/>
                <a:gd name="T77" fmla="*/ 729 h 823"/>
                <a:gd name="T78" fmla="*/ 356 w 532"/>
                <a:gd name="T79" fmla="*/ 740 h 823"/>
                <a:gd name="T80" fmla="*/ 357 w 532"/>
                <a:gd name="T81" fmla="*/ 750 h 823"/>
                <a:gd name="T82" fmla="*/ 356 w 532"/>
                <a:gd name="T83" fmla="*/ 759 h 823"/>
                <a:gd name="T84" fmla="*/ 355 w 532"/>
                <a:gd name="T85" fmla="*/ 768 h 823"/>
                <a:gd name="T86" fmla="*/ 352 w 532"/>
                <a:gd name="T87" fmla="*/ 776 h 823"/>
                <a:gd name="T88" fmla="*/ 352 w 532"/>
                <a:gd name="T89" fmla="*/ 781 h 823"/>
                <a:gd name="T90" fmla="*/ 352 w 532"/>
                <a:gd name="T91" fmla="*/ 791 h 823"/>
                <a:gd name="T92" fmla="*/ 352 w 532"/>
                <a:gd name="T93" fmla="*/ 803 h 823"/>
                <a:gd name="T94" fmla="*/ 350 w 532"/>
                <a:gd name="T95" fmla="*/ 813 h 823"/>
                <a:gd name="T96" fmla="*/ 347 w 532"/>
                <a:gd name="T97" fmla="*/ 814 h 823"/>
                <a:gd name="T98" fmla="*/ 344 w 532"/>
                <a:gd name="T99" fmla="*/ 817 h 823"/>
                <a:gd name="T100" fmla="*/ 340 w 532"/>
                <a:gd name="T101" fmla="*/ 820 h 823"/>
                <a:gd name="T102" fmla="*/ 338 w 532"/>
                <a:gd name="T103" fmla="*/ 822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32" h="823">
                  <a:moveTo>
                    <a:pt x="338" y="822"/>
                  </a:moveTo>
                  <a:lnTo>
                    <a:pt x="0" y="309"/>
                  </a:lnTo>
                  <a:lnTo>
                    <a:pt x="80" y="0"/>
                  </a:lnTo>
                  <a:lnTo>
                    <a:pt x="79" y="1"/>
                  </a:lnTo>
                  <a:lnTo>
                    <a:pt x="90" y="4"/>
                  </a:lnTo>
                  <a:lnTo>
                    <a:pt x="101" y="7"/>
                  </a:lnTo>
                  <a:lnTo>
                    <a:pt x="112" y="10"/>
                  </a:lnTo>
                  <a:lnTo>
                    <a:pt x="123" y="13"/>
                  </a:lnTo>
                  <a:lnTo>
                    <a:pt x="133" y="16"/>
                  </a:lnTo>
                  <a:lnTo>
                    <a:pt x="143" y="17"/>
                  </a:lnTo>
                  <a:lnTo>
                    <a:pt x="155" y="20"/>
                  </a:lnTo>
                  <a:lnTo>
                    <a:pt x="164" y="23"/>
                  </a:lnTo>
                  <a:lnTo>
                    <a:pt x="173" y="26"/>
                  </a:lnTo>
                  <a:lnTo>
                    <a:pt x="183" y="27"/>
                  </a:lnTo>
                  <a:lnTo>
                    <a:pt x="194" y="30"/>
                  </a:lnTo>
                  <a:lnTo>
                    <a:pt x="202" y="32"/>
                  </a:lnTo>
                  <a:lnTo>
                    <a:pt x="211" y="34"/>
                  </a:lnTo>
                  <a:lnTo>
                    <a:pt x="219" y="37"/>
                  </a:lnTo>
                  <a:lnTo>
                    <a:pt x="228" y="38"/>
                  </a:lnTo>
                  <a:lnTo>
                    <a:pt x="235" y="41"/>
                  </a:lnTo>
                  <a:lnTo>
                    <a:pt x="244" y="43"/>
                  </a:lnTo>
                  <a:lnTo>
                    <a:pt x="251" y="44"/>
                  </a:lnTo>
                  <a:lnTo>
                    <a:pt x="257" y="46"/>
                  </a:lnTo>
                  <a:lnTo>
                    <a:pt x="264" y="47"/>
                  </a:lnTo>
                  <a:lnTo>
                    <a:pt x="269" y="49"/>
                  </a:lnTo>
                  <a:lnTo>
                    <a:pt x="275" y="50"/>
                  </a:lnTo>
                  <a:lnTo>
                    <a:pt x="280" y="52"/>
                  </a:lnTo>
                  <a:lnTo>
                    <a:pt x="286" y="53"/>
                  </a:lnTo>
                  <a:lnTo>
                    <a:pt x="288" y="54"/>
                  </a:lnTo>
                  <a:lnTo>
                    <a:pt x="293" y="56"/>
                  </a:lnTo>
                  <a:lnTo>
                    <a:pt x="296" y="56"/>
                  </a:lnTo>
                  <a:lnTo>
                    <a:pt x="298" y="56"/>
                  </a:lnTo>
                  <a:lnTo>
                    <a:pt x="299" y="57"/>
                  </a:lnTo>
                  <a:lnTo>
                    <a:pt x="302" y="57"/>
                  </a:lnTo>
                  <a:lnTo>
                    <a:pt x="302" y="57"/>
                  </a:lnTo>
                  <a:lnTo>
                    <a:pt x="302" y="57"/>
                  </a:lnTo>
                  <a:lnTo>
                    <a:pt x="302" y="57"/>
                  </a:lnTo>
                  <a:lnTo>
                    <a:pt x="531" y="106"/>
                  </a:lnTo>
                  <a:lnTo>
                    <a:pt x="431" y="627"/>
                  </a:lnTo>
                  <a:lnTo>
                    <a:pt x="416" y="704"/>
                  </a:lnTo>
                  <a:lnTo>
                    <a:pt x="416" y="705"/>
                  </a:lnTo>
                  <a:lnTo>
                    <a:pt x="415" y="708"/>
                  </a:lnTo>
                  <a:lnTo>
                    <a:pt x="413" y="714"/>
                  </a:lnTo>
                  <a:lnTo>
                    <a:pt x="410" y="720"/>
                  </a:lnTo>
                  <a:lnTo>
                    <a:pt x="407" y="723"/>
                  </a:lnTo>
                  <a:lnTo>
                    <a:pt x="403" y="726"/>
                  </a:lnTo>
                  <a:lnTo>
                    <a:pt x="398" y="726"/>
                  </a:lnTo>
                  <a:lnTo>
                    <a:pt x="393" y="723"/>
                  </a:lnTo>
                  <a:lnTo>
                    <a:pt x="393" y="721"/>
                  </a:lnTo>
                  <a:lnTo>
                    <a:pt x="392" y="720"/>
                  </a:lnTo>
                  <a:lnTo>
                    <a:pt x="392" y="718"/>
                  </a:lnTo>
                  <a:lnTo>
                    <a:pt x="392" y="717"/>
                  </a:lnTo>
                  <a:lnTo>
                    <a:pt x="390" y="715"/>
                  </a:lnTo>
                  <a:lnTo>
                    <a:pt x="388" y="713"/>
                  </a:lnTo>
                  <a:lnTo>
                    <a:pt x="385" y="713"/>
                  </a:lnTo>
                  <a:lnTo>
                    <a:pt x="380" y="711"/>
                  </a:lnTo>
                  <a:lnTo>
                    <a:pt x="379" y="711"/>
                  </a:lnTo>
                  <a:lnTo>
                    <a:pt x="377" y="710"/>
                  </a:lnTo>
                  <a:lnTo>
                    <a:pt x="377" y="708"/>
                  </a:lnTo>
                  <a:lnTo>
                    <a:pt x="376" y="707"/>
                  </a:lnTo>
                  <a:lnTo>
                    <a:pt x="373" y="705"/>
                  </a:lnTo>
                  <a:lnTo>
                    <a:pt x="371" y="705"/>
                  </a:lnTo>
                  <a:lnTo>
                    <a:pt x="370" y="705"/>
                  </a:lnTo>
                  <a:lnTo>
                    <a:pt x="368" y="708"/>
                  </a:lnTo>
                  <a:lnTo>
                    <a:pt x="367" y="708"/>
                  </a:lnTo>
                  <a:lnTo>
                    <a:pt x="365" y="710"/>
                  </a:lnTo>
                  <a:lnTo>
                    <a:pt x="363" y="710"/>
                  </a:lnTo>
                  <a:lnTo>
                    <a:pt x="360" y="710"/>
                  </a:lnTo>
                  <a:lnTo>
                    <a:pt x="359" y="710"/>
                  </a:lnTo>
                  <a:lnTo>
                    <a:pt x="356" y="711"/>
                  </a:lnTo>
                  <a:lnTo>
                    <a:pt x="356" y="713"/>
                  </a:lnTo>
                  <a:lnTo>
                    <a:pt x="355" y="714"/>
                  </a:lnTo>
                  <a:lnTo>
                    <a:pt x="355" y="715"/>
                  </a:lnTo>
                  <a:lnTo>
                    <a:pt x="355" y="717"/>
                  </a:lnTo>
                  <a:lnTo>
                    <a:pt x="356" y="720"/>
                  </a:lnTo>
                  <a:lnTo>
                    <a:pt x="356" y="723"/>
                  </a:lnTo>
                  <a:lnTo>
                    <a:pt x="356" y="725"/>
                  </a:lnTo>
                  <a:lnTo>
                    <a:pt x="356" y="729"/>
                  </a:lnTo>
                  <a:lnTo>
                    <a:pt x="356" y="734"/>
                  </a:lnTo>
                  <a:lnTo>
                    <a:pt x="356" y="740"/>
                  </a:lnTo>
                  <a:lnTo>
                    <a:pt x="357" y="744"/>
                  </a:lnTo>
                  <a:lnTo>
                    <a:pt x="357" y="750"/>
                  </a:lnTo>
                  <a:lnTo>
                    <a:pt x="356" y="754"/>
                  </a:lnTo>
                  <a:lnTo>
                    <a:pt x="356" y="759"/>
                  </a:lnTo>
                  <a:lnTo>
                    <a:pt x="356" y="764"/>
                  </a:lnTo>
                  <a:lnTo>
                    <a:pt x="355" y="768"/>
                  </a:lnTo>
                  <a:lnTo>
                    <a:pt x="353" y="773"/>
                  </a:lnTo>
                  <a:lnTo>
                    <a:pt x="352" y="776"/>
                  </a:lnTo>
                  <a:lnTo>
                    <a:pt x="352" y="778"/>
                  </a:lnTo>
                  <a:lnTo>
                    <a:pt x="352" y="781"/>
                  </a:lnTo>
                  <a:lnTo>
                    <a:pt x="352" y="786"/>
                  </a:lnTo>
                  <a:lnTo>
                    <a:pt x="352" y="791"/>
                  </a:lnTo>
                  <a:lnTo>
                    <a:pt x="352" y="797"/>
                  </a:lnTo>
                  <a:lnTo>
                    <a:pt x="352" y="803"/>
                  </a:lnTo>
                  <a:lnTo>
                    <a:pt x="352" y="809"/>
                  </a:lnTo>
                  <a:lnTo>
                    <a:pt x="350" y="813"/>
                  </a:lnTo>
                  <a:lnTo>
                    <a:pt x="349" y="813"/>
                  </a:lnTo>
                  <a:lnTo>
                    <a:pt x="347" y="814"/>
                  </a:lnTo>
                  <a:lnTo>
                    <a:pt x="346" y="816"/>
                  </a:lnTo>
                  <a:lnTo>
                    <a:pt x="344" y="817"/>
                  </a:lnTo>
                  <a:lnTo>
                    <a:pt x="341" y="819"/>
                  </a:lnTo>
                  <a:lnTo>
                    <a:pt x="340" y="820"/>
                  </a:lnTo>
                  <a:lnTo>
                    <a:pt x="338" y="822"/>
                  </a:lnTo>
                  <a:lnTo>
                    <a:pt x="338" y="822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" name="Freeform 10"/>
            <p:cNvSpPr>
              <a:spLocks/>
            </p:cNvSpPr>
            <p:nvPr/>
          </p:nvSpPr>
          <p:spPr bwMode="auto">
            <a:xfrm>
              <a:off x="944817" y="4417543"/>
              <a:ext cx="357469" cy="552034"/>
            </a:xfrm>
            <a:custGeom>
              <a:avLst/>
              <a:gdLst>
                <a:gd name="T0" fmla="*/ 0 w 532"/>
                <a:gd name="T1" fmla="*/ 309 h 823"/>
                <a:gd name="T2" fmla="*/ 79 w 532"/>
                <a:gd name="T3" fmla="*/ 1 h 823"/>
                <a:gd name="T4" fmla="*/ 90 w 532"/>
                <a:gd name="T5" fmla="*/ 4 h 823"/>
                <a:gd name="T6" fmla="*/ 112 w 532"/>
                <a:gd name="T7" fmla="*/ 10 h 823"/>
                <a:gd name="T8" fmla="*/ 133 w 532"/>
                <a:gd name="T9" fmla="*/ 16 h 823"/>
                <a:gd name="T10" fmla="*/ 155 w 532"/>
                <a:gd name="T11" fmla="*/ 20 h 823"/>
                <a:gd name="T12" fmla="*/ 173 w 532"/>
                <a:gd name="T13" fmla="*/ 26 h 823"/>
                <a:gd name="T14" fmla="*/ 194 w 532"/>
                <a:gd name="T15" fmla="*/ 30 h 823"/>
                <a:gd name="T16" fmla="*/ 211 w 532"/>
                <a:gd name="T17" fmla="*/ 34 h 823"/>
                <a:gd name="T18" fmla="*/ 228 w 532"/>
                <a:gd name="T19" fmla="*/ 38 h 823"/>
                <a:gd name="T20" fmla="*/ 244 w 532"/>
                <a:gd name="T21" fmla="*/ 43 h 823"/>
                <a:gd name="T22" fmla="*/ 257 w 532"/>
                <a:gd name="T23" fmla="*/ 46 h 823"/>
                <a:gd name="T24" fmla="*/ 269 w 532"/>
                <a:gd name="T25" fmla="*/ 49 h 823"/>
                <a:gd name="T26" fmla="*/ 280 w 532"/>
                <a:gd name="T27" fmla="*/ 52 h 823"/>
                <a:gd name="T28" fmla="*/ 288 w 532"/>
                <a:gd name="T29" fmla="*/ 54 h 823"/>
                <a:gd name="T30" fmla="*/ 296 w 532"/>
                <a:gd name="T31" fmla="*/ 56 h 823"/>
                <a:gd name="T32" fmla="*/ 299 w 532"/>
                <a:gd name="T33" fmla="*/ 57 h 823"/>
                <a:gd name="T34" fmla="*/ 302 w 532"/>
                <a:gd name="T35" fmla="*/ 57 h 823"/>
                <a:gd name="T36" fmla="*/ 302 w 532"/>
                <a:gd name="T37" fmla="*/ 57 h 823"/>
                <a:gd name="T38" fmla="*/ 431 w 532"/>
                <a:gd name="T39" fmla="*/ 627 h 823"/>
                <a:gd name="T40" fmla="*/ 416 w 532"/>
                <a:gd name="T41" fmla="*/ 704 h 823"/>
                <a:gd name="T42" fmla="*/ 415 w 532"/>
                <a:gd name="T43" fmla="*/ 708 h 823"/>
                <a:gd name="T44" fmla="*/ 410 w 532"/>
                <a:gd name="T45" fmla="*/ 720 h 823"/>
                <a:gd name="T46" fmla="*/ 403 w 532"/>
                <a:gd name="T47" fmla="*/ 726 h 823"/>
                <a:gd name="T48" fmla="*/ 393 w 532"/>
                <a:gd name="T49" fmla="*/ 723 h 823"/>
                <a:gd name="T50" fmla="*/ 393 w 532"/>
                <a:gd name="T51" fmla="*/ 721 h 823"/>
                <a:gd name="T52" fmla="*/ 392 w 532"/>
                <a:gd name="T53" fmla="*/ 718 h 823"/>
                <a:gd name="T54" fmla="*/ 390 w 532"/>
                <a:gd name="T55" fmla="*/ 715 h 823"/>
                <a:gd name="T56" fmla="*/ 385 w 532"/>
                <a:gd name="T57" fmla="*/ 713 h 823"/>
                <a:gd name="T58" fmla="*/ 380 w 532"/>
                <a:gd name="T59" fmla="*/ 711 h 823"/>
                <a:gd name="T60" fmla="*/ 377 w 532"/>
                <a:gd name="T61" fmla="*/ 710 h 823"/>
                <a:gd name="T62" fmla="*/ 376 w 532"/>
                <a:gd name="T63" fmla="*/ 707 h 823"/>
                <a:gd name="T64" fmla="*/ 371 w 532"/>
                <a:gd name="T65" fmla="*/ 705 h 823"/>
                <a:gd name="T66" fmla="*/ 368 w 532"/>
                <a:gd name="T67" fmla="*/ 708 h 823"/>
                <a:gd name="T68" fmla="*/ 367 w 532"/>
                <a:gd name="T69" fmla="*/ 708 h 823"/>
                <a:gd name="T70" fmla="*/ 363 w 532"/>
                <a:gd name="T71" fmla="*/ 710 h 823"/>
                <a:gd name="T72" fmla="*/ 359 w 532"/>
                <a:gd name="T73" fmla="*/ 710 h 823"/>
                <a:gd name="T74" fmla="*/ 356 w 532"/>
                <a:gd name="T75" fmla="*/ 713 h 823"/>
                <a:gd name="T76" fmla="*/ 355 w 532"/>
                <a:gd name="T77" fmla="*/ 714 h 823"/>
                <a:gd name="T78" fmla="*/ 355 w 532"/>
                <a:gd name="T79" fmla="*/ 717 h 823"/>
                <a:gd name="T80" fmla="*/ 356 w 532"/>
                <a:gd name="T81" fmla="*/ 723 h 823"/>
                <a:gd name="T82" fmla="*/ 356 w 532"/>
                <a:gd name="T83" fmla="*/ 729 h 823"/>
                <a:gd name="T84" fmla="*/ 356 w 532"/>
                <a:gd name="T85" fmla="*/ 740 h 823"/>
                <a:gd name="T86" fmla="*/ 357 w 532"/>
                <a:gd name="T87" fmla="*/ 750 h 823"/>
                <a:gd name="T88" fmla="*/ 356 w 532"/>
                <a:gd name="T89" fmla="*/ 759 h 823"/>
                <a:gd name="T90" fmla="*/ 355 w 532"/>
                <a:gd name="T91" fmla="*/ 768 h 823"/>
                <a:gd name="T92" fmla="*/ 352 w 532"/>
                <a:gd name="T93" fmla="*/ 776 h 823"/>
                <a:gd name="T94" fmla="*/ 352 w 532"/>
                <a:gd name="T95" fmla="*/ 778 h 823"/>
                <a:gd name="T96" fmla="*/ 352 w 532"/>
                <a:gd name="T97" fmla="*/ 786 h 823"/>
                <a:gd name="T98" fmla="*/ 352 w 532"/>
                <a:gd name="T99" fmla="*/ 797 h 823"/>
                <a:gd name="T100" fmla="*/ 352 w 532"/>
                <a:gd name="T101" fmla="*/ 809 h 823"/>
                <a:gd name="T102" fmla="*/ 350 w 532"/>
                <a:gd name="T103" fmla="*/ 813 h 823"/>
                <a:gd name="T104" fmla="*/ 347 w 532"/>
                <a:gd name="T105" fmla="*/ 814 h 823"/>
                <a:gd name="T106" fmla="*/ 344 w 532"/>
                <a:gd name="T107" fmla="*/ 817 h 823"/>
                <a:gd name="T108" fmla="*/ 340 w 532"/>
                <a:gd name="T109" fmla="*/ 820 h 823"/>
                <a:gd name="T110" fmla="*/ 338 w 532"/>
                <a:gd name="T111" fmla="*/ 822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32" h="823">
                  <a:moveTo>
                    <a:pt x="338" y="822"/>
                  </a:moveTo>
                  <a:lnTo>
                    <a:pt x="0" y="309"/>
                  </a:lnTo>
                  <a:lnTo>
                    <a:pt x="80" y="0"/>
                  </a:lnTo>
                  <a:lnTo>
                    <a:pt x="79" y="1"/>
                  </a:lnTo>
                  <a:lnTo>
                    <a:pt x="79" y="1"/>
                  </a:lnTo>
                  <a:lnTo>
                    <a:pt x="90" y="4"/>
                  </a:lnTo>
                  <a:lnTo>
                    <a:pt x="101" y="7"/>
                  </a:lnTo>
                  <a:lnTo>
                    <a:pt x="112" y="10"/>
                  </a:lnTo>
                  <a:lnTo>
                    <a:pt x="123" y="13"/>
                  </a:lnTo>
                  <a:lnTo>
                    <a:pt x="133" y="16"/>
                  </a:lnTo>
                  <a:lnTo>
                    <a:pt x="143" y="17"/>
                  </a:lnTo>
                  <a:lnTo>
                    <a:pt x="155" y="20"/>
                  </a:lnTo>
                  <a:lnTo>
                    <a:pt x="164" y="23"/>
                  </a:lnTo>
                  <a:lnTo>
                    <a:pt x="173" y="26"/>
                  </a:lnTo>
                  <a:lnTo>
                    <a:pt x="183" y="27"/>
                  </a:lnTo>
                  <a:lnTo>
                    <a:pt x="194" y="30"/>
                  </a:lnTo>
                  <a:lnTo>
                    <a:pt x="202" y="32"/>
                  </a:lnTo>
                  <a:lnTo>
                    <a:pt x="211" y="34"/>
                  </a:lnTo>
                  <a:lnTo>
                    <a:pt x="219" y="37"/>
                  </a:lnTo>
                  <a:lnTo>
                    <a:pt x="228" y="38"/>
                  </a:lnTo>
                  <a:lnTo>
                    <a:pt x="235" y="41"/>
                  </a:lnTo>
                  <a:lnTo>
                    <a:pt x="244" y="43"/>
                  </a:lnTo>
                  <a:lnTo>
                    <a:pt x="251" y="44"/>
                  </a:lnTo>
                  <a:lnTo>
                    <a:pt x="257" y="46"/>
                  </a:lnTo>
                  <a:lnTo>
                    <a:pt x="264" y="47"/>
                  </a:lnTo>
                  <a:lnTo>
                    <a:pt x="269" y="49"/>
                  </a:lnTo>
                  <a:lnTo>
                    <a:pt x="275" y="50"/>
                  </a:lnTo>
                  <a:lnTo>
                    <a:pt x="280" y="52"/>
                  </a:lnTo>
                  <a:lnTo>
                    <a:pt x="286" y="53"/>
                  </a:lnTo>
                  <a:lnTo>
                    <a:pt x="288" y="54"/>
                  </a:lnTo>
                  <a:lnTo>
                    <a:pt x="293" y="56"/>
                  </a:lnTo>
                  <a:lnTo>
                    <a:pt x="296" y="56"/>
                  </a:lnTo>
                  <a:lnTo>
                    <a:pt x="298" y="56"/>
                  </a:lnTo>
                  <a:lnTo>
                    <a:pt x="299" y="57"/>
                  </a:lnTo>
                  <a:lnTo>
                    <a:pt x="302" y="57"/>
                  </a:lnTo>
                  <a:lnTo>
                    <a:pt x="302" y="57"/>
                  </a:lnTo>
                  <a:lnTo>
                    <a:pt x="302" y="57"/>
                  </a:lnTo>
                  <a:lnTo>
                    <a:pt x="302" y="57"/>
                  </a:lnTo>
                  <a:lnTo>
                    <a:pt x="531" y="106"/>
                  </a:lnTo>
                  <a:lnTo>
                    <a:pt x="431" y="627"/>
                  </a:lnTo>
                  <a:lnTo>
                    <a:pt x="416" y="704"/>
                  </a:lnTo>
                  <a:lnTo>
                    <a:pt x="416" y="704"/>
                  </a:lnTo>
                  <a:lnTo>
                    <a:pt x="416" y="705"/>
                  </a:lnTo>
                  <a:lnTo>
                    <a:pt x="415" y="708"/>
                  </a:lnTo>
                  <a:lnTo>
                    <a:pt x="413" y="714"/>
                  </a:lnTo>
                  <a:lnTo>
                    <a:pt x="410" y="720"/>
                  </a:lnTo>
                  <a:lnTo>
                    <a:pt x="407" y="723"/>
                  </a:lnTo>
                  <a:lnTo>
                    <a:pt x="403" y="726"/>
                  </a:lnTo>
                  <a:lnTo>
                    <a:pt x="398" y="726"/>
                  </a:lnTo>
                  <a:lnTo>
                    <a:pt x="393" y="723"/>
                  </a:lnTo>
                  <a:lnTo>
                    <a:pt x="393" y="723"/>
                  </a:lnTo>
                  <a:lnTo>
                    <a:pt x="393" y="721"/>
                  </a:lnTo>
                  <a:lnTo>
                    <a:pt x="392" y="720"/>
                  </a:lnTo>
                  <a:lnTo>
                    <a:pt x="392" y="718"/>
                  </a:lnTo>
                  <a:lnTo>
                    <a:pt x="392" y="717"/>
                  </a:lnTo>
                  <a:lnTo>
                    <a:pt x="390" y="715"/>
                  </a:lnTo>
                  <a:lnTo>
                    <a:pt x="388" y="713"/>
                  </a:lnTo>
                  <a:lnTo>
                    <a:pt x="385" y="713"/>
                  </a:lnTo>
                  <a:lnTo>
                    <a:pt x="380" y="711"/>
                  </a:lnTo>
                  <a:lnTo>
                    <a:pt x="380" y="711"/>
                  </a:lnTo>
                  <a:lnTo>
                    <a:pt x="379" y="711"/>
                  </a:lnTo>
                  <a:lnTo>
                    <a:pt x="377" y="710"/>
                  </a:lnTo>
                  <a:lnTo>
                    <a:pt x="377" y="708"/>
                  </a:lnTo>
                  <a:lnTo>
                    <a:pt x="376" y="707"/>
                  </a:lnTo>
                  <a:lnTo>
                    <a:pt x="373" y="705"/>
                  </a:lnTo>
                  <a:lnTo>
                    <a:pt x="371" y="705"/>
                  </a:lnTo>
                  <a:lnTo>
                    <a:pt x="370" y="705"/>
                  </a:lnTo>
                  <a:lnTo>
                    <a:pt x="368" y="708"/>
                  </a:lnTo>
                  <a:lnTo>
                    <a:pt x="368" y="708"/>
                  </a:lnTo>
                  <a:lnTo>
                    <a:pt x="367" y="708"/>
                  </a:lnTo>
                  <a:lnTo>
                    <a:pt x="365" y="710"/>
                  </a:lnTo>
                  <a:lnTo>
                    <a:pt x="363" y="710"/>
                  </a:lnTo>
                  <a:lnTo>
                    <a:pt x="360" y="710"/>
                  </a:lnTo>
                  <a:lnTo>
                    <a:pt x="359" y="710"/>
                  </a:lnTo>
                  <a:lnTo>
                    <a:pt x="356" y="711"/>
                  </a:lnTo>
                  <a:lnTo>
                    <a:pt x="356" y="713"/>
                  </a:lnTo>
                  <a:lnTo>
                    <a:pt x="355" y="714"/>
                  </a:lnTo>
                  <a:lnTo>
                    <a:pt x="355" y="714"/>
                  </a:lnTo>
                  <a:lnTo>
                    <a:pt x="355" y="715"/>
                  </a:lnTo>
                  <a:lnTo>
                    <a:pt x="355" y="717"/>
                  </a:lnTo>
                  <a:lnTo>
                    <a:pt x="356" y="720"/>
                  </a:lnTo>
                  <a:lnTo>
                    <a:pt x="356" y="723"/>
                  </a:lnTo>
                  <a:lnTo>
                    <a:pt x="356" y="725"/>
                  </a:lnTo>
                  <a:lnTo>
                    <a:pt x="356" y="729"/>
                  </a:lnTo>
                  <a:lnTo>
                    <a:pt x="356" y="734"/>
                  </a:lnTo>
                  <a:lnTo>
                    <a:pt x="356" y="740"/>
                  </a:lnTo>
                  <a:lnTo>
                    <a:pt x="357" y="744"/>
                  </a:lnTo>
                  <a:lnTo>
                    <a:pt x="357" y="750"/>
                  </a:lnTo>
                  <a:lnTo>
                    <a:pt x="356" y="754"/>
                  </a:lnTo>
                  <a:lnTo>
                    <a:pt x="356" y="759"/>
                  </a:lnTo>
                  <a:lnTo>
                    <a:pt x="356" y="764"/>
                  </a:lnTo>
                  <a:lnTo>
                    <a:pt x="355" y="768"/>
                  </a:lnTo>
                  <a:lnTo>
                    <a:pt x="353" y="773"/>
                  </a:lnTo>
                  <a:lnTo>
                    <a:pt x="352" y="776"/>
                  </a:lnTo>
                  <a:lnTo>
                    <a:pt x="352" y="776"/>
                  </a:lnTo>
                  <a:lnTo>
                    <a:pt x="352" y="778"/>
                  </a:lnTo>
                  <a:lnTo>
                    <a:pt x="352" y="781"/>
                  </a:lnTo>
                  <a:lnTo>
                    <a:pt x="352" y="786"/>
                  </a:lnTo>
                  <a:lnTo>
                    <a:pt x="352" y="791"/>
                  </a:lnTo>
                  <a:lnTo>
                    <a:pt x="352" y="797"/>
                  </a:lnTo>
                  <a:lnTo>
                    <a:pt x="352" y="803"/>
                  </a:lnTo>
                  <a:lnTo>
                    <a:pt x="352" y="809"/>
                  </a:lnTo>
                  <a:lnTo>
                    <a:pt x="350" y="813"/>
                  </a:lnTo>
                  <a:lnTo>
                    <a:pt x="350" y="813"/>
                  </a:lnTo>
                  <a:lnTo>
                    <a:pt x="349" y="813"/>
                  </a:lnTo>
                  <a:lnTo>
                    <a:pt x="347" y="814"/>
                  </a:lnTo>
                  <a:lnTo>
                    <a:pt x="346" y="816"/>
                  </a:lnTo>
                  <a:lnTo>
                    <a:pt x="344" y="817"/>
                  </a:lnTo>
                  <a:lnTo>
                    <a:pt x="341" y="819"/>
                  </a:lnTo>
                  <a:lnTo>
                    <a:pt x="340" y="820"/>
                  </a:lnTo>
                  <a:lnTo>
                    <a:pt x="338" y="822"/>
                  </a:lnTo>
                  <a:lnTo>
                    <a:pt x="338" y="822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" name="Freeform 11"/>
            <p:cNvSpPr>
              <a:spLocks/>
            </p:cNvSpPr>
            <p:nvPr/>
          </p:nvSpPr>
          <p:spPr bwMode="auto">
            <a:xfrm>
              <a:off x="1234168" y="4488954"/>
              <a:ext cx="314066" cy="396794"/>
            </a:xfrm>
            <a:custGeom>
              <a:avLst/>
              <a:gdLst>
                <a:gd name="T0" fmla="*/ 410 w 468"/>
                <a:gd name="T1" fmla="*/ 590 h 591"/>
                <a:gd name="T2" fmla="*/ 467 w 468"/>
                <a:gd name="T3" fmla="*/ 164 h 591"/>
                <a:gd name="T4" fmla="*/ 314 w 468"/>
                <a:gd name="T5" fmla="*/ 139 h 591"/>
                <a:gd name="T6" fmla="*/ 329 w 468"/>
                <a:gd name="T7" fmla="*/ 41 h 591"/>
                <a:gd name="T8" fmla="*/ 99 w 468"/>
                <a:gd name="T9" fmla="*/ 0 h 591"/>
                <a:gd name="T10" fmla="*/ 99 w 468"/>
                <a:gd name="T11" fmla="*/ 0 h 591"/>
                <a:gd name="T12" fmla="*/ 0 w 468"/>
                <a:gd name="T13" fmla="*/ 521 h 591"/>
                <a:gd name="T14" fmla="*/ 410 w 468"/>
                <a:gd name="T15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8" h="591">
                  <a:moveTo>
                    <a:pt x="410" y="590"/>
                  </a:moveTo>
                  <a:lnTo>
                    <a:pt x="467" y="164"/>
                  </a:lnTo>
                  <a:lnTo>
                    <a:pt x="314" y="139"/>
                  </a:lnTo>
                  <a:lnTo>
                    <a:pt x="329" y="41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0" y="521"/>
                  </a:lnTo>
                  <a:lnTo>
                    <a:pt x="410" y="59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" name="Freeform 12"/>
            <p:cNvSpPr>
              <a:spLocks/>
            </p:cNvSpPr>
            <p:nvPr/>
          </p:nvSpPr>
          <p:spPr bwMode="auto">
            <a:xfrm>
              <a:off x="1234168" y="4488954"/>
              <a:ext cx="314066" cy="396794"/>
            </a:xfrm>
            <a:custGeom>
              <a:avLst/>
              <a:gdLst>
                <a:gd name="T0" fmla="*/ 410 w 468"/>
                <a:gd name="T1" fmla="*/ 590 h 591"/>
                <a:gd name="T2" fmla="*/ 467 w 468"/>
                <a:gd name="T3" fmla="*/ 164 h 591"/>
                <a:gd name="T4" fmla="*/ 314 w 468"/>
                <a:gd name="T5" fmla="*/ 139 h 591"/>
                <a:gd name="T6" fmla="*/ 329 w 468"/>
                <a:gd name="T7" fmla="*/ 41 h 591"/>
                <a:gd name="T8" fmla="*/ 99 w 468"/>
                <a:gd name="T9" fmla="*/ 0 h 591"/>
                <a:gd name="T10" fmla="*/ 99 w 468"/>
                <a:gd name="T11" fmla="*/ 0 h 591"/>
                <a:gd name="T12" fmla="*/ 0 w 468"/>
                <a:gd name="T13" fmla="*/ 521 h 591"/>
                <a:gd name="T14" fmla="*/ 410 w 468"/>
                <a:gd name="T15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8" h="591">
                  <a:moveTo>
                    <a:pt x="410" y="590"/>
                  </a:moveTo>
                  <a:lnTo>
                    <a:pt x="467" y="164"/>
                  </a:lnTo>
                  <a:lnTo>
                    <a:pt x="314" y="139"/>
                  </a:lnTo>
                  <a:lnTo>
                    <a:pt x="329" y="41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0" y="521"/>
                  </a:lnTo>
                  <a:lnTo>
                    <a:pt x="410" y="590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" name="Freeform 13"/>
            <p:cNvSpPr>
              <a:spLocks/>
            </p:cNvSpPr>
            <p:nvPr/>
          </p:nvSpPr>
          <p:spPr bwMode="auto">
            <a:xfrm>
              <a:off x="1130483" y="4838555"/>
              <a:ext cx="380376" cy="443987"/>
            </a:xfrm>
            <a:custGeom>
              <a:avLst/>
              <a:gdLst>
                <a:gd name="T0" fmla="*/ 24 w 566"/>
                <a:gd name="T1" fmla="*/ 434 h 661"/>
                <a:gd name="T2" fmla="*/ 33 w 566"/>
                <a:gd name="T3" fmla="*/ 430 h 661"/>
                <a:gd name="T4" fmla="*/ 35 w 566"/>
                <a:gd name="T5" fmla="*/ 419 h 661"/>
                <a:gd name="T6" fmla="*/ 35 w 566"/>
                <a:gd name="T7" fmla="*/ 410 h 661"/>
                <a:gd name="T8" fmla="*/ 33 w 566"/>
                <a:gd name="T9" fmla="*/ 407 h 661"/>
                <a:gd name="T10" fmla="*/ 24 w 566"/>
                <a:gd name="T11" fmla="*/ 385 h 661"/>
                <a:gd name="T12" fmla="*/ 25 w 566"/>
                <a:gd name="T13" fmla="*/ 367 h 661"/>
                <a:gd name="T14" fmla="*/ 27 w 566"/>
                <a:gd name="T15" fmla="*/ 365 h 661"/>
                <a:gd name="T16" fmla="*/ 31 w 566"/>
                <a:gd name="T17" fmla="*/ 361 h 661"/>
                <a:gd name="T18" fmla="*/ 35 w 566"/>
                <a:gd name="T19" fmla="*/ 358 h 661"/>
                <a:gd name="T20" fmla="*/ 38 w 566"/>
                <a:gd name="T21" fmla="*/ 355 h 661"/>
                <a:gd name="T22" fmla="*/ 46 w 566"/>
                <a:gd name="T23" fmla="*/ 346 h 661"/>
                <a:gd name="T24" fmla="*/ 49 w 566"/>
                <a:gd name="T25" fmla="*/ 335 h 661"/>
                <a:gd name="T26" fmla="*/ 51 w 566"/>
                <a:gd name="T27" fmla="*/ 325 h 661"/>
                <a:gd name="T28" fmla="*/ 51 w 566"/>
                <a:gd name="T29" fmla="*/ 319 h 661"/>
                <a:gd name="T30" fmla="*/ 55 w 566"/>
                <a:gd name="T31" fmla="*/ 305 h 661"/>
                <a:gd name="T32" fmla="*/ 68 w 566"/>
                <a:gd name="T33" fmla="*/ 295 h 661"/>
                <a:gd name="T34" fmla="*/ 79 w 566"/>
                <a:gd name="T35" fmla="*/ 290 h 661"/>
                <a:gd name="T36" fmla="*/ 85 w 566"/>
                <a:gd name="T37" fmla="*/ 289 h 661"/>
                <a:gd name="T38" fmla="*/ 91 w 566"/>
                <a:gd name="T39" fmla="*/ 275 h 661"/>
                <a:gd name="T40" fmla="*/ 78 w 566"/>
                <a:gd name="T41" fmla="*/ 239 h 661"/>
                <a:gd name="T42" fmla="*/ 64 w 566"/>
                <a:gd name="T43" fmla="*/ 206 h 661"/>
                <a:gd name="T44" fmla="*/ 61 w 566"/>
                <a:gd name="T45" fmla="*/ 193 h 661"/>
                <a:gd name="T46" fmla="*/ 64 w 566"/>
                <a:gd name="T47" fmla="*/ 190 h 661"/>
                <a:gd name="T48" fmla="*/ 68 w 566"/>
                <a:gd name="T49" fmla="*/ 188 h 661"/>
                <a:gd name="T50" fmla="*/ 71 w 566"/>
                <a:gd name="T51" fmla="*/ 185 h 661"/>
                <a:gd name="T52" fmla="*/ 74 w 566"/>
                <a:gd name="T53" fmla="*/ 181 h 661"/>
                <a:gd name="T54" fmla="*/ 74 w 566"/>
                <a:gd name="T55" fmla="*/ 169 h 661"/>
                <a:gd name="T56" fmla="*/ 74 w 566"/>
                <a:gd name="T57" fmla="*/ 157 h 661"/>
                <a:gd name="T58" fmla="*/ 74 w 566"/>
                <a:gd name="T59" fmla="*/ 150 h 661"/>
                <a:gd name="T60" fmla="*/ 75 w 566"/>
                <a:gd name="T61" fmla="*/ 145 h 661"/>
                <a:gd name="T62" fmla="*/ 78 w 566"/>
                <a:gd name="T63" fmla="*/ 136 h 661"/>
                <a:gd name="T64" fmla="*/ 78 w 566"/>
                <a:gd name="T65" fmla="*/ 125 h 661"/>
                <a:gd name="T66" fmla="*/ 79 w 566"/>
                <a:gd name="T67" fmla="*/ 116 h 661"/>
                <a:gd name="T68" fmla="*/ 78 w 566"/>
                <a:gd name="T69" fmla="*/ 106 h 661"/>
                <a:gd name="T70" fmla="*/ 78 w 566"/>
                <a:gd name="T71" fmla="*/ 97 h 661"/>
                <a:gd name="T72" fmla="*/ 78 w 566"/>
                <a:gd name="T73" fmla="*/ 92 h 661"/>
                <a:gd name="T74" fmla="*/ 77 w 566"/>
                <a:gd name="T75" fmla="*/ 87 h 661"/>
                <a:gd name="T76" fmla="*/ 78 w 566"/>
                <a:gd name="T77" fmla="*/ 85 h 661"/>
                <a:gd name="T78" fmla="*/ 81 w 566"/>
                <a:gd name="T79" fmla="*/ 82 h 661"/>
                <a:gd name="T80" fmla="*/ 85 w 566"/>
                <a:gd name="T81" fmla="*/ 82 h 661"/>
                <a:gd name="T82" fmla="*/ 90 w 566"/>
                <a:gd name="T83" fmla="*/ 80 h 661"/>
                <a:gd name="T84" fmla="*/ 93 w 566"/>
                <a:gd name="T85" fmla="*/ 77 h 661"/>
                <a:gd name="T86" fmla="*/ 96 w 566"/>
                <a:gd name="T87" fmla="*/ 77 h 661"/>
                <a:gd name="T88" fmla="*/ 99 w 566"/>
                <a:gd name="T89" fmla="*/ 80 h 661"/>
                <a:gd name="T90" fmla="*/ 101 w 566"/>
                <a:gd name="T91" fmla="*/ 83 h 661"/>
                <a:gd name="T92" fmla="*/ 107 w 566"/>
                <a:gd name="T93" fmla="*/ 85 h 661"/>
                <a:gd name="T94" fmla="*/ 112 w 566"/>
                <a:gd name="T95" fmla="*/ 87 h 661"/>
                <a:gd name="T96" fmla="*/ 114 w 566"/>
                <a:gd name="T97" fmla="*/ 90 h 661"/>
                <a:gd name="T98" fmla="*/ 115 w 566"/>
                <a:gd name="T99" fmla="*/ 93 h 661"/>
                <a:gd name="T100" fmla="*/ 121 w 566"/>
                <a:gd name="T101" fmla="*/ 98 h 661"/>
                <a:gd name="T102" fmla="*/ 130 w 566"/>
                <a:gd name="T103" fmla="*/ 95 h 661"/>
                <a:gd name="T104" fmla="*/ 135 w 566"/>
                <a:gd name="T105" fmla="*/ 86 h 661"/>
                <a:gd name="T106" fmla="*/ 138 w 566"/>
                <a:gd name="T107" fmla="*/ 77 h 661"/>
                <a:gd name="T108" fmla="*/ 153 w 566"/>
                <a:gd name="T109" fmla="*/ 0 h 661"/>
                <a:gd name="T110" fmla="*/ 565 w 566"/>
                <a:gd name="T111" fmla="*/ 68 h 661"/>
                <a:gd name="T112" fmla="*/ 306 w 566"/>
                <a:gd name="T113" fmla="*/ 637 h 661"/>
                <a:gd name="T114" fmla="*/ 10 w 566"/>
                <a:gd name="T115" fmla="*/ 434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66" h="661">
                  <a:moveTo>
                    <a:pt x="10" y="434"/>
                  </a:moveTo>
                  <a:lnTo>
                    <a:pt x="24" y="434"/>
                  </a:lnTo>
                  <a:lnTo>
                    <a:pt x="28" y="432"/>
                  </a:lnTo>
                  <a:lnTo>
                    <a:pt x="33" y="430"/>
                  </a:lnTo>
                  <a:lnTo>
                    <a:pt x="33" y="425"/>
                  </a:lnTo>
                  <a:lnTo>
                    <a:pt x="35" y="419"/>
                  </a:lnTo>
                  <a:lnTo>
                    <a:pt x="35" y="415"/>
                  </a:lnTo>
                  <a:lnTo>
                    <a:pt x="35" y="410"/>
                  </a:lnTo>
                  <a:lnTo>
                    <a:pt x="35" y="408"/>
                  </a:lnTo>
                  <a:lnTo>
                    <a:pt x="33" y="407"/>
                  </a:lnTo>
                  <a:lnTo>
                    <a:pt x="19" y="400"/>
                  </a:lnTo>
                  <a:lnTo>
                    <a:pt x="24" y="385"/>
                  </a:lnTo>
                  <a:lnTo>
                    <a:pt x="22" y="375"/>
                  </a:lnTo>
                  <a:lnTo>
                    <a:pt x="25" y="367"/>
                  </a:lnTo>
                  <a:lnTo>
                    <a:pt x="25" y="367"/>
                  </a:lnTo>
                  <a:lnTo>
                    <a:pt x="27" y="365"/>
                  </a:lnTo>
                  <a:lnTo>
                    <a:pt x="30" y="364"/>
                  </a:lnTo>
                  <a:lnTo>
                    <a:pt x="31" y="361"/>
                  </a:lnTo>
                  <a:lnTo>
                    <a:pt x="33" y="359"/>
                  </a:lnTo>
                  <a:lnTo>
                    <a:pt x="35" y="358"/>
                  </a:lnTo>
                  <a:lnTo>
                    <a:pt x="36" y="356"/>
                  </a:lnTo>
                  <a:lnTo>
                    <a:pt x="38" y="355"/>
                  </a:lnTo>
                  <a:lnTo>
                    <a:pt x="42" y="350"/>
                  </a:lnTo>
                  <a:lnTo>
                    <a:pt x="46" y="346"/>
                  </a:lnTo>
                  <a:lnTo>
                    <a:pt x="48" y="341"/>
                  </a:lnTo>
                  <a:lnTo>
                    <a:pt x="49" y="335"/>
                  </a:lnTo>
                  <a:lnTo>
                    <a:pt x="51" y="329"/>
                  </a:lnTo>
                  <a:lnTo>
                    <a:pt x="51" y="325"/>
                  </a:lnTo>
                  <a:lnTo>
                    <a:pt x="51" y="320"/>
                  </a:lnTo>
                  <a:lnTo>
                    <a:pt x="51" y="319"/>
                  </a:lnTo>
                  <a:lnTo>
                    <a:pt x="52" y="312"/>
                  </a:lnTo>
                  <a:lnTo>
                    <a:pt x="55" y="305"/>
                  </a:lnTo>
                  <a:lnTo>
                    <a:pt x="61" y="299"/>
                  </a:lnTo>
                  <a:lnTo>
                    <a:pt x="68" y="295"/>
                  </a:lnTo>
                  <a:lnTo>
                    <a:pt x="74" y="292"/>
                  </a:lnTo>
                  <a:lnTo>
                    <a:pt x="79" y="290"/>
                  </a:lnTo>
                  <a:lnTo>
                    <a:pt x="84" y="290"/>
                  </a:lnTo>
                  <a:lnTo>
                    <a:pt x="85" y="289"/>
                  </a:lnTo>
                  <a:lnTo>
                    <a:pt x="91" y="282"/>
                  </a:lnTo>
                  <a:lnTo>
                    <a:pt x="91" y="275"/>
                  </a:lnTo>
                  <a:lnTo>
                    <a:pt x="77" y="254"/>
                  </a:lnTo>
                  <a:lnTo>
                    <a:pt x="78" y="239"/>
                  </a:lnTo>
                  <a:lnTo>
                    <a:pt x="68" y="218"/>
                  </a:lnTo>
                  <a:lnTo>
                    <a:pt x="64" y="206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3" y="191"/>
                  </a:lnTo>
                  <a:lnTo>
                    <a:pt x="64" y="190"/>
                  </a:lnTo>
                  <a:lnTo>
                    <a:pt x="66" y="188"/>
                  </a:lnTo>
                  <a:lnTo>
                    <a:pt x="68" y="188"/>
                  </a:lnTo>
                  <a:lnTo>
                    <a:pt x="69" y="186"/>
                  </a:lnTo>
                  <a:lnTo>
                    <a:pt x="71" y="185"/>
                  </a:lnTo>
                  <a:lnTo>
                    <a:pt x="72" y="185"/>
                  </a:lnTo>
                  <a:lnTo>
                    <a:pt x="74" y="181"/>
                  </a:lnTo>
                  <a:lnTo>
                    <a:pt x="74" y="175"/>
                  </a:lnTo>
                  <a:lnTo>
                    <a:pt x="74" y="169"/>
                  </a:lnTo>
                  <a:lnTo>
                    <a:pt x="74" y="163"/>
                  </a:lnTo>
                  <a:lnTo>
                    <a:pt x="74" y="157"/>
                  </a:lnTo>
                  <a:lnTo>
                    <a:pt x="74" y="153"/>
                  </a:lnTo>
                  <a:lnTo>
                    <a:pt x="74" y="150"/>
                  </a:lnTo>
                  <a:lnTo>
                    <a:pt x="74" y="148"/>
                  </a:lnTo>
                  <a:lnTo>
                    <a:pt x="75" y="145"/>
                  </a:lnTo>
                  <a:lnTo>
                    <a:pt x="77" y="140"/>
                  </a:lnTo>
                  <a:lnTo>
                    <a:pt x="78" y="136"/>
                  </a:lnTo>
                  <a:lnTo>
                    <a:pt x="78" y="131"/>
                  </a:lnTo>
                  <a:lnTo>
                    <a:pt x="78" y="125"/>
                  </a:lnTo>
                  <a:lnTo>
                    <a:pt x="79" y="122"/>
                  </a:lnTo>
                  <a:lnTo>
                    <a:pt x="79" y="116"/>
                  </a:lnTo>
                  <a:lnTo>
                    <a:pt x="78" y="112"/>
                  </a:lnTo>
                  <a:lnTo>
                    <a:pt x="78" y="106"/>
                  </a:lnTo>
                  <a:lnTo>
                    <a:pt x="78" y="101"/>
                  </a:lnTo>
                  <a:lnTo>
                    <a:pt x="78" y="97"/>
                  </a:lnTo>
                  <a:lnTo>
                    <a:pt x="78" y="94"/>
                  </a:lnTo>
                  <a:lnTo>
                    <a:pt x="78" y="92"/>
                  </a:lnTo>
                  <a:lnTo>
                    <a:pt x="77" y="89"/>
                  </a:lnTo>
                  <a:lnTo>
                    <a:pt x="77" y="87"/>
                  </a:lnTo>
                  <a:lnTo>
                    <a:pt x="77" y="86"/>
                  </a:lnTo>
                  <a:lnTo>
                    <a:pt x="78" y="85"/>
                  </a:lnTo>
                  <a:lnTo>
                    <a:pt x="78" y="83"/>
                  </a:lnTo>
                  <a:lnTo>
                    <a:pt x="81" y="82"/>
                  </a:lnTo>
                  <a:lnTo>
                    <a:pt x="82" y="82"/>
                  </a:lnTo>
                  <a:lnTo>
                    <a:pt x="85" y="82"/>
                  </a:lnTo>
                  <a:lnTo>
                    <a:pt x="88" y="82"/>
                  </a:lnTo>
                  <a:lnTo>
                    <a:pt x="90" y="80"/>
                  </a:lnTo>
                  <a:lnTo>
                    <a:pt x="91" y="80"/>
                  </a:lnTo>
                  <a:lnTo>
                    <a:pt x="93" y="77"/>
                  </a:lnTo>
                  <a:lnTo>
                    <a:pt x="94" y="77"/>
                  </a:lnTo>
                  <a:lnTo>
                    <a:pt x="96" y="77"/>
                  </a:lnTo>
                  <a:lnTo>
                    <a:pt x="99" y="79"/>
                  </a:lnTo>
                  <a:lnTo>
                    <a:pt x="99" y="80"/>
                  </a:lnTo>
                  <a:lnTo>
                    <a:pt x="99" y="82"/>
                  </a:lnTo>
                  <a:lnTo>
                    <a:pt x="101" y="83"/>
                  </a:lnTo>
                  <a:lnTo>
                    <a:pt x="102" y="83"/>
                  </a:lnTo>
                  <a:lnTo>
                    <a:pt x="107" y="85"/>
                  </a:lnTo>
                  <a:lnTo>
                    <a:pt x="110" y="85"/>
                  </a:lnTo>
                  <a:lnTo>
                    <a:pt x="112" y="87"/>
                  </a:lnTo>
                  <a:lnTo>
                    <a:pt x="114" y="89"/>
                  </a:lnTo>
                  <a:lnTo>
                    <a:pt x="114" y="90"/>
                  </a:lnTo>
                  <a:lnTo>
                    <a:pt x="114" y="92"/>
                  </a:lnTo>
                  <a:lnTo>
                    <a:pt x="115" y="93"/>
                  </a:lnTo>
                  <a:lnTo>
                    <a:pt x="115" y="94"/>
                  </a:lnTo>
                  <a:lnTo>
                    <a:pt x="121" y="98"/>
                  </a:lnTo>
                  <a:lnTo>
                    <a:pt x="126" y="98"/>
                  </a:lnTo>
                  <a:lnTo>
                    <a:pt x="130" y="95"/>
                  </a:lnTo>
                  <a:lnTo>
                    <a:pt x="132" y="92"/>
                  </a:lnTo>
                  <a:lnTo>
                    <a:pt x="135" y="86"/>
                  </a:lnTo>
                  <a:lnTo>
                    <a:pt x="137" y="80"/>
                  </a:lnTo>
                  <a:lnTo>
                    <a:pt x="138" y="77"/>
                  </a:lnTo>
                  <a:lnTo>
                    <a:pt x="138" y="76"/>
                  </a:lnTo>
                  <a:lnTo>
                    <a:pt x="153" y="0"/>
                  </a:lnTo>
                  <a:lnTo>
                    <a:pt x="565" y="68"/>
                  </a:lnTo>
                  <a:lnTo>
                    <a:pt x="565" y="68"/>
                  </a:lnTo>
                  <a:lnTo>
                    <a:pt x="483" y="660"/>
                  </a:lnTo>
                  <a:lnTo>
                    <a:pt x="306" y="637"/>
                  </a:lnTo>
                  <a:lnTo>
                    <a:pt x="0" y="458"/>
                  </a:lnTo>
                  <a:lnTo>
                    <a:pt x="10" y="43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" name="Freeform 14"/>
            <p:cNvSpPr>
              <a:spLocks/>
            </p:cNvSpPr>
            <p:nvPr/>
          </p:nvSpPr>
          <p:spPr bwMode="auto">
            <a:xfrm>
              <a:off x="1130483" y="4838555"/>
              <a:ext cx="380376" cy="443987"/>
            </a:xfrm>
            <a:custGeom>
              <a:avLst/>
              <a:gdLst>
                <a:gd name="T0" fmla="*/ 24 w 566"/>
                <a:gd name="T1" fmla="*/ 434 h 661"/>
                <a:gd name="T2" fmla="*/ 28 w 566"/>
                <a:gd name="T3" fmla="*/ 432 h 661"/>
                <a:gd name="T4" fmla="*/ 33 w 566"/>
                <a:gd name="T5" fmla="*/ 425 h 661"/>
                <a:gd name="T6" fmla="*/ 35 w 566"/>
                <a:gd name="T7" fmla="*/ 415 h 661"/>
                <a:gd name="T8" fmla="*/ 35 w 566"/>
                <a:gd name="T9" fmla="*/ 408 h 661"/>
                <a:gd name="T10" fmla="*/ 19 w 566"/>
                <a:gd name="T11" fmla="*/ 400 h 661"/>
                <a:gd name="T12" fmla="*/ 22 w 566"/>
                <a:gd name="T13" fmla="*/ 375 h 661"/>
                <a:gd name="T14" fmla="*/ 25 w 566"/>
                <a:gd name="T15" fmla="*/ 367 h 661"/>
                <a:gd name="T16" fmla="*/ 27 w 566"/>
                <a:gd name="T17" fmla="*/ 365 h 661"/>
                <a:gd name="T18" fmla="*/ 31 w 566"/>
                <a:gd name="T19" fmla="*/ 361 h 661"/>
                <a:gd name="T20" fmla="*/ 35 w 566"/>
                <a:gd name="T21" fmla="*/ 358 h 661"/>
                <a:gd name="T22" fmla="*/ 38 w 566"/>
                <a:gd name="T23" fmla="*/ 355 h 661"/>
                <a:gd name="T24" fmla="*/ 42 w 566"/>
                <a:gd name="T25" fmla="*/ 350 h 661"/>
                <a:gd name="T26" fmla="*/ 48 w 566"/>
                <a:gd name="T27" fmla="*/ 341 h 661"/>
                <a:gd name="T28" fmla="*/ 51 w 566"/>
                <a:gd name="T29" fmla="*/ 329 h 661"/>
                <a:gd name="T30" fmla="*/ 51 w 566"/>
                <a:gd name="T31" fmla="*/ 320 h 661"/>
                <a:gd name="T32" fmla="*/ 51 w 566"/>
                <a:gd name="T33" fmla="*/ 319 h 661"/>
                <a:gd name="T34" fmla="*/ 55 w 566"/>
                <a:gd name="T35" fmla="*/ 305 h 661"/>
                <a:gd name="T36" fmla="*/ 68 w 566"/>
                <a:gd name="T37" fmla="*/ 295 h 661"/>
                <a:gd name="T38" fmla="*/ 79 w 566"/>
                <a:gd name="T39" fmla="*/ 290 h 661"/>
                <a:gd name="T40" fmla="*/ 85 w 566"/>
                <a:gd name="T41" fmla="*/ 289 h 661"/>
                <a:gd name="T42" fmla="*/ 91 w 566"/>
                <a:gd name="T43" fmla="*/ 275 h 661"/>
                <a:gd name="T44" fmla="*/ 78 w 566"/>
                <a:gd name="T45" fmla="*/ 239 h 661"/>
                <a:gd name="T46" fmla="*/ 64 w 566"/>
                <a:gd name="T47" fmla="*/ 206 h 661"/>
                <a:gd name="T48" fmla="*/ 61 w 566"/>
                <a:gd name="T49" fmla="*/ 193 h 661"/>
                <a:gd name="T50" fmla="*/ 63 w 566"/>
                <a:gd name="T51" fmla="*/ 191 h 661"/>
                <a:gd name="T52" fmla="*/ 66 w 566"/>
                <a:gd name="T53" fmla="*/ 188 h 661"/>
                <a:gd name="T54" fmla="*/ 69 w 566"/>
                <a:gd name="T55" fmla="*/ 186 h 661"/>
                <a:gd name="T56" fmla="*/ 72 w 566"/>
                <a:gd name="T57" fmla="*/ 185 h 661"/>
                <a:gd name="T58" fmla="*/ 74 w 566"/>
                <a:gd name="T59" fmla="*/ 181 h 661"/>
                <a:gd name="T60" fmla="*/ 74 w 566"/>
                <a:gd name="T61" fmla="*/ 169 h 661"/>
                <a:gd name="T62" fmla="*/ 74 w 566"/>
                <a:gd name="T63" fmla="*/ 157 h 661"/>
                <a:gd name="T64" fmla="*/ 74 w 566"/>
                <a:gd name="T65" fmla="*/ 150 h 661"/>
                <a:gd name="T66" fmla="*/ 74 w 566"/>
                <a:gd name="T67" fmla="*/ 148 h 661"/>
                <a:gd name="T68" fmla="*/ 77 w 566"/>
                <a:gd name="T69" fmla="*/ 140 h 661"/>
                <a:gd name="T70" fmla="*/ 78 w 566"/>
                <a:gd name="T71" fmla="*/ 131 h 661"/>
                <a:gd name="T72" fmla="*/ 79 w 566"/>
                <a:gd name="T73" fmla="*/ 122 h 661"/>
                <a:gd name="T74" fmla="*/ 78 w 566"/>
                <a:gd name="T75" fmla="*/ 112 h 661"/>
                <a:gd name="T76" fmla="*/ 78 w 566"/>
                <a:gd name="T77" fmla="*/ 101 h 661"/>
                <a:gd name="T78" fmla="*/ 78 w 566"/>
                <a:gd name="T79" fmla="*/ 94 h 661"/>
                <a:gd name="T80" fmla="*/ 77 w 566"/>
                <a:gd name="T81" fmla="*/ 89 h 661"/>
                <a:gd name="T82" fmla="*/ 77 w 566"/>
                <a:gd name="T83" fmla="*/ 86 h 661"/>
                <a:gd name="T84" fmla="*/ 78 w 566"/>
                <a:gd name="T85" fmla="*/ 85 h 661"/>
                <a:gd name="T86" fmla="*/ 81 w 566"/>
                <a:gd name="T87" fmla="*/ 82 h 661"/>
                <a:gd name="T88" fmla="*/ 85 w 566"/>
                <a:gd name="T89" fmla="*/ 82 h 661"/>
                <a:gd name="T90" fmla="*/ 90 w 566"/>
                <a:gd name="T91" fmla="*/ 80 h 661"/>
                <a:gd name="T92" fmla="*/ 91 w 566"/>
                <a:gd name="T93" fmla="*/ 80 h 661"/>
                <a:gd name="T94" fmla="*/ 94 w 566"/>
                <a:gd name="T95" fmla="*/ 77 h 661"/>
                <a:gd name="T96" fmla="*/ 99 w 566"/>
                <a:gd name="T97" fmla="*/ 79 h 661"/>
                <a:gd name="T98" fmla="*/ 99 w 566"/>
                <a:gd name="T99" fmla="*/ 82 h 661"/>
                <a:gd name="T100" fmla="*/ 102 w 566"/>
                <a:gd name="T101" fmla="*/ 83 h 661"/>
                <a:gd name="T102" fmla="*/ 107 w 566"/>
                <a:gd name="T103" fmla="*/ 85 h 661"/>
                <a:gd name="T104" fmla="*/ 112 w 566"/>
                <a:gd name="T105" fmla="*/ 87 h 661"/>
                <a:gd name="T106" fmla="*/ 114 w 566"/>
                <a:gd name="T107" fmla="*/ 90 h 661"/>
                <a:gd name="T108" fmla="*/ 115 w 566"/>
                <a:gd name="T109" fmla="*/ 93 h 661"/>
                <a:gd name="T110" fmla="*/ 115 w 566"/>
                <a:gd name="T111" fmla="*/ 94 h 661"/>
                <a:gd name="T112" fmla="*/ 126 w 566"/>
                <a:gd name="T113" fmla="*/ 98 h 661"/>
                <a:gd name="T114" fmla="*/ 132 w 566"/>
                <a:gd name="T115" fmla="*/ 92 h 661"/>
                <a:gd name="T116" fmla="*/ 137 w 566"/>
                <a:gd name="T117" fmla="*/ 80 h 661"/>
                <a:gd name="T118" fmla="*/ 138 w 566"/>
                <a:gd name="T119" fmla="*/ 76 h 661"/>
                <a:gd name="T120" fmla="*/ 565 w 566"/>
                <a:gd name="T121" fmla="*/ 68 h 661"/>
                <a:gd name="T122" fmla="*/ 483 w 566"/>
                <a:gd name="T123" fmla="*/ 660 h 661"/>
                <a:gd name="T124" fmla="*/ 0 w 566"/>
                <a:gd name="T125" fmla="*/ 458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6" h="661">
                  <a:moveTo>
                    <a:pt x="10" y="434"/>
                  </a:moveTo>
                  <a:lnTo>
                    <a:pt x="24" y="434"/>
                  </a:lnTo>
                  <a:lnTo>
                    <a:pt x="24" y="434"/>
                  </a:lnTo>
                  <a:lnTo>
                    <a:pt x="28" y="432"/>
                  </a:lnTo>
                  <a:lnTo>
                    <a:pt x="33" y="430"/>
                  </a:lnTo>
                  <a:lnTo>
                    <a:pt x="33" y="425"/>
                  </a:lnTo>
                  <a:lnTo>
                    <a:pt x="35" y="419"/>
                  </a:lnTo>
                  <a:lnTo>
                    <a:pt x="35" y="415"/>
                  </a:lnTo>
                  <a:lnTo>
                    <a:pt x="35" y="410"/>
                  </a:lnTo>
                  <a:lnTo>
                    <a:pt x="35" y="408"/>
                  </a:lnTo>
                  <a:lnTo>
                    <a:pt x="33" y="407"/>
                  </a:lnTo>
                  <a:lnTo>
                    <a:pt x="19" y="400"/>
                  </a:lnTo>
                  <a:lnTo>
                    <a:pt x="24" y="385"/>
                  </a:lnTo>
                  <a:lnTo>
                    <a:pt x="22" y="375"/>
                  </a:lnTo>
                  <a:lnTo>
                    <a:pt x="25" y="367"/>
                  </a:lnTo>
                  <a:lnTo>
                    <a:pt x="25" y="367"/>
                  </a:lnTo>
                  <a:lnTo>
                    <a:pt x="25" y="367"/>
                  </a:lnTo>
                  <a:lnTo>
                    <a:pt x="27" y="365"/>
                  </a:lnTo>
                  <a:lnTo>
                    <a:pt x="30" y="364"/>
                  </a:lnTo>
                  <a:lnTo>
                    <a:pt x="31" y="361"/>
                  </a:lnTo>
                  <a:lnTo>
                    <a:pt x="33" y="359"/>
                  </a:lnTo>
                  <a:lnTo>
                    <a:pt x="35" y="358"/>
                  </a:lnTo>
                  <a:lnTo>
                    <a:pt x="36" y="356"/>
                  </a:lnTo>
                  <a:lnTo>
                    <a:pt x="38" y="355"/>
                  </a:lnTo>
                  <a:lnTo>
                    <a:pt x="38" y="355"/>
                  </a:lnTo>
                  <a:lnTo>
                    <a:pt x="42" y="350"/>
                  </a:lnTo>
                  <a:lnTo>
                    <a:pt x="46" y="346"/>
                  </a:lnTo>
                  <a:lnTo>
                    <a:pt x="48" y="341"/>
                  </a:lnTo>
                  <a:lnTo>
                    <a:pt x="49" y="335"/>
                  </a:lnTo>
                  <a:lnTo>
                    <a:pt x="51" y="329"/>
                  </a:lnTo>
                  <a:lnTo>
                    <a:pt x="51" y="325"/>
                  </a:lnTo>
                  <a:lnTo>
                    <a:pt x="51" y="320"/>
                  </a:lnTo>
                  <a:lnTo>
                    <a:pt x="51" y="319"/>
                  </a:lnTo>
                  <a:lnTo>
                    <a:pt x="51" y="319"/>
                  </a:lnTo>
                  <a:lnTo>
                    <a:pt x="52" y="312"/>
                  </a:lnTo>
                  <a:lnTo>
                    <a:pt x="55" y="305"/>
                  </a:lnTo>
                  <a:lnTo>
                    <a:pt x="61" y="299"/>
                  </a:lnTo>
                  <a:lnTo>
                    <a:pt x="68" y="295"/>
                  </a:lnTo>
                  <a:lnTo>
                    <a:pt x="74" y="292"/>
                  </a:lnTo>
                  <a:lnTo>
                    <a:pt x="79" y="290"/>
                  </a:lnTo>
                  <a:lnTo>
                    <a:pt x="84" y="290"/>
                  </a:lnTo>
                  <a:lnTo>
                    <a:pt x="85" y="289"/>
                  </a:lnTo>
                  <a:lnTo>
                    <a:pt x="91" y="282"/>
                  </a:lnTo>
                  <a:lnTo>
                    <a:pt x="91" y="275"/>
                  </a:lnTo>
                  <a:lnTo>
                    <a:pt x="77" y="254"/>
                  </a:lnTo>
                  <a:lnTo>
                    <a:pt x="78" y="239"/>
                  </a:lnTo>
                  <a:lnTo>
                    <a:pt x="68" y="218"/>
                  </a:lnTo>
                  <a:lnTo>
                    <a:pt x="64" y="206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3" y="191"/>
                  </a:lnTo>
                  <a:lnTo>
                    <a:pt x="64" y="190"/>
                  </a:lnTo>
                  <a:lnTo>
                    <a:pt x="66" y="188"/>
                  </a:lnTo>
                  <a:lnTo>
                    <a:pt x="68" y="188"/>
                  </a:lnTo>
                  <a:lnTo>
                    <a:pt x="69" y="186"/>
                  </a:lnTo>
                  <a:lnTo>
                    <a:pt x="71" y="185"/>
                  </a:lnTo>
                  <a:lnTo>
                    <a:pt x="72" y="185"/>
                  </a:lnTo>
                  <a:lnTo>
                    <a:pt x="72" y="185"/>
                  </a:lnTo>
                  <a:lnTo>
                    <a:pt x="74" y="181"/>
                  </a:lnTo>
                  <a:lnTo>
                    <a:pt x="74" y="175"/>
                  </a:lnTo>
                  <a:lnTo>
                    <a:pt x="74" y="169"/>
                  </a:lnTo>
                  <a:lnTo>
                    <a:pt x="74" y="163"/>
                  </a:lnTo>
                  <a:lnTo>
                    <a:pt x="74" y="157"/>
                  </a:lnTo>
                  <a:lnTo>
                    <a:pt x="74" y="153"/>
                  </a:lnTo>
                  <a:lnTo>
                    <a:pt x="74" y="150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5" y="145"/>
                  </a:lnTo>
                  <a:lnTo>
                    <a:pt x="77" y="140"/>
                  </a:lnTo>
                  <a:lnTo>
                    <a:pt x="78" y="136"/>
                  </a:lnTo>
                  <a:lnTo>
                    <a:pt x="78" y="131"/>
                  </a:lnTo>
                  <a:lnTo>
                    <a:pt x="78" y="125"/>
                  </a:lnTo>
                  <a:lnTo>
                    <a:pt x="79" y="122"/>
                  </a:lnTo>
                  <a:lnTo>
                    <a:pt x="79" y="116"/>
                  </a:lnTo>
                  <a:lnTo>
                    <a:pt x="78" y="112"/>
                  </a:lnTo>
                  <a:lnTo>
                    <a:pt x="78" y="106"/>
                  </a:lnTo>
                  <a:lnTo>
                    <a:pt x="78" y="101"/>
                  </a:lnTo>
                  <a:lnTo>
                    <a:pt x="78" y="97"/>
                  </a:lnTo>
                  <a:lnTo>
                    <a:pt x="78" y="94"/>
                  </a:lnTo>
                  <a:lnTo>
                    <a:pt x="78" y="92"/>
                  </a:lnTo>
                  <a:lnTo>
                    <a:pt x="77" y="89"/>
                  </a:lnTo>
                  <a:lnTo>
                    <a:pt x="77" y="87"/>
                  </a:lnTo>
                  <a:lnTo>
                    <a:pt x="77" y="86"/>
                  </a:lnTo>
                  <a:lnTo>
                    <a:pt x="77" y="86"/>
                  </a:lnTo>
                  <a:lnTo>
                    <a:pt x="78" y="85"/>
                  </a:lnTo>
                  <a:lnTo>
                    <a:pt x="78" y="83"/>
                  </a:lnTo>
                  <a:lnTo>
                    <a:pt x="81" y="82"/>
                  </a:lnTo>
                  <a:lnTo>
                    <a:pt x="82" y="82"/>
                  </a:lnTo>
                  <a:lnTo>
                    <a:pt x="85" y="82"/>
                  </a:lnTo>
                  <a:lnTo>
                    <a:pt x="88" y="82"/>
                  </a:lnTo>
                  <a:lnTo>
                    <a:pt x="90" y="80"/>
                  </a:lnTo>
                  <a:lnTo>
                    <a:pt x="91" y="80"/>
                  </a:lnTo>
                  <a:lnTo>
                    <a:pt x="91" y="80"/>
                  </a:lnTo>
                  <a:lnTo>
                    <a:pt x="93" y="77"/>
                  </a:lnTo>
                  <a:lnTo>
                    <a:pt x="94" y="77"/>
                  </a:lnTo>
                  <a:lnTo>
                    <a:pt x="96" y="77"/>
                  </a:lnTo>
                  <a:lnTo>
                    <a:pt x="99" y="79"/>
                  </a:lnTo>
                  <a:lnTo>
                    <a:pt x="99" y="80"/>
                  </a:lnTo>
                  <a:lnTo>
                    <a:pt x="99" y="82"/>
                  </a:lnTo>
                  <a:lnTo>
                    <a:pt x="101" y="83"/>
                  </a:lnTo>
                  <a:lnTo>
                    <a:pt x="102" y="83"/>
                  </a:lnTo>
                  <a:lnTo>
                    <a:pt x="102" y="83"/>
                  </a:lnTo>
                  <a:lnTo>
                    <a:pt x="107" y="85"/>
                  </a:lnTo>
                  <a:lnTo>
                    <a:pt x="110" y="85"/>
                  </a:lnTo>
                  <a:lnTo>
                    <a:pt x="112" y="87"/>
                  </a:lnTo>
                  <a:lnTo>
                    <a:pt x="114" y="89"/>
                  </a:lnTo>
                  <a:lnTo>
                    <a:pt x="114" y="90"/>
                  </a:lnTo>
                  <a:lnTo>
                    <a:pt x="114" y="92"/>
                  </a:lnTo>
                  <a:lnTo>
                    <a:pt x="115" y="93"/>
                  </a:lnTo>
                  <a:lnTo>
                    <a:pt x="115" y="94"/>
                  </a:lnTo>
                  <a:lnTo>
                    <a:pt x="115" y="94"/>
                  </a:lnTo>
                  <a:lnTo>
                    <a:pt x="121" y="98"/>
                  </a:lnTo>
                  <a:lnTo>
                    <a:pt x="126" y="98"/>
                  </a:lnTo>
                  <a:lnTo>
                    <a:pt x="130" y="95"/>
                  </a:lnTo>
                  <a:lnTo>
                    <a:pt x="132" y="92"/>
                  </a:lnTo>
                  <a:lnTo>
                    <a:pt x="135" y="86"/>
                  </a:lnTo>
                  <a:lnTo>
                    <a:pt x="137" y="80"/>
                  </a:lnTo>
                  <a:lnTo>
                    <a:pt x="138" y="77"/>
                  </a:lnTo>
                  <a:lnTo>
                    <a:pt x="138" y="76"/>
                  </a:lnTo>
                  <a:lnTo>
                    <a:pt x="153" y="0"/>
                  </a:lnTo>
                  <a:lnTo>
                    <a:pt x="565" y="68"/>
                  </a:lnTo>
                  <a:lnTo>
                    <a:pt x="565" y="68"/>
                  </a:lnTo>
                  <a:lnTo>
                    <a:pt x="483" y="660"/>
                  </a:lnTo>
                  <a:lnTo>
                    <a:pt x="306" y="637"/>
                  </a:lnTo>
                  <a:lnTo>
                    <a:pt x="0" y="458"/>
                  </a:lnTo>
                  <a:lnTo>
                    <a:pt x="10" y="434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" name="Freeform 15"/>
            <p:cNvSpPr>
              <a:spLocks/>
            </p:cNvSpPr>
            <p:nvPr/>
          </p:nvSpPr>
          <p:spPr bwMode="auto">
            <a:xfrm>
              <a:off x="1147965" y="3972315"/>
              <a:ext cx="333959" cy="545825"/>
            </a:xfrm>
            <a:custGeom>
              <a:avLst/>
              <a:gdLst>
                <a:gd name="T0" fmla="*/ 220 w 497"/>
                <a:gd name="T1" fmla="*/ 164 h 813"/>
                <a:gd name="T2" fmla="*/ 227 w 497"/>
                <a:gd name="T3" fmla="*/ 188 h 813"/>
                <a:gd name="T4" fmla="*/ 227 w 497"/>
                <a:gd name="T5" fmla="*/ 194 h 813"/>
                <a:gd name="T6" fmla="*/ 236 w 497"/>
                <a:gd name="T7" fmla="*/ 200 h 813"/>
                <a:gd name="T8" fmla="*/ 249 w 497"/>
                <a:gd name="T9" fmla="*/ 221 h 813"/>
                <a:gd name="T10" fmla="*/ 257 w 497"/>
                <a:gd name="T11" fmla="*/ 246 h 813"/>
                <a:gd name="T12" fmla="*/ 266 w 497"/>
                <a:gd name="T13" fmla="*/ 258 h 813"/>
                <a:gd name="T14" fmla="*/ 283 w 497"/>
                <a:gd name="T15" fmla="*/ 279 h 813"/>
                <a:gd name="T16" fmla="*/ 289 w 497"/>
                <a:gd name="T17" fmla="*/ 309 h 813"/>
                <a:gd name="T18" fmla="*/ 277 w 497"/>
                <a:gd name="T19" fmla="*/ 338 h 813"/>
                <a:gd name="T20" fmla="*/ 277 w 497"/>
                <a:gd name="T21" fmla="*/ 359 h 813"/>
                <a:gd name="T22" fmla="*/ 265 w 497"/>
                <a:gd name="T23" fmla="*/ 375 h 813"/>
                <a:gd name="T24" fmla="*/ 262 w 497"/>
                <a:gd name="T25" fmla="*/ 391 h 813"/>
                <a:gd name="T26" fmla="*/ 308 w 497"/>
                <a:gd name="T27" fmla="*/ 384 h 813"/>
                <a:gd name="T28" fmla="*/ 312 w 497"/>
                <a:gd name="T29" fmla="*/ 383 h 813"/>
                <a:gd name="T30" fmla="*/ 315 w 497"/>
                <a:gd name="T31" fmla="*/ 422 h 813"/>
                <a:gd name="T32" fmla="*/ 322 w 497"/>
                <a:gd name="T33" fmla="*/ 444 h 813"/>
                <a:gd name="T34" fmla="*/ 329 w 497"/>
                <a:gd name="T35" fmla="*/ 463 h 813"/>
                <a:gd name="T36" fmla="*/ 325 w 497"/>
                <a:gd name="T37" fmla="*/ 473 h 813"/>
                <a:gd name="T38" fmla="*/ 337 w 497"/>
                <a:gd name="T39" fmla="*/ 485 h 813"/>
                <a:gd name="T40" fmla="*/ 351 w 497"/>
                <a:gd name="T41" fmla="*/ 504 h 813"/>
                <a:gd name="T42" fmla="*/ 354 w 497"/>
                <a:gd name="T43" fmla="*/ 530 h 813"/>
                <a:gd name="T44" fmla="*/ 362 w 497"/>
                <a:gd name="T45" fmla="*/ 539 h 813"/>
                <a:gd name="T46" fmla="*/ 368 w 497"/>
                <a:gd name="T47" fmla="*/ 527 h 813"/>
                <a:gd name="T48" fmla="*/ 384 w 497"/>
                <a:gd name="T49" fmla="*/ 528 h 813"/>
                <a:gd name="T50" fmla="*/ 400 w 497"/>
                <a:gd name="T51" fmla="*/ 533 h 813"/>
                <a:gd name="T52" fmla="*/ 406 w 497"/>
                <a:gd name="T53" fmla="*/ 524 h 813"/>
                <a:gd name="T54" fmla="*/ 415 w 497"/>
                <a:gd name="T55" fmla="*/ 527 h 813"/>
                <a:gd name="T56" fmla="*/ 438 w 497"/>
                <a:gd name="T57" fmla="*/ 528 h 813"/>
                <a:gd name="T58" fmla="*/ 481 w 497"/>
                <a:gd name="T59" fmla="*/ 518 h 813"/>
                <a:gd name="T60" fmla="*/ 227 w 497"/>
                <a:gd name="T61" fmla="*/ 770 h 813"/>
                <a:gd name="T62" fmla="*/ 219 w 497"/>
                <a:gd name="T63" fmla="*/ 768 h 813"/>
                <a:gd name="T64" fmla="*/ 193 w 497"/>
                <a:gd name="T65" fmla="*/ 762 h 813"/>
                <a:gd name="T66" fmla="*/ 155 w 497"/>
                <a:gd name="T67" fmla="*/ 753 h 813"/>
                <a:gd name="T68" fmla="*/ 112 w 497"/>
                <a:gd name="T69" fmla="*/ 746 h 813"/>
                <a:gd name="T70" fmla="*/ 64 w 497"/>
                <a:gd name="T71" fmla="*/ 734 h 813"/>
                <a:gd name="T72" fmla="*/ 17 w 497"/>
                <a:gd name="T73" fmla="*/ 723 h 813"/>
                <a:gd name="T74" fmla="*/ 53 w 497"/>
                <a:gd name="T75" fmla="*/ 518 h 813"/>
                <a:gd name="T76" fmla="*/ 40 w 497"/>
                <a:gd name="T77" fmla="*/ 482 h 813"/>
                <a:gd name="T78" fmla="*/ 43 w 497"/>
                <a:gd name="T79" fmla="*/ 470 h 813"/>
                <a:gd name="T80" fmla="*/ 49 w 497"/>
                <a:gd name="T81" fmla="*/ 455 h 813"/>
                <a:gd name="T82" fmla="*/ 79 w 497"/>
                <a:gd name="T83" fmla="*/ 424 h 813"/>
                <a:gd name="T84" fmla="*/ 124 w 497"/>
                <a:gd name="T85" fmla="*/ 350 h 813"/>
                <a:gd name="T86" fmla="*/ 103 w 497"/>
                <a:gd name="T87" fmla="*/ 291 h 813"/>
                <a:gd name="T88" fmla="*/ 103 w 497"/>
                <a:gd name="T89" fmla="*/ 254 h 813"/>
                <a:gd name="T90" fmla="*/ 110 w 497"/>
                <a:gd name="T91" fmla="*/ 225 h 813"/>
                <a:gd name="T92" fmla="*/ 122 w 497"/>
                <a:gd name="T93" fmla="*/ 175 h 813"/>
                <a:gd name="T94" fmla="*/ 134 w 497"/>
                <a:gd name="T95" fmla="*/ 116 h 813"/>
                <a:gd name="T96" fmla="*/ 146 w 497"/>
                <a:gd name="T97" fmla="*/ 59 h 813"/>
                <a:gd name="T98" fmla="*/ 155 w 497"/>
                <a:gd name="T99" fmla="*/ 16 h 813"/>
                <a:gd name="T100" fmla="*/ 158 w 497"/>
                <a:gd name="T101" fmla="*/ 0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97" h="813">
                  <a:moveTo>
                    <a:pt x="224" y="14"/>
                  </a:moveTo>
                  <a:lnTo>
                    <a:pt x="203" y="118"/>
                  </a:lnTo>
                  <a:lnTo>
                    <a:pt x="211" y="133"/>
                  </a:lnTo>
                  <a:lnTo>
                    <a:pt x="220" y="156"/>
                  </a:lnTo>
                  <a:lnTo>
                    <a:pt x="220" y="164"/>
                  </a:lnTo>
                  <a:lnTo>
                    <a:pt x="215" y="169"/>
                  </a:lnTo>
                  <a:lnTo>
                    <a:pt x="222" y="175"/>
                  </a:lnTo>
                  <a:lnTo>
                    <a:pt x="217" y="179"/>
                  </a:lnTo>
                  <a:lnTo>
                    <a:pt x="217" y="185"/>
                  </a:lnTo>
                  <a:lnTo>
                    <a:pt x="227" y="188"/>
                  </a:lnTo>
                  <a:lnTo>
                    <a:pt x="227" y="189"/>
                  </a:lnTo>
                  <a:lnTo>
                    <a:pt x="227" y="191"/>
                  </a:lnTo>
                  <a:lnTo>
                    <a:pt x="227" y="192"/>
                  </a:lnTo>
                  <a:lnTo>
                    <a:pt x="227" y="194"/>
                  </a:lnTo>
                  <a:lnTo>
                    <a:pt x="227" y="194"/>
                  </a:lnTo>
                  <a:lnTo>
                    <a:pt x="227" y="196"/>
                  </a:lnTo>
                  <a:lnTo>
                    <a:pt x="229" y="197"/>
                  </a:lnTo>
                  <a:lnTo>
                    <a:pt x="229" y="197"/>
                  </a:lnTo>
                  <a:lnTo>
                    <a:pt x="233" y="199"/>
                  </a:lnTo>
                  <a:lnTo>
                    <a:pt x="236" y="200"/>
                  </a:lnTo>
                  <a:lnTo>
                    <a:pt x="239" y="203"/>
                  </a:lnTo>
                  <a:lnTo>
                    <a:pt x="242" y="206"/>
                  </a:lnTo>
                  <a:lnTo>
                    <a:pt x="245" y="211"/>
                  </a:lnTo>
                  <a:lnTo>
                    <a:pt x="248" y="216"/>
                  </a:lnTo>
                  <a:lnTo>
                    <a:pt x="249" y="221"/>
                  </a:lnTo>
                  <a:lnTo>
                    <a:pt x="252" y="227"/>
                  </a:lnTo>
                  <a:lnTo>
                    <a:pt x="253" y="232"/>
                  </a:lnTo>
                  <a:lnTo>
                    <a:pt x="255" y="236"/>
                  </a:lnTo>
                  <a:lnTo>
                    <a:pt x="256" y="242"/>
                  </a:lnTo>
                  <a:lnTo>
                    <a:pt x="257" y="246"/>
                  </a:lnTo>
                  <a:lnTo>
                    <a:pt x="257" y="249"/>
                  </a:lnTo>
                  <a:lnTo>
                    <a:pt x="259" y="252"/>
                  </a:lnTo>
                  <a:lnTo>
                    <a:pt x="259" y="254"/>
                  </a:lnTo>
                  <a:lnTo>
                    <a:pt x="259" y="255"/>
                  </a:lnTo>
                  <a:lnTo>
                    <a:pt x="266" y="258"/>
                  </a:lnTo>
                  <a:lnTo>
                    <a:pt x="266" y="268"/>
                  </a:lnTo>
                  <a:lnTo>
                    <a:pt x="277" y="268"/>
                  </a:lnTo>
                  <a:lnTo>
                    <a:pt x="278" y="279"/>
                  </a:lnTo>
                  <a:lnTo>
                    <a:pt x="283" y="279"/>
                  </a:lnTo>
                  <a:lnTo>
                    <a:pt x="283" y="279"/>
                  </a:lnTo>
                  <a:lnTo>
                    <a:pt x="299" y="279"/>
                  </a:lnTo>
                  <a:lnTo>
                    <a:pt x="299" y="281"/>
                  </a:lnTo>
                  <a:lnTo>
                    <a:pt x="289" y="299"/>
                  </a:lnTo>
                  <a:lnTo>
                    <a:pt x="289" y="309"/>
                  </a:lnTo>
                  <a:lnTo>
                    <a:pt x="289" y="309"/>
                  </a:lnTo>
                  <a:lnTo>
                    <a:pt x="282" y="318"/>
                  </a:lnTo>
                  <a:lnTo>
                    <a:pt x="283" y="318"/>
                  </a:lnTo>
                  <a:lnTo>
                    <a:pt x="283" y="325"/>
                  </a:lnTo>
                  <a:lnTo>
                    <a:pt x="278" y="329"/>
                  </a:lnTo>
                  <a:lnTo>
                    <a:pt x="277" y="338"/>
                  </a:lnTo>
                  <a:lnTo>
                    <a:pt x="279" y="354"/>
                  </a:lnTo>
                  <a:lnTo>
                    <a:pt x="279" y="356"/>
                  </a:lnTo>
                  <a:lnTo>
                    <a:pt x="278" y="357"/>
                  </a:lnTo>
                  <a:lnTo>
                    <a:pt x="277" y="359"/>
                  </a:lnTo>
                  <a:lnTo>
                    <a:pt x="277" y="359"/>
                  </a:lnTo>
                  <a:lnTo>
                    <a:pt x="271" y="361"/>
                  </a:lnTo>
                  <a:lnTo>
                    <a:pt x="268" y="364"/>
                  </a:lnTo>
                  <a:lnTo>
                    <a:pt x="266" y="367"/>
                  </a:lnTo>
                  <a:lnTo>
                    <a:pt x="265" y="371"/>
                  </a:lnTo>
                  <a:lnTo>
                    <a:pt x="265" y="375"/>
                  </a:lnTo>
                  <a:lnTo>
                    <a:pt x="266" y="378"/>
                  </a:lnTo>
                  <a:lnTo>
                    <a:pt x="266" y="381"/>
                  </a:lnTo>
                  <a:lnTo>
                    <a:pt x="266" y="383"/>
                  </a:lnTo>
                  <a:lnTo>
                    <a:pt x="262" y="384"/>
                  </a:lnTo>
                  <a:lnTo>
                    <a:pt x="262" y="391"/>
                  </a:lnTo>
                  <a:lnTo>
                    <a:pt x="269" y="394"/>
                  </a:lnTo>
                  <a:lnTo>
                    <a:pt x="277" y="401"/>
                  </a:lnTo>
                  <a:lnTo>
                    <a:pt x="289" y="397"/>
                  </a:lnTo>
                  <a:lnTo>
                    <a:pt x="302" y="386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10" y="383"/>
                  </a:lnTo>
                  <a:lnTo>
                    <a:pt x="310" y="381"/>
                  </a:lnTo>
                  <a:lnTo>
                    <a:pt x="310" y="381"/>
                  </a:lnTo>
                  <a:lnTo>
                    <a:pt x="312" y="383"/>
                  </a:lnTo>
                  <a:lnTo>
                    <a:pt x="313" y="386"/>
                  </a:lnTo>
                  <a:lnTo>
                    <a:pt x="315" y="392"/>
                  </a:lnTo>
                  <a:lnTo>
                    <a:pt x="315" y="401"/>
                  </a:lnTo>
                  <a:lnTo>
                    <a:pt x="315" y="413"/>
                  </a:lnTo>
                  <a:lnTo>
                    <a:pt x="315" y="422"/>
                  </a:lnTo>
                  <a:lnTo>
                    <a:pt x="316" y="428"/>
                  </a:lnTo>
                  <a:lnTo>
                    <a:pt x="318" y="434"/>
                  </a:lnTo>
                  <a:lnTo>
                    <a:pt x="319" y="440"/>
                  </a:lnTo>
                  <a:lnTo>
                    <a:pt x="321" y="443"/>
                  </a:lnTo>
                  <a:lnTo>
                    <a:pt x="322" y="444"/>
                  </a:lnTo>
                  <a:lnTo>
                    <a:pt x="324" y="446"/>
                  </a:lnTo>
                  <a:lnTo>
                    <a:pt x="326" y="453"/>
                  </a:lnTo>
                  <a:lnTo>
                    <a:pt x="328" y="457"/>
                  </a:lnTo>
                  <a:lnTo>
                    <a:pt x="329" y="461"/>
                  </a:lnTo>
                  <a:lnTo>
                    <a:pt x="329" y="463"/>
                  </a:lnTo>
                  <a:lnTo>
                    <a:pt x="328" y="466"/>
                  </a:lnTo>
                  <a:lnTo>
                    <a:pt x="328" y="466"/>
                  </a:lnTo>
                  <a:lnTo>
                    <a:pt x="328" y="467"/>
                  </a:lnTo>
                  <a:lnTo>
                    <a:pt x="326" y="468"/>
                  </a:lnTo>
                  <a:lnTo>
                    <a:pt x="325" y="473"/>
                  </a:lnTo>
                  <a:lnTo>
                    <a:pt x="326" y="476"/>
                  </a:lnTo>
                  <a:lnTo>
                    <a:pt x="328" y="479"/>
                  </a:lnTo>
                  <a:lnTo>
                    <a:pt x="331" y="482"/>
                  </a:lnTo>
                  <a:lnTo>
                    <a:pt x="334" y="483"/>
                  </a:lnTo>
                  <a:lnTo>
                    <a:pt x="337" y="485"/>
                  </a:lnTo>
                  <a:lnTo>
                    <a:pt x="338" y="485"/>
                  </a:lnTo>
                  <a:lnTo>
                    <a:pt x="340" y="485"/>
                  </a:lnTo>
                  <a:lnTo>
                    <a:pt x="349" y="500"/>
                  </a:lnTo>
                  <a:lnTo>
                    <a:pt x="349" y="501"/>
                  </a:lnTo>
                  <a:lnTo>
                    <a:pt x="351" y="504"/>
                  </a:lnTo>
                  <a:lnTo>
                    <a:pt x="351" y="510"/>
                  </a:lnTo>
                  <a:lnTo>
                    <a:pt x="351" y="516"/>
                  </a:lnTo>
                  <a:lnTo>
                    <a:pt x="352" y="521"/>
                  </a:lnTo>
                  <a:lnTo>
                    <a:pt x="352" y="526"/>
                  </a:lnTo>
                  <a:lnTo>
                    <a:pt x="354" y="530"/>
                  </a:lnTo>
                  <a:lnTo>
                    <a:pt x="354" y="531"/>
                  </a:lnTo>
                  <a:lnTo>
                    <a:pt x="357" y="536"/>
                  </a:lnTo>
                  <a:lnTo>
                    <a:pt x="360" y="539"/>
                  </a:lnTo>
                  <a:lnTo>
                    <a:pt x="361" y="539"/>
                  </a:lnTo>
                  <a:lnTo>
                    <a:pt x="362" y="539"/>
                  </a:lnTo>
                  <a:lnTo>
                    <a:pt x="364" y="536"/>
                  </a:lnTo>
                  <a:lnTo>
                    <a:pt x="365" y="534"/>
                  </a:lnTo>
                  <a:lnTo>
                    <a:pt x="365" y="533"/>
                  </a:lnTo>
                  <a:lnTo>
                    <a:pt x="365" y="531"/>
                  </a:lnTo>
                  <a:lnTo>
                    <a:pt x="368" y="527"/>
                  </a:lnTo>
                  <a:lnTo>
                    <a:pt x="372" y="526"/>
                  </a:lnTo>
                  <a:lnTo>
                    <a:pt x="375" y="526"/>
                  </a:lnTo>
                  <a:lnTo>
                    <a:pt x="378" y="526"/>
                  </a:lnTo>
                  <a:lnTo>
                    <a:pt x="382" y="527"/>
                  </a:lnTo>
                  <a:lnTo>
                    <a:pt x="384" y="528"/>
                  </a:lnTo>
                  <a:lnTo>
                    <a:pt x="387" y="530"/>
                  </a:lnTo>
                  <a:lnTo>
                    <a:pt x="388" y="531"/>
                  </a:lnTo>
                  <a:lnTo>
                    <a:pt x="393" y="534"/>
                  </a:lnTo>
                  <a:lnTo>
                    <a:pt x="397" y="534"/>
                  </a:lnTo>
                  <a:lnTo>
                    <a:pt x="400" y="533"/>
                  </a:lnTo>
                  <a:lnTo>
                    <a:pt x="403" y="531"/>
                  </a:lnTo>
                  <a:lnTo>
                    <a:pt x="403" y="528"/>
                  </a:lnTo>
                  <a:lnTo>
                    <a:pt x="405" y="527"/>
                  </a:lnTo>
                  <a:lnTo>
                    <a:pt x="405" y="524"/>
                  </a:lnTo>
                  <a:lnTo>
                    <a:pt x="406" y="524"/>
                  </a:lnTo>
                  <a:lnTo>
                    <a:pt x="409" y="523"/>
                  </a:lnTo>
                  <a:lnTo>
                    <a:pt x="411" y="523"/>
                  </a:lnTo>
                  <a:lnTo>
                    <a:pt x="412" y="524"/>
                  </a:lnTo>
                  <a:lnTo>
                    <a:pt x="414" y="526"/>
                  </a:lnTo>
                  <a:lnTo>
                    <a:pt x="415" y="527"/>
                  </a:lnTo>
                  <a:lnTo>
                    <a:pt x="415" y="528"/>
                  </a:lnTo>
                  <a:lnTo>
                    <a:pt x="417" y="530"/>
                  </a:lnTo>
                  <a:lnTo>
                    <a:pt x="417" y="531"/>
                  </a:lnTo>
                  <a:lnTo>
                    <a:pt x="421" y="531"/>
                  </a:lnTo>
                  <a:lnTo>
                    <a:pt x="438" y="528"/>
                  </a:lnTo>
                  <a:lnTo>
                    <a:pt x="444" y="533"/>
                  </a:lnTo>
                  <a:lnTo>
                    <a:pt x="454" y="533"/>
                  </a:lnTo>
                  <a:lnTo>
                    <a:pt x="466" y="531"/>
                  </a:lnTo>
                  <a:lnTo>
                    <a:pt x="472" y="518"/>
                  </a:lnTo>
                  <a:lnTo>
                    <a:pt x="481" y="518"/>
                  </a:lnTo>
                  <a:lnTo>
                    <a:pt x="487" y="534"/>
                  </a:lnTo>
                  <a:lnTo>
                    <a:pt x="496" y="548"/>
                  </a:lnTo>
                  <a:lnTo>
                    <a:pt x="457" y="812"/>
                  </a:lnTo>
                  <a:lnTo>
                    <a:pt x="457" y="812"/>
                  </a:lnTo>
                  <a:lnTo>
                    <a:pt x="227" y="770"/>
                  </a:lnTo>
                  <a:lnTo>
                    <a:pt x="227" y="770"/>
                  </a:lnTo>
                  <a:lnTo>
                    <a:pt x="226" y="770"/>
                  </a:lnTo>
                  <a:lnTo>
                    <a:pt x="224" y="770"/>
                  </a:lnTo>
                  <a:lnTo>
                    <a:pt x="222" y="768"/>
                  </a:lnTo>
                  <a:lnTo>
                    <a:pt x="219" y="768"/>
                  </a:lnTo>
                  <a:lnTo>
                    <a:pt x="215" y="767"/>
                  </a:lnTo>
                  <a:lnTo>
                    <a:pt x="211" y="765"/>
                  </a:lnTo>
                  <a:lnTo>
                    <a:pt x="205" y="765"/>
                  </a:lnTo>
                  <a:lnTo>
                    <a:pt x="199" y="764"/>
                  </a:lnTo>
                  <a:lnTo>
                    <a:pt x="193" y="762"/>
                  </a:lnTo>
                  <a:lnTo>
                    <a:pt x="186" y="761"/>
                  </a:lnTo>
                  <a:lnTo>
                    <a:pt x="179" y="759"/>
                  </a:lnTo>
                  <a:lnTo>
                    <a:pt x="172" y="758"/>
                  </a:lnTo>
                  <a:lnTo>
                    <a:pt x="163" y="756"/>
                  </a:lnTo>
                  <a:lnTo>
                    <a:pt x="155" y="753"/>
                  </a:lnTo>
                  <a:lnTo>
                    <a:pt x="148" y="752"/>
                  </a:lnTo>
                  <a:lnTo>
                    <a:pt x="139" y="750"/>
                  </a:lnTo>
                  <a:lnTo>
                    <a:pt x="130" y="748"/>
                  </a:lnTo>
                  <a:lnTo>
                    <a:pt x="120" y="747"/>
                  </a:lnTo>
                  <a:lnTo>
                    <a:pt x="112" y="746"/>
                  </a:lnTo>
                  <a:lnTo>
                    <a:pt x="101" y="743"/>
                  </a:lnTo>
                  <a:lnTo>
                    <a:pt x="93" y="741"/>
                  </a:lnTo>
                  <a:lnTo>
                    <a:pt x="83" y="738"/>
                  </a:lnTo>
                  <a:lnTo>
                    <a:pt x="73" y="737"/>
                  </a:lnTo>
                  <a:lnTo>
                    <a:pt x="64" y="734"/>
                  </a:lnTo>
                  <a:lnTo>
                    <a:pt x="54" y="732"/>
                  </a:lnTo>
                  <a:lnTo>
                    <a:pt x="44" y="729"/>
                  </a:lnTo>
                  <a:lnTo>
                    <a:pt x="35" y="728"/>
                  </a:lnTo>
                  <a:lnTo>
                    <a:pt x="27" y="726"/>
                  </a:lnTo>
                  <a:lnTo>
                    <a:pt x="17" y="723"/>
                  </a:lnTo>
                  <a:lnTo>
                    <a:pt x="8" y="722"/>
                  </a:lnTo>
                  <a:lnTo>
                    <a:pt x="0" y="720"/>
                  </a:lnTo>
                  <a:lnTo>
                    <a:pt x="38" y="556"/>
                  </a:lnTo>
                  <a:lnTo>
                    <a:pt x="37" y="545"/>
                  </a:lnTo>
                  <a:lnTo>
                    <a:pt x="53" y="518"/>
                  </a:lnTo>
                  <a:lnTo>
                    <a:pt x="53" y="509"/>
                  </a:lnTo>
                  <a:lnTo>
                    <a:pt x="57" y="503"/>
                  </a:lnTo>
                  <a:lnTo>
                    <a:pt x="60" y="496"/>
                  </a:lnTo>
                  <a:lnTo>
                    <a:pt x="56" y="491"/>
                  </a:lnTo>
                  <a:lnTo>
                    <a:pt x="40" y="482"/>
                  </a:lnTo>
                  <a:lnTo>
                    <a:pt x="41" y="474"/>
                  </a:lnTo>
                  <a:lnTo>
                    <a:pt x="41" y="474"/>
                  </a:lnTo>
                  <a:lnTo>
                    <a:pt x="41" y="473"/>
                  </a:lnTo>
                  <a:lnTo>
                    <a:pt x="41" y="471"/>
                  </a:lnTo>
                  <a:lnTo>
                    <a:pt x="43" y="470"/>
                  </a:lnTo>
                  <a:lnTo>
                    <a:pt x="43" y="468"/>
                  </a:lnTo>
                  <a:lnTo>
                    <a:pt x="44" y="467"/>
                  </a:lnTo>
                  <a:lnTo>
                    <a:pt x="44" y="466"/>
                  </a:lnTo>
                  <a:lnTo>
                    <a:pt x="44" y="464"/>
                  </a:lnTo>
                  <a:lnTo>
                    <a:pt x="49" y="455"/>
                  </a:lnTo>
                  <a:lnTo>
                    <a:pt x="53" y="449"/>
                  </a:lnTo>
                  <a:lnTo>
                    <a:pt x="60" y="441"/>
                  </a:lnTo>
                  <a:lnTo>
                    <a:pt x="65" y="434"/>
                  </a:lnTo>
                  <a:lnTo>
                    <a:pt x="73" y="428"/>
                  </a:lnTo>
                  <a:lnTo>
                    <a:pt x="79" y="424"/>
                  </a:lnTo>
                  <a:lnTo>
                    <a:pt x="82" y="422"/>
                  </a:lnTo>
                  <a:lnTo>
                    <a:pt x="83" y="420"/>
                  </a:lnTo>
                  <a:lnTo>
                    <a:pt x="83" y="413"/>
                  </a:lnTo>
                  <a:lnTo>
                    <a:pt x="123" y="357"/>
                  </a:lnTo>
                  <a:lnTo>
                    <a:pt x="124" y="350"/>
                  </a:lnTo>
                  <a:lnTo>
                    <a:pt x="119" y="338"/>
                  </a:lnTo>
                  <a:lnTo>
                    <a:pt x="110" y="331"/>
                  </a:lnTo>
                  <a:lnTo>
                    <a:pt x="100" y="311"/>
                  </a:lnTo>
                  <a:lnTo>
                    <a:pt x="100" y="302"/>
                  </a:lnTo>
                  <a:lnTo>
                    <a:pt x="103" y="291"/>
                  </a:lnTo>
                  <a:lnTo>
                    <a:pt x="103" y="281"/>
                  </a:lnTo>
                  <a:lnTo>
                    <a:pt x="98" y="271"/>
                  </a:lnTo>
                  <a:lnTo>
                    <a:pt x="103" y="257"/>
                  </a:lnTo>
                  <a:lnTo>
                    <a:pt x="103" y="255"/>
                  </a:lnTo>
                  <a:lnTo>
                    <a:pt x="103" y="254"/>
                  </a:lnTo>
                  <a:lnTo>
                    <a:pt x="104" y="251"/>
                  </a:lnTo>
                  <a:lnTo>
                    <a:pt x="106" y="245"/>
                  </a:lnTo>
                  <a:lnTo>
                    <a:pt x="107" y="239"/>
                  </a:lnTo>
                  <a:lnTo>
                    <a:pt x="109" y="232"/>
                  </a:lnTo>
                  <a:lnTo>
                    <a:pt x="110" y="225"/>
                  </a:lnTo>
                  <a:lnTo>
                    <a:pt x="112" y="216"/>
                  </a:lnTo>
                  <a:lnTo>
                    <a:pt x="115" y="206"/>
                  </a:lnTo>
                  <a:lnTo>
                    <a:pt x="116" y="196"/>
                  </a:lnTo>
                  <a:lnTo>
                    <a:pt x="119" y="186"/>
                  </a:lnTo>
                  <a:lnTo>
                    <a:pt x="122" y="175"/>
                  </a:lnTo>
                  <a:lnTo>
                    <a:pt x="123" y="163"/>
                  </a:lnTo>
                  <a:lnTo>
                    <a:pt x="125" y="152"/>
                  </a:lnTo>
                  <a:lnTo>
                    <a:pt x="128" y="140"/>
                  </a:lnTo>
                  <a:lnTo>
                    <a:pt x="131" y="128"/>
                  </a:lnTo>
                  <a:lnTo>
                    <a:pt x="134" y="116"/>
                  </a:lnTo>
                  <a:lnTo>
                    <a:pt x="136" y="103"/>
                  </a:lnTo>
                  <a:lnTo>
                    <a:pt x="139" y="92"/>
                  </a:lnTo>
                  <a:lnTo>
                    <a:pt x="142" y="80"/>
                  </a:lnTo>
                  <a:lnTo>
                    <a:pt x="145" y="68"/>
                  </a:lnTo>
                  <a:lnTo>
                    <a:pt x="146" y="59"/>
                  </a:lnTo>
                  <a:lnTo>
                    <a:pt x="149" y="49"/>
                  </a:lnTo>
                  <a:lnTo>
                    <a:pt x="151" y="40"/>
                  </a:lnTo>
                  <a:lnTo>
                    <a:pt x="154" y="32"/>
                  </a:lnTo>
                  <a:lnTo>
                    <a:pt x="155" y="23"/>
                  </a:lnTo>
                  <a:lnTo>
                    <a:pt x="155" y="16"/>
                  </a:lnTo>
                  <a:lnTo>
                    <a:pt x="157" y="10"/>
                  </a:lnTo>
                  <a:lnTo>
                    <a:pt x="158" y="5"/>
                  </a:lnTo>
                  <a:lnTo>
                    <a:pt x="158" y="2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224" y="1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" name="Freeform 16"/>
            <p:cNvSpPr>
              <a:spLocks/>
            </p:cNvSpPr>
            <p:nvPr/>
          </p:nvSpPr>
          <p:spPr bwMode="auto">
            <a:xfrm>
              <a:off x="1147965" y="3972315"/>
              <a:ext cx="333959" cy="545825"/>
            </a:xfrm>
            <a:custGeom>
              <a:avLst/>
              <a:gdLst>
                <a:gd name="T0" fmla="*/ 220 w 497"/>
                <a:gd name="T1" fmla="*/ 164 h 813"/>
                <a:gd name="T2" fmla="*/ 227 w 497"/>
                <a:gd name="T3" fmla="*/ 188 h 813"/>
                <a:gd name="T4" fmla="*/ 227 w 497"/>
                <a:gd name="T5" fmla="*/ 194 h 813"/>
                <a:gd name="T6" fmla="*/ 229 w 497"/>
                <a:gd name="T7" fmla="*/ 197 h 813"/>
                <a:gd name="T8" fmla="*/ 245 w 497"/>
                <a:gd name="T9" fmla="*/ 211 h 813"/>
                <a:gd name="T10" fmla="*/ 255 w 497"/>
                <a:gd name="T11" fmla="*/ 236 h 813"/>
                <a:gd name="T12" fmla="*/ 259 w 497"/>
                <a:gd name="T13" fmla="*/ 254 h 813"/>
                <a:gd name="T14" fmla="*/ 278 w 497"/>
                <a:gd name="T15" fmla="*/ 279 h 813"/>
                <a:gd name="T16" fmla="*/ 289 w 497"/>
                <a:gd name="T17" fmla="*/ 299 h 813"/>
                <a:gd name="T18" fmla="*/ 283 w 497"/>
                <a:gd name="T19" fmla="*/ 325 h 813"/>
                <a:gd name="T20" fmla="*/ 279 w 497"/>
                <a:gd name="T21" fmla="*/ 356 h 813"/>
                <a:gd name="T22" fmla="*/ 271 w 497"/>
                <a:gd name="T23" fmla="*/ 361 h 813"/>
                <a:gd name="T24" fmla="*/ 266 w 497"/>
                <a:gd name="T25" fmla="*/ 378 h 813"/>
                <a:gd name="T26" fmla="*/ 269 w 497"/>
                <a:gd name="T27" fmla="*/ 394 h 813"/>
                <a:gd name="T28" fmla="*/ 308 w 497"/>
                <a:gd name="T29" fmla="*/ 384 h 813"/>
                <a:gd name="T30" fmla="*/ 312 w 497"/>
                <a:gd name="T31" fmla="*/ 383 h 813"/>
                <a:gd name="T32" fmla="*/ 315 w 497"/>
                <a:gd name="T33" fmla="*/ 413 h 813"/>
                <a:gd name="T34" fmla="*/ 321 w 497"/>
                <a:gd name="T35" fmla="*/ 443 h 813"/>
                <a:gd name="T36" fmla="*/ 328 w 497"/>
                <a:gd name="T37" fmla="*/ 457 h 813"/>
                <a:gd name="T38" fmla="*/ 328 w 497"/>
                <a:gd name="T39" fmla="*/ 467 h 813"/>
                <a:gd name="T40" fmla="*/ 328 w 497"/>
                <a:gd name="T41" fmla="*/ 479 h 813"/>
                <a:gd name="T42" fmla="*/ 340 w 497"/>
                <a:gd name="T43" fmla="*/ 485 h 813"/>
                <a:gd name="T44" fmla="*/ 351 w 497"/>
                <a:gd name="T45" fmla="*/ 510 h 813"/>
                <a:gd name="T46" fmla="*/ 354 w 497"/>
                <a:gd name="T47" fmla="*/ 531 h 813"/>
                <a:gd name="T48" fmla="*/ 362 w 497"/>
                <a:gd name="T49" fmla="*/ 539 h 813"/>
                <a:gd name="T50" fmla="*/ 365 w 497"/>
                <a:gd name="T51" fmla="*/ 531 h 813"/>
                <a:gd name="T52" fmla="*/ 382 w 497"/>
                <a:gd name="T53" fmla="*/ 527 h 813"/>
                <a:gd name="T54" fmla="*/ 393 w 497"/>
                <a:gd name="T55" fmla="*/ 534 h 813"/>
                <a:gd name="T56" fmla="*/ 405 w 497"/>
                <a:gd name="T57" fmla="*/ 527 h 813"/>
                <a:gd name="T58" fmla="*/ 411 w 497"/>
                <a:gd name="T59" fmla="*/ 523 h 813"/>
                <a:gd name="T60" fmla="*/ 417 w 497"/>
                <a:gd name="T61" fmla="*/ 530 h 813"/>
                <a:gd name="T62" fmla="*/ 454 w 497"/>
                <a:gd name="T63" fmla="*/ 533 h 813"/>
                <a:gd name="T64" fmla="*/ 496 w 497"/>
                <a:gd name="T65" fmla="*/ 548 h 813"/>
                <a:gd name="T66" fmla="*/ 227 w 497"/>
                <a:gd name="T67" fmla="*/ 770 h 813"/>
                <a:gd name="T68" fmla="*/ 215 w 497"/>
                <a:gd name="T69" fmla="*/ 767 h 813"/>
                <a:gd name="T70" fmla="*/ 186 w 497"/>
                <a:gd name="T71" fmla="*/ 761 h 813"/>
                <a:gd name="T72" fmla="*/ 148 w 497"/>
                <a:gd name="T73" fmla="*/ 752 h 813"/>
                <a:gd name="T74" fmla="*/ 101 w 497"/>
                <a:gd name="T75" fmla="*/ 743 h 813"/>
                <a:gd name="T76" fmla="*/ 54 w 497"/>
                <a:gd name="T77" fmla="*/ 732 h 813"/>
                <a:gd name="T78" fmla="*/ 8 w 497"/>
                <a:gd name="T79" fmla="*/ 722 h 813"/>
                <a:gd name="T80" fmla="*/ 53 w 497"/>
                <a:gd name="T81" fmla="*/ 509 h 813"/>
                <a:gd name="T82" fmla="*/ 41 w 497"/>
                <a:gd name="T83" fmla="*/ 474 h 813"/>
                <a:gd name="T84" fmla="*/ 43 w 497"/>
                <a:gd name="T85" fmla="*/ 470 h 813"/>
                <a:gd name="T86" fmla="*/ 44 w 497"/>
                <a:gd name="T87" fmla="*/ 464 h 813"/>
                <a:gd name="T88" fmla="*/ 73 w 497"/>
                <a:gd name="T89" fmla="*/ 428 h 813"/>
                <a:gd name="T90" fmla="*/ 123 w 497"/>
                <a:gd name="T91" fmla="*/ 357 h 813"/>
                <a:gd name="T92" fmla="*/ 100 w 497"/>
                <a:gd name="T93" fmla="*/ 302 h 813"/>
                <a:gd name="T94" fmla="*/ 103 w 497"/>
                <a:gd name="T95" fmla="*/ 257 h 813"/>
                <a:gd name="T96" fmla="*/ 107 w 497"/>
                <a:gd name="T97" fmla="*/ 239 h 813"/>
                <a:gd name="T98" fmla="*/ 116 w 497"/>
                <a:gd name="T99" fmla="*/ 196 h 813"/>
                <a:gd name="T100" fmla="*/ 128 w 497"/>
                <a:gd name="T101" fmla="*/ 140 h 813"/>
                <a:gd name="T102" fmla="*/ 142 w 497"/>
                <a:gd name="T103" fmla="*/ 80 h 813"/>
                <a:gd name="T104" fmla="*/ 154 w 497"/>
                <a:gd name="T105" fmla="*/ 32 h 813"/>
                <a:gd name="T106" fmla="*/ 158 w 497"/>
                <a:gd name="T107" fmla="*/ 2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7" h="813">
                  <a:moveTo>
                    <a:pt x="224" y="14"/>
                  </a:moveTo>
                  <a:lnTo>
                    <a:pt x="203" y="118"/>
                  </a:lnTo>
                  <a:lnTo>
                    <a:pt x="211" y="133"/>
                  </a:lnTo>
                  <a:lnTo>
                    <a:pt x="220" y="156"/>
                  </a:lnTo>
                  <a:lnTo>
                    <a:pt x="220" y="164"/>
                  </a:lnTo>
                  <a:lnTo>
                    <a:pt x="215" y="169"/>
                  </a:lnTo>
                  <a:lnTo>
                    <a:pt x="222" y="175"/>
                  </a:lnTo>
                  <a:lnTo>
                    <a:pt x="217" y="179"/>
                  </a:lnTo>
                  <a:lnTo>
                    <a:pt x="217" y="185"/>
                  </a:lnTo>
                  <a:lnTo>
                    <a:pt x="227" y="188"/>
                  </a:lnTo>
                  <a:lnTo>
                    <a:pt x="227" y="188"/>
                  </a:lnTo>
                  <a:lnTo>
                    <a:pt x="227" y="189"/>
                  </a:lnTo>
                  <a:lnTo>
                    <a:pt x="227" y="191"/>
                  </a:lnTo>
                  <a:lnTo>
                    <a:pt x="227" y="192"/>
                  </a:lnTo>
                  <a:lnTo>
                    <a:pt x="227" y="194"/>
                  </a:lnTo>
                  <a:lnTo>
                    <a:pt x="227" y="194"/>
                  </a:lnTo>
                  <a:lnTo>
                    <a:pt x="227" y="196"/>
                  </a:lnTo>
                  <a:lnTo>
                    <a:pt x="229" y="197"/>
                  </a:lnTo>
                  <a:lnTo>
                    <a:pt x="229" y="197"/>
                  </a:lnTo>
                  <a:lnTo>
                    <a:pt x="229" y="197"/>
                  </a:lnTo>
                  <a:lnTo>
                    <a:pt x="233" y="199"/>
                  </a:lnTo>
                  <a:lnTo>
                    <a:pt x="236" y="200"/>
                  </a:lnTo>
                  <a:lnTo>
                    <a:pt x="239" y="203"/>
                  </a:lnTo>
                  <a:lnTo>
                    <a:pt x="242" y="206"/>
                  </a:lnTo>
                  <a:lnTo>
                    <a:pt x="245" y="211"/>
                  </a:lnTo>
                  <a:lnTo>
                    <a:pt x="248" y="216"/>
                  </a:lnTo>
                  <a:lnTo>
                    <a:pt x="249" y="221"/>
                  </a:lnTo>
                  <a:lnTo>
                    <a:pt x="252" y="227"/>
                  </a:lnTo>
                  <a:lnTo>
                    <a:pt x="253" y="232"/>
                  </a:lnTo>
                  <a:lnTo>
                    <a:pt x="255" y="236"/>
                  </a:lnTo>
                  <a:lnTo>
                    <a:pt x="256" y="242"/>
                  </a:lnTo>
                  <a:lnTo>
                    <a:pt x="257" y="246"/>
                  </a:lnTo>
                  <a:lnTo>
                    <a:pt x="257" y="249"/>
                  </a:lnTo>
                  <a:lnTo>
                    <a:pt x="259" y="252"/>
                  </a:lnTo>
                  <a:lnTo>
                    <a:pt x="259" y="254"/>
                  </a:lnTo>
                  <a:lnTo>
                    <a:pt x="259" y="255"/>
                  </a:lnTo>
                  <a:lnTo>
                    <a:pt x="266" y="258"/>
                  </a:lnTo>
                  <a:lnTo>
                    <a:pt x="266" y="268"/>
                  </a:lnTo>
                  <a:lnTo>
                    <a:pt x="277" y="268"/>
                  </a:lnTo>
                  <a:lnTo>
                    <a:pt x="278" y="279"/>
                  </a:lnTo>
                  <a:lnTo>
                    <a:pt x="283" y="279"/>
                  </a:lnTo>
                  <a:lnTo>
                    <a:pt x="283" y="279"/>
                  </a:lnTo>
                  <a:lnTo>
                    <a:pt x="299" y="279"/>
                  </a:lnTo>
                  <a:lnTo>
                    <a:pt x="299" y="281"/>
                  </a:lnTo>
                  <a:lnTo>
                    <a:pt x="289" y="299"/>
                  </a:lnTo>
                  <a:lnTo>
                    <a:pt x="289" y="309"/>
                  </a:lnTo>
                  <a:lnTo>
                    <a:pt x="289" y="309"/>
                  </a:lnTo>
                  <a:lnTo>
                    <a:pt x="282" y="318"/>
                  </a:lnTo>
                  <a:lnTo>
                    <a:pt x="283" y="318"/>
                  </a:lnTo>
                  <a:lnTo>
                    <a:pt x="283" y="325"/>
                  </a:lnTo>
                  <a:lnTo>
                    <a:pt x="278" y="329"/>
                  </a:lnTo>
                  <a:lnTo>
                    <a:pt x="277" y="338"/>
                  </a:lnTo>
                  <a:lnTo>
                    <a:pt x="279" y="354"/>
                  </a:lnTo>
                  <a:lnTo>
                    <a:pt x="279" y="354"/>
                  </a:lnTo>
                  <a:lnTo>
                    <a:pt x="279" y="356"/>
                  </a:lnTo>
                  <a:lnTo>
                    <a:pt x="278" y="357"/>
                  </a:lnTo>
                  <a:lnTo>
                    <a:pt x="277" y="359"/>
                  </a:lnTo>
                  <a:lnTo>
                    <a:pt x="277" y="359"/>
                  </a:lnTo>
                  <a:lnTo>
                    <a:pt x="277" y="359"/>
                  </a:lnTo>
                  <a:lnTo>
                    <a:pt x="271" y="361"/>
                  </a:lnTo>
                  <a:lnTo>
                    <a:pt x="268" y="364"/>
                  </a:lnTo>
                  <a:lnTo>
                    <a:pt x="266" y="367"/>
                  </a:lnTo>
                  <a:lnTo>
                    <a:pt x="265" y="371"/>
                  </a:lnTo>
                  <a:lnTo>
                    <a:pt x="265" y="375"/>
                  </a:lnTo>
                  <a:lnTo>
                    <a:pt x="266" y="378"/>
                  </a:lnTo>
                  <a:lnTo>
                    <a:pt x="266" y="381"/>
                  </a:lnTo>
                  <a:lnTo>
                    <a:pt x="266" y="383"/>
                  </a:lnTo>
                  <a:lnTo>
                    <a:pt x="262" y="384"/>
                  </a:lnTo>
                  <a:lnTo>
                    <a:pt x="262" y="391"/>
                  </a:lnTo>
                  <a:lnTo>
                    <a:pt x="269" y="394"/>
                  </a:lnTo>
                  <a:lnTo>
                    <a:pt x="277" y="401"/>
                  </a:lnTo>
                  <a:lnTo>
                    <a:pt x="289" y="397"/>
                  </a:lnTo>
                  <a:lnTo>
                    <a:pt x="302" y="386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10" y="383"/>
                  </a:lnTo>
                  <a:lnTo>
                    <a:pt x="310" y="381"/>
                  </a:lnTo>
                  <a:lnTo>
                    <a:pt x="310" y="381"/>
                  </a:lnTo>
                  <a:lnTo>
                    <a:pt x="312" y="383"/>
                  </a:lnTo>
                  <a:lnTo>
                    <a:pt x="313" y="386"/>
                  </a:lnTo>
                  <a:lnTo>
                    <a:pt x="315" y="392"/>
                  </a:lnTo>
                  <a:lnTo>
                    <a:pt x="315" y="401"/>
                  </a:lnTo>
                  <a:lnTo>
                    <a:pt x="315" y="401"/>
                  </a:lnTo>
                  <a:lnTo>
                    <a:pt x="315" y="413"/>
                  </a:lnTo>
                  <a:lnTo>
                    <a:pt x="315" y="422"/>
                  </a:lnTo>
                  <a:lnTo>
                    <a:pt x="316" y="428"/>
                  </a:lnTo>
                  <a:lnTo>
                    <a:pt x="318" y="434"/>
                  </a:lnTo>
                  <a:lnTo>
                    <a:pt x="319" y="440"/>
                  </a:lnTo>
                  <a:lnTo>
                    <a:pt x="321" y="443"/>
                  </a:lnTo>
                  <a:lnTo>
                    <a:pt x="322" y="444"/>
                  </a:lnTo>
                  <a:lnTo>
                    <a:pt x="324" y="446"/>
                  </a:lnTo>
                  <a:lnTo>
                    <a:pt x="324" y="446"/>
                  </a:lnTo>
                  <a:lnTo>
                    <a:pt x="326" y="453"/>
                  </a:lnTo>
                  <a:lnTo>
                    <a:pt x="328" y="457"/>
                  </a:lnTo>
                  <a:lnTo>
                    <a:pt x="329" y="461"/>
                  </a:lnTo>
                  <a:lnTo>
                    <a:pt x="329" y="463"/>
                  </a:lnTo>
                  <a:lnTo>
                    <a:pt x="328" y="466"/>
                  </a:lnTo>
                  <a:lnTo>
                    <a:pt x="328" y="466"/>
                  </a:lnTo>
                  <a:lnTo>
                    <a:pt x="328" y="467"/>
                  </a:lnTo>
                  <a:lnTo>
                    <a:pt x="326" y="468"/>
                  </a:lnTo>
                  <a:lnTo>
                    <a:pt x="326" y="468"/>
                  </a:lnTo>
                  <a:lnTo>
                    <a:pt x="325" y="473"/>
                  </a:lnTo>
                  <a:lnTo>
                    <a:pt x="326" y="476"/>
                  </a:lnTo>
                  <a:lnTo>
                    <a:pt x="328" y="479"/>
                  </a:lnTo>
                  <a:lnTo>
                    <a:pt x="331" y="482"/>
                  </a:lnTo>
                  <a:lnTo>
                    <a:pt x="334" y="483"/>
                  </a:lnTo>
                  <a:lnTo>
                    <a:pt x="337" y="485"/>
                  </a:lnTo>
                  <a:lnTo>
                    <a:pt x="338" y="485"/>
                  </a:lnTo>
                  <a:lnTo>
                    <a:pt x="340" y="485"/>
                  </a:lnTo>
                  <a:lnTo>
                    <a:pt x="349" y="500"/>
                  </a:lnTo>
                  <a:lnTo>
                    <a:pt x="349" y="500"/>
                  </a:lnTo>
                  <a:lnTo>
                    <a:pt x="349" y="501"/>
                  </a:lnTo>
                  <a:lnTo>
                    <a:pt x="351" y="504"/>
                  </a:lnTo>
                  <a:lnTo>
                    <a:pt x="351" y="510"/>
                  </a:lnTo>
                  <a:lnTo>
                    <a:pt x="351" y="516"/>
                  </a:lnTo>
                  <a:lnTo>
                    <a:pt x="352" y="521"/>
                  </a:lnTo>
                  <a:lnTo>
                    <a:pt x="352" y="526"/>
                  </a:lnTo>
                  <a:lnTo>
                    <a:pt x="354" y="530"/>
                  </a:lnTo>
                  <a:lnTo>
                    <a:pt x="354" y="531"/>
                  </a:lnTo>
                  <a:lnTo>
                    <a:pt x="354" y="531"/>
                  </a:lnTo>
                  <a:lnTo>
                    <a:pt x="357" y="536"/>
                  </a:lnTo>
                  <a:lnTo>
                    <a:pt x="360" y="539"/>
                  </a:lnTo>
                  <a:lnTo>
                    <a:pt x="361" y="539"/>
                  </a:lnTo>
                  <a:lnTo>
                    <a:pt x="362" y="539"/>
                  </a:lnTo>
                  <a:lnTo>
                    <a:pt x="364" y="536"/>
                  </a:lnTo>
                  <a:lnTo>
                    <a:pt x="365" y="534"/>
                  </a:lnTo>
                  <a:lnTo>
                    <a:pt x="365" y="533"/>
                  </a:lnTo>
                  <a:lnTo>
                    <a:pt x="365" y="531"/>
                  </a:lnTo>
                  <a:lnTo>
                    <a:pt x="365" y="531"/>
                  </a:lnTo>
                  <a:lnTo>
                    <a:pt x="368" y="527"/>
                  </a:lnTo>
                  <a:lnTo>
                    <a:pt x="372" y="526"/>
                  </a:lnTo>
                  <a:lnTo>
                    <a:pt x="375" y="526"/>
                  </a:lnTo>
                  <a:lnTo>
                    <a:pt x="378" y="526"/>
                  </a:lnTo>
                  <a:lnTo>
                    <a:pt x="382" y="527"/>
                  </a:lnTo>
                  <a:lnTo>
                    <a:pt x="384" y="528"/>
                  </a:lnTo>
                  <a:lnTo>
                    <a:pt x="387" y="530"/>
                  </a:lnTo>
                  <a:lnTo>
                    <a:pt x="388" y="531"/>
                  </a:lnTo>
                  <a:lnTo>
                    <a:pt x="388" y="531"/>
                  </a:lnTo>
                  <a:lnTo>
                    <a:pt x="393" y="534"/>
                  </a:lnTo>
                  <a:lnTo>
                    <a:pt x="397" y="534"/>
                  </a:lnTo>
                  <a:lnTo>
                    <a:pt x="400" y="533"/>
                  </a:lnTo>
                  <a:lnTo>
                    <a:pt x="403" y="531"/>
                  </a:lnTo>
                  <a:lnTo>
                    <a:pt x="403" y="528"/>
                  </a:lnTo>
                  <a:lnTo>
                    <a:pt x="405" y="527"/>
                  </a:lnTo>
                  <a:lnTo>
                    <a:pt x="405" y="524"/>
                  </a:lnTo>
                  <a:lnTo>
                    <a:pt x="406" y="524"/>
                  </a:lnTo>
                  <a:lnTo>
                    <a:pt x="406" y="524"/>
                  </a:lnTo>
                  <a:lnTo>
                    <a:pt x="409" y="523"/>
                  </a:lnTo>
                  <a:lnTo>
                    <a:pt x="411" y="523"/>
                  </a:lnTo>
                  <a:lnTo>
                    <a:pt x="412" y="524"/>
                  </a:lnTo>
                  <a:lnTo>
                    <a:pt x="414" y="526"/>
                  </a:lnTo>
                  <a:lnTo>
                    <a:pt x="415" y="527"/>
                  </a:lnTo>
                  <a:lnTo>
                    <a:pt x="415" y="528"/>
                  </a:lnTo>
                  <a:lnTo>
                    <a:pt x="417" y="530"/>
                  </a:lnTo>
                  <a:lnTo>
                    <a:pt x="417" y="531"/>
                  </a:lnTo>
                  <a:lnTo>
                    <a:pt x="421" y="531"/>
                  </a:lnTo>
                  <a:lnTo>
                    <a:pt x="438" y="528"/>
                  </a:lnTo>
                  <a:lnTo>
                    <a:pt x="444" y="533"/>
                  </a:lnTo>
                  <a:lnTo>
                    <a:pt x="454" y="533"/>
                  </a:lnTo>
                  <a:lnTo>
                    <a:pt x="466" y="531"/>
                  </a:lnTo>
                  <a:lnTo>
                    <a:pt x="472" y="518"/>
                  </a:lnTo>
                  <a:lnTo>
                    <a:pt x="481" y="518"/>
                  </a:lnTo>
                  <a:lnTo>
                    <a:pt x="487" y="534"/>
                  </a:lnTo>
                  <a:lnTo>
                    <a:pt x="496" y="548"/>
                  </a:lnTo>
                  <a:lnTo>
                    <a:pt x="457" y="812"/>
                  </a:lnTo>
                  <a:lnTo>
                    <a:pt x="457" y="812"/>
                  </a:lnTo>
                  <a:lnTo>
                    <a:pt x="227" y="770"/>
                  </a:lnTo>
                  <a:lnTo>
                    <a:pt x="227" y="770"/>
                  </a:lnTo>
                  <a:lnTo>
                    <a:pt x="227" y="770"/>
                  </a:lnTo>
                  <a:lnTo>
                    <a:pt x="226" y="770"/>
                  </a:lnTo>
                  <a:lnTo>
                    <a:pt x="224" y="770"/>
                  </a:lnTo>
                  <a:lnTo>
                    <a:pt x="222" y="768"/>
                  </a:lnTo>
                  <a:lnTo>
                    <a:pt x="219" y="768"/>
                  </a:lnTo>
                  <a:lnTo>
                    <a:pt x="215" y="767"/>
                  </a:lnTo>
                  <a:lnTo>
                    <a:pt x="211" y="765"/>
                  </a:lnTo>
                  <a:lnTo>
                    <a:pt x="205" y="765"/>
                  </a:lnTo>
                  <a:lnTo>
                    <a:pt x="199" y="764"/>
                  </a:lnTo>
                  <a:lnTo>
                    <a:pt x="193" y="762"/>
                  </a:lnTo>
                  <a:lnTo>
                    <a:pt x="186" y="761"/>
                  </a:lnTo>
                  <a:lnTo>
                    <a:pt x="179" y="759"/>
                  </a:lnTo>
                  <a:lnTo>
                    <a:pt x="172" y="758"/>
                  </a:lnTo>
                  <a:lnTo>
                    <a:pt x="163" y="756"/>
                  </a:lnTo>
                  <a:lnTo>
                    <a:pt x="155" y="753"/>
                  </a:lnTo>
                  <a:lnTo>
                    <a:pt x="148" y="752"/>
                  </a:lnTo>
                  <a:lnTo>
                    <a:pt x="139" y="750"/>
                  </a:lnTo>
                  <a:lnTo>
                    <a:pt x="130" y="748"/>
                  </a:lnTo>
                  <a:lnTo>
                    <a:pt x="120" y="747"/>
                  </a:lnTo>
                  <a:lnTo>
                    <a:pt x="112" y="746"/>
                  </a:lnTo>
                  <a:lnTo>
                    <a:pt x="101" y="743"/>
                  </a:lnTo>
                  <a:lnTo>
                    <a:pt x="93" y="741"/>
                  </a:lnTo>
                  <a:lnTo>
                    <a:pt x="83" y="738"/>
                  </a:lnTo>
                  <a:lnTo>
                    <a:pt x="73" y="737"/>
                  </a:lnTo>
                  <a:lnTo>
                    <a:pt x="64" y="734"/>
                  </a:lnTo>
                  <a:lnTo>
                    <a:pt x="54" y="732"/>
                  </a:lnTo>
                  <a:lnTo>
                    <a:pt x="44" y="729"/>
                  </a:lnTo>
                  <a:lnTo>
                    <a:pt x="35" y="728"/>
                  </a:lnTo>
                  <a:lnTo>
                    <a:pt x="27" y="726"/>
                  </a:lnTo>
                  <a:lnTo>
                    <a:pt x="17" y="723"/>
                  </a:lnTo>
                  <a:lnTo>
                    <a:pt x="8" y="722"/>
                  </a:lnTo>
                  <a:lnTo>
                    <a:pt x="0" y="720"/>
                  </a:lnTo>
                  <a:lnTo>
                    <a:pt x="38" y="556"/>
                  </a:lnTo>
                  <a:lnTo>
                    <a:pt x="37" y="545"/>
                  </a:lnTo>
                  <a:lnTo>
                    <a:pt x="53" y="518"/>
                  </a:lnTo>
                  <a:lnTo>
                    <a:pt x="53" y="509"/>
                  </a:lnTo>
                  <a:lnTo>
                    <a:pt x="57" y="503"/>
                  </a:lnTo>
                  <a:lnTo>
                    <a:pt x="60" y="496"/>
                  </a:lnTo>
                  <a:lnTo>
                    <a:pt x="56" y="491"/>
                  </a:lnTo>
                  <a:lnTo>
                    <a:pt x="40" y="482"/>
                  </a:lnTo>
                  <a:lnTo>
                    <a:pt x="41" y="474"/>
                  </a:lnTo>
                  <a:lnTo>
                    <a:pt x="41" y="474"/>
                  </a:lnTo>
                  <a:lnTo>
                    <a:pt x="41" y="474"/>
                  </a:lnTo>
                  <a:lnTo>
                    <a:pt x="41" y="473"/>
                  </a:lnTo>
                  <a:lnTo>
                    <a:pt x="41" y="471"/>
                  </a:lnTo>
                  <a:lnTo>
                    <a:pt x="43" y="470"/>
                  </a:lnTo>
                  <a:lnTo>
                    <a:pt x="43" y="468"/>
                  </a:lnTo>
                  <a:lnTo>
                    <a:pt x="44" y="467"/>
                  </a:lnTo>
                  <a:lnTo>
                    <a:pt x="44" y="466"/>
                  </a:lnTo>
                  <a:lnTo>
                    <a:pt x="44" y="464"/>
                  </a:lnTo>
                  <a:lnTo>
                    <a:pt x="44" y="464"/>
                  </a:lnTo>
                  <a:lnTo>
                    <a:pt x="49" y="455"/>
                  </a:lnTo>
                  <a:lnTo>
                    <a:pt x="53" y="449"/>
                  </a:lnTo>
                  <a:lnTo>
                    <a:pt x="60" y="441"/>
                  </a:lnTo>
                  <a:lnTo>
                    <a:pt x="65" y="434"/>
                  </a:lnTo>
                  <a:lnTo>
                    <a:pt x="73" y="428"/>
                  </a:lnTo>
                  <a:lnTo>
                    <a:pt x="79" y="424"/>
                  </a:lnTo>
                  <a:lnTo>
                    <a:pt x="82" y="422"/>
                  </a:lnTo>
                  <a:lnTo>
                    <a:pt x="83" y="420"/>
                  </a:lnTo>
                  <a:lnTo>
                    <a:pt x="83" y="413"/>
                  </a:lnTo>
                  <a:lnTo>
                    <a:pt x="123" y="357"/>
                  </a:lnTo>
                  <a:lnTo>
                    <a:pt x="124" y="350"/>
                  </a:lnTo>
                  <a:lnTo>
                    <a:pt x="119" y="338"/>
                  </a:lnTo>
                  <a:lnTo>
                    <a:pt x="110" y="331"/>
                  </a:lnTo>
                  <a:lnTo>
                    <a:pt x="100" y="311"/>
                  </a:lnTo>
                  <a:lnTo>
                    <a:pt x="100" y="302"/>
                  </a:lnTo>
                  <a:lnTo>
                    <a:pt x="103" y="291"/>
                  </a:lnTo>
                  <a:lnTo>
                    <a:pt x="103" y="281"/>
                  </a:lnTo>
                  <a:lnTo>
                    <a:pt x="98" y="271"/>
                  </a:lnTo>
                  <a:lnTo>
                    <a:pt x="103" y="257"/>
                  </a:lnTo>
                  <a:lnTo>
                    <a:pt x="103" y="257"/>
                  </a:lnTo>
                  <a:lnTo>
                    <a:pt x="103" y="255"/>
                  </a:lnTo>
                  <a:lnTo>
                    <a:pt x="103" y="254"/>
                  </a:lnTo>
                  <a:lnTo>
                    <a:pt x="104" y="251"/>
                  </a:lnTo>
                  <a:lnTo>
                    <a:pt x="106" y="245"/>
                  </a:lnTo>
                  <a:lnTo>
                    <a:pt x="107" y="239"/>
                  </a:lnTo>
                  <a:lnTo>
                    <a:pt x="109" y="232"/>
                  </a:lnTo>
                  <a:lnTo>
                    <a:pt x="110" y="225"/>
                  </a:lnTo>
                  <a:lnTo>
                    <a:pt x="112" y="216"/>
                  </a:lnTo>
                  <a:lnTo>
                    <a:pt x="115" y="206"/>
                  </a:lnTo>
                  <a:lnTo>
                    <a:pt x="116" y="196"/>
                  </a:lnTo>
                  <a:lnTo>
                    <a:pt x="119" y="186"/>
                  </a:lnTo>
                  <a:lnTo>
                    <a:pt x="122" y="175"/>
                  </a:lnTo>
                  <a:lnTo>
                    <a:pt x="123" y="163"/>
                  </a:lnTo>
                  <a:lnTo>
                    <a:pt x="125" y="152"/>
                  </a:lnTo>
                  <a:lnTo>
                    <a:pt x="128" y="140"/>
                  </a:lnTo>
                  <a:lnTo>
                    <a:pt x="131" y="128"/>
                  </a:lnTo>
                  <a:lnTo>
                    <a:pt x="134" y="116"/>
                  </a:lnTo>
                  <a:lnTo>
                    <a:pt x="136" y="103"/>
                  </a:lnTo>
                  <a:lnTo>
                    <a:pt x="139" y="92"/>
                  </a:lnTo>
                  <a:lnTo>
                    <a:pt x="142" y="80"/>
                  </a:lnTo>
                  <a:lnTo>
                    <a:pt x="145" y="68"/>
                  </a:lnTo>
                  <a:lnTo>
                    <a:pt x="146" y="59"/>
                  </a:lnTo>
                  <a:lnTo>
                    <a:pt x="149" y="49"/>
                  </a:lnTo>
                  <a:lnTo>
                    <a:pt x="151" y="40"/>
                  </a:lnTo>
                  <a:lnTo>
                    <a:pt x="154" y="32"/>
                  </a:lnTo>
                  <a:lnTo>
                    <a:pt x="155" y="23"/>
                  </a:lnTo>
                  <a:lnTo>
                    <a:pt x="155" y="16"/>
                  </a:lnTo>
                  <a:lnTo>
                    <a:pt x="157" y="10"/>
                  </a:lnTo>
                  <a:lnTo>
                    <a:pt x="158" y="5"/>
                  </a:lnTo>
                  <a:lnTo>
                    <a:pt x="158" y="2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224" y="14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" name="Freeform 17"/>
            <p:cNvSpPr>
              <a:spLocks/>
            </p:cNvSpPr>
            <p:nvPr/>
          </p:nvSpPr>
          <p:spPr bwMode="auto">
            <a:xfrm>
              <a:off x="1445755" y="4305150"/>
              <a:ext cx="390021" cy="324141"/>
            </a:xfrm>
            <a:custGeom>
              <a:avLst/>
              <a:gdLst>
                <a:gd name="T0" fmla="*/ 149 w 581"/>
                <a:gd name="T1" fmla="*/ 438 h 483"/>
                <a:gd name="T2" fmla="*/ 134 w 581"/>
                <a:gd name="T3" fmla="*/ 435 h 483"/>
                <a:gd name="T4" fmla="*/ 113 w 581"/>
                <a:gd name="T5" fmla="*/ 430 h 483"/>
                <a:gd name="T6" fmla="*/ 86 w 581"/>
                <a:gd name="T7" fmla="*/ 426 h 483"/>
                <a:gd name="T8" fmla="*/ 59 w 581"/>
                <a:gd name="T9" fmla="*/ 421 h 483"/>
                <a:gd name="T10" fmla="*/ 32 w 581"/>
                <a:gd name="T11" fmla="*/ 418 h 483"/>
                <a:gd name="T12" fmla="*/ 13 w 581"/>
                <a:gd name="T13" fmla="*/ 415 h 483"/>
                <a:gd name="T14" fmla="*/ 1 w 581"/>
                <a:gd name="T15" fmla="*/ 413 h 483"/>
                <a:gd name="T16" fmla="*/ 14 w 581"/>
                <a:gd name="T17" fmla="*/ 315 h 483"/>
                <a:gd name="T18" fmla="*/ 64 w 581"/>
                <a:gd name="T19" fmla="*/ 0 h 483"/>
                <a:gd name="T20" fmla="*/ 103 w 581"/>
                <a:gd name="T21" fmla="*/ 4 h 483"/>
                <a:gd name="T22" fmla="*/ 145 w 581"/>
                <a:gd name="T23" fmla="*/ 12 h 483"/>
                <a:gd name="T24" fmla="*/ 187 w 581"/>
                <a:gd name="T25" fmla="*/ 18 h 483"/>
                <a:gd name="T26" fmla="*/ 229 w 581"/>
                <a:gd name="T27" fmla="*/ 24 h 483"/>
                <a:gd name="T28" fmla="*/ 274 w 581"/>
                <a:gd name="T29" fmla="*/ 28 h 483"/>
                <a:gd name="T30" fmla="*/ 316 w 581"/>
                <a:gd name="T31" fmla="*/ 33 h 483"/>
                <a:gd name="T32" fmla="*/ 357 w 581"/>
                <a:gd name="T33" fmla="*/ 37 h 483"/>
                <a:gd name="T34" fmla="*/ 397 w 581"/>
                <a:gd name="T35" fmla="*/ 42 h 483"/>
                <a:gd name="T36" fmla="*/ 436 w 581"/>
                <a:gd name="T37" fmla="*/ 46 h 483"/>
                <a:gd name="T38" fmla="*/ 470 w 581"/>
                <a:gd name="T39" fmla="*/ 49 h 483"/>
                <a:gd name="T40" fmla="*/ 500 w 581"/>
                <a:gd name="T41" fmla="*/ 52 h 483"/>
                <a:gd name="T42" fmla="*/ 528 w 581"/>
                <a:gd name="T43" fmla="*/ 55 h 483"/>
                <a:gd name="T44" fmla="*/ 549 w 581"/>
                <a:gd name="T45" fmla="*/ 57 h 483"/>
                <a:gd name="T46" fmla="*/ 565 w 581"/>
                <a:gd name="T47" fmla="*/ 58 h 483"/>
                <a:gd name="T48" fmla="*/ 577 w 581"/>
                <a:gd name="T49" fmla="*/ 58 h 483"/>
                <a:gd name="T50" fmla="*/ 580 w 581"/>
                <a:gd name="T51" fmla="*/ 60 h 483"/>
                <a:gd name="T52" fmla="*/ 561 w 581"/>
                <a:gd name="T53" fmla="*/ 270 h 483"/>
                <a:gd name="T54" fmla="*/ 542 w 581"/>
                <a:gd name="T55" fmla="*/ 482 h 483"/>
                <a:gd name="T56" fmla="*/ 534 w 581"/>
                <a:gd name="T57" fmla="*/ 481 h 483"/>
                <a:gd name="T58" fmla="*/ 517 w 581"/>
                <a:gd name="T59" fmla="*/ 479 h 483"/>
                <a:gd name="T60" fmla="*/ 496 w 581"/>
                <a:gd name="T61" fmla="*/ 478 h 483"/>
                <a:gd name="T62" fmla="*/ 470 w 581"/>
                <a:gd name="T63" fmla="*/ 475 h 483"/>
                <a:gd name="T64" fmla="*/ 440 w 581"/>
                <a:gd name="T65" fmla="*/ 471 h 483"/>
                <a:gd name="T66" fmla="*/ 407 w 581"/>
                <a:gd name="T67" fmla="*/ 468 h 483"/>
                <a:gd name="T68" fmla="*/ 371 w 581"/>
                <a:gd name="T69" fmla="*/ 463 h 483"/>
                <a:gd name="T70" fmla="*/ 335 w 581"/>
                <a:gd name="T71" fmla="*/ 460 h 483"/>
                <a:gd name="T72" fmla="*/ 301 w 581"/>
                <a:gd name="T73" fmla="*/ 456 h 483"/>
                <a:gd name="T74" fmla="*/ 266 w 581"/>
                <a:gd name="T75" fmla="*/ 451 h 483"/>
                <a:gd name="T76" fmla="*/ 235 w 581"/>
                <a:gd name="T77" fmla="*/ 449 h 483"/>
                <a:gd name="T78" fmla="*/ 208 w 581"/>
                <a:gd name="T79" fmla="*/ 445 h 483"/>
                <a:gd name="T80" fmla="*/ 184 w 581"/>
                <a:gd name="T81" fmla="*/ 442 h 483"/>
                <a:gd name="T82" fmla="*/ 166 w 581"/>
                <a:gd name="T83" fmla="*/ 441 h 483"/>
                <a:gd name="T84" fmla="*/ 155 w 581"/>
                <a:gd name="T85" fmla="*/ 439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81" h="483">
                  <a:moveTo>
                    <a:pt x="152" y="438"/>
                  </a:moveTo>
                  <a:lnTo>
                    <a:pt x="149" y="438"/>
                  </a:lnTo>
                  <a:lnTo>
                    <a:pt x="143" y="436"/>
                  </a:lnTo>
                  <a:lnTo>
                    <a:pt x="134" y="435"/>
                  </a:lnTo>
                  <a:lnTo>
                    <a:pt x="125" y="433"/>
                  </a:lnTo>
                  <a:lnTo>
                    <a:pt x="113" y="430"/>
                  </a:lnTo>
                  <a:lnTo>
                    <a:pt x="100" y="429"/>
                  </a:lnTo>
                  <a:lnTo>
                    <a:pt x="86" y="426"/>
                  </a:lnTo>
                  <a:lnTo>
                    <a:pt x="73" y="424"/>
                  </a:lnTo>
                  <a:lnTo>
                    <a:pt x="59" y="421"/>
                  </a:lnTo>
                  <a:lnTo>
                    <a:pt x="46" y="420"/>
                  </a:lnTo>
                  <a:lnTo>
                    <a:pt x="32" y="418"/>
                  </a:lnTo>
                  <a:lnTo>
                    <a:pt x="23" y="416"/>
                  </a:lnTo>
                  <a:lnTo>
                    <a:pt x="13" y="415"/>
                  </a:lnTo>
                  <a:lnTo>
                    <a:pt x="7" y="413"/>
                  </a:lnTo>
                  <a:lnTo>
                    <a:pt x="1" y="413"/>
                  </a:lnTo>
                  <a:lnTo>
                    <a:pt x="0" y="413"/>
                  </a:lnTo>
                  <a:lnTo>
                    <a:pt x="14" y="315"/>
                  </a:lnTo>
                  <a:lnTo>
                    <a:pt x="53" y="51"/>
                  </a:lnTo>
                  <a:lnTo>
                    <a:pt x="64" y="0"/>
                  </a:lnTo>
                  <a:lnTo>
                    <a:pt x="83" y="1"/>
                  </a:lnTo>
                  <a:lnTo>
                    <a:pt x="103" y="4"/>
                  </a:lnTo>
                  <a:lnTo>
                    <a:pt x="123" y="9"/>
                  </a:lnTo>
                  <a:lnTo>
                    <a:pt x="145" y="12"/>
                  </a:lnTo>
                  <a:lnTo>
                    <a:pt x="164" y="15"/>
                  </a:lnTo>
                  <a:lnTo>
                    <a:pt x="187" y="18"/>
                  </a:lnTo>
                  <a:lnTo>
                    <a:pt x="208" y="21"/>
                  </a:lnTo>
                  <a:lnTo>
                    <a:pt x="229" y="24"/>
                  </a:lnTo>
                  <a:lnTo>
                    <a:pt x="251" y="27"/>
                  </a:lnTo>
                  <a:lnTo>
                    <a:pt x="274" y="28"/>
                  </a:lnTo>
                  <a:lnTo>
                    <a:pt x="295" y="31"/>
                  </a:lnTo>
                  <a:lnTo>
                    <a:pt x="316" y="33"/>
                  </a:lnTo>
                  <a:lnTo>
                    <a:pt x="337" y="36"/>
                  </a:lnTo>
                  <a:lnTo>
                    <a:pt x="357" y="37"/>
                  </a:lnTo>
                  <a:lnTo>
                    <a:pt x="377" y="40"/>
                  </a:lnTo>
                  <a:lnTo>
                    <a:pt x="397" y="42"/>
                  </a:lnTo>
                  <a:lnTo>
                    <a:pt x="418" y="43"/>
                  </a:lnTo>
                  <a:lnTo>
                    <a:pt x="436" y="46"/>
                  </a:lnTo>
                  <a:lnTo>
                    <a:pt x="453" y="48"/>
                  </a:lnTo>
                  <a:lnTo>
                    <a:pt x="470" y="49"/>
                  </a:lnTo>
                  <a:lnTo>
                    <a:pt x="486" y="51"/>
                  </a:lnTo>
                  <a:lnTo>
                    <a:pt x="500" y="52"/>
                  </a:lnTo>
                  <a:lnTo>
                    <a:pt x="515" y="54"/>
                  </a:lnTo>
                  <a:lnTo>
                    <a:pt x="528" y="55"/>
                  </a:lnTo>
                  <a:lnTo>
                    <a:pt x="539" y="55"/>
                  </a:lnTo>
                  <a:lnTo>
                    <a:pt x="549" y="57"/>
                  </a:lnTo>
                  <a:lnTo>
                    <a:pt x="558" y="57"/>
                  </a:lnTo>
                  <a:lnTo>
                    <a:pt x="565" y="58"/>
                  </a:lnTo>
                  <a:lnTo>
                    <a:pt x="572" y="58"/>
                  </a:lnTo>
                  <a:lnTo>
                    <a:pt x="577" y="58"/>
                  </a:lnTo>
                  <a:lnTo>
                    <a:pt x="580" y="60"/>
                  </a:lnTo>
                  <a:lnTo>
                    <a:pt x="580" y="60"/>
                  </a:lnTo>
                  <a:lnTo>
                    <a:pt x="580" y="60"/>
                  </a:lnTo>
                  <a:lnTo>
                    <a:pt x="561" y="270"/>
                  </a:lnTo>
                  <a:lnTo>
                    <a:pt x="542" y="482"/>
                  </a:lnTo>
                  <a:lnTo>
                    <a:pt x="542" y="482"/>
                  </a:lnTo>
                  <a:lnTo>
                    <a:pt x="538" y="482"/>
                  </a:lnTo>
                  <a:lnTo>
                    <a:pt x="534" y="481"/>
                  </a:lnTo>
                  <a:lnTo>
                    <a:pt x="526" y="481"/>
                  </a:lnTo>
                  <a:lnTo>
                    <a:pt x="517" y="479"/>
                  </a:lnTo>
                  <a:lnTo>
                    <a:pt x="508" y="478"/>
                  </a:lnTo>
                  <a:lnTo>
                    <a:pt x="496" y="478"/>
                  </a:lnTo>
                  <a:lnTo>
                    <a:pt x="483" y="476"/>
                  </a:lnTo>
                  <a:lnTo>
                    <a:pt x="470" y="475"/>
                  </a:lnTo>
                  <a:lnTo>
                    <a:pt x="456" y="472"/>
                  </a:lnTo>
                  <a:lnTo>
                    <a:pt x="440" y="471"/>
                  </a:lnTo>
                  <a:lnTo>
                    <a:pt x="424" y="469"/>
                  </a:lnTo>
                  <a:lnTo>
                    <a:pt x="407" y="468"/>
                  </a:lnTo>
                  <a:lnTo>
                    <a:pt x="390" y="466"/>
                  </a:lnTo>
                  <a:lnTo>
                    <a:pt x="371" y="463"/>
                  </a:lnTo>
                  <a:lnTo>
                    <a:pt x="354" y="462"/>
                  </a:lnTo>
                  <a:lnTo>
                    <a:pt x="335" y="460"/>
                  </a:lnTo>
                  <a:lnTo>
                    <a:pt x="319" y="457"/>
                  </a:lnTo>
                  <a:lnTo>
                    <a:pt x="301" y="456"/>
                  </a:lnTo>
                  <a:lnTo>
                    <a:pt x="284" y="453"/>
                  </a:lnTo>
                  <a:lnTo>
                    <a:pt x="266" y="451"/>
                  </a:lnTo>
                  <a:lnTo>
                    <a:pt x="251" y="450"/>
                  </a:lnTo>
                  <a:lnTo>
                    <a:pt x="235" y="449"/>
                  </a:lnTo>
                  <a:lnTo>
                    <a:pt x="221" y="446"/>
                  </a:lnTo>
                  <a:lnTo>
                    <a:pt x="208" y="445"/>
                  </a:lnTo>
                  <a:lnTo>
                    <a:pt x="194" y="443"/>
                  </a:lnTo>
                  <a:lnTo>
                    <a:pt x="184" y="442"/>
                  </a:lnTo>
                  <a:lnTo>
                    <a:pt x="175" y="442"/>
                  </a:lnTo>
                  <a:lnTo>
                    <a:pt x="166" y="441"/>
                  </a:lnTo>
                  <a:lnTo>
                    <a:pt x="159" y="439"/>
                  </a:lnTo>
                  <a:lnTo>
                    <a:pt x="155" y="439"/>
                  </a:lnTo>
                  <a:lnTo>
                    <a:pt x="152" y="43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" name="Freeform 18"/>
            <p:cNvSpPr>
              <a:spLocks/>
            </p:cNvSpPr>
            <p:nvPr/>
          </p:nvSpPr>
          <p:spPr bwMode="auto">
            <a:xfrm>
              <a:off x="1445755" y="4305150"/>
              <a:ext cx="390021" cy="324141"/>
            </a:xfrm>
            <a:custGeom>
              <a:avLst/>
              <a:gdLst>
                <a:gd name="T0" fmla="*/ 152 w 581"/>
                <a:gd name="T1" fmla="*/ 438 h 483"/>
                <a:gd name="T2" fmla="*/ 143 w 581"/>
                <a:gd name="T3" fmla="*/ 436 h 483"/>
                <a:gd name="T4" fmla="*/ 125 w 581"/>
                <a:gd name="T5" fmla="*/ 433 h 483"/>
                <a:gd name="T6" fmla="*/ 100 w 581"/>
                <a:gd name="T7" fmla="*/ 429 h 483"/>
                <a:gd name="T8" fmla="*/ 73 w 581"/>
                <a:gd name="T9" fmla="*/ 424 h 483"/>
                <a:gd name="T10" fmla="*/ 46 w 581"/>
                <a:gd name="T11" fmla="*/ 420 h 483"/>
                <a:gd name="T12" fmla="*/ 23 w 581"/>
                <a:gd name="T13" fmla="*/ 416 h 483"/>
                <a:gd name="T14" fmla="*/ 7 w 581"/>
                <a:gd name="T15" fmla="*/ 413 h 483"/>
                <a:gd name="T16" fmla="*/ 0 w 581"/>
                <a:gd name="T17" fmla="*/ 413 h 483"/>
                <a:gd name="T18" fmla="*/ 53 w 581"/>
                <a:gd name="T19" fmla="*/ 51 h 483"/>
                <a:gd name="T20" fmla="*/ 64 w 581"/>
                <a:gd name="T21" fmla="*/ 0 h 483"/>
                <a:gd name="T22" fmla="*/ 103 w 581"/>
                <a:gd name="T23" fmla="*/ 4 h 483"/>
                <a:gd name="T24" fmla="*/ 145 w 581"/>
                <a:gd name="T25" fmla="*/ 12 h 483"/>
                <a:gd name="T26" fmla="*/ 187 w 581"/>
                <a:gd name="T27" fmla="*/ 18 h 483"/>
                <a:gd name="T28" fmla="*/ 229 w 581"/>
                <a:gd name="T29" fmla="*/ 24 h 483"/>
                <a:gd name="T30" fmla="*/ 274 w 581"/>
                <a:gd name="T31" fmla="*/ 28 h 483"/>
                <a:gd name="T32" fmla="*/ 316 w 581"/>
                <a:gd name="T33" fmla="*/ 33 h 483"/>
                <a:gd name="T34" fmla="*/ 357 w 581"/>
                <a:gd name="T35" fmla="*/ 37 h 483"/>
                <a:gd name="T36" fmla="*/ 397 w 581"/>
                <a:gd name="T37" fmla="*/ 42 h 483"/>
                <a:gd name="T38" fmla="*/ 436 w 581"/>
                <a:gd name="T39" fmla="*/ 46 h 483"/>
                <a:gd name="T40" fmla="*/ 470 w 581"/>
                <a:gd name="T41" fmla="*/ 49 h 483"/>
                <a:gd name="T42" fmla="*/ 500 w 581"/>
                <a:gd name="T43" fmla="*/ 52 h 483"/>
                <a:gd name="T44" fmla="*/ 528 w 581"/>
                <a:gd name="T45" fmla="*/ 55 h 483"/>
                <a:gd name="T46" fmla="*/ 549 w 581"/>
                <a:gd name="T47" fmla="*/ 57 h 483"/>
                <a:gd name="T48" fmla="*/ 565 w 581"/>
                <a:gd name="T49" fmla="*/ 58 h 483"/>
                <a:gd name="T50" fmla="*/ 577 w 581"/>
                <a:gd name="T51" fmla="*/ 58 h 483"/>
                <a:gd name="T52" fmla="*/ 580 w 581"/>
                <a:gd name="T53" fmla="*/ 60 h 483"/>
                <a:gd name="T54" fmla="*/ 561 w 581"/>
                <a:gd name="T55" fmla="*/ 270 h 483"/>
                <a:gd name="T56" fmla="*/ 542 w 581"/>
                <a:gd name="T57" fmla="*/ 482 h 483"/>
                <a:gd name="T58" fmla="*/ 538 w 581"/>
                <a:gd name="T59" fmla="*/ 482 h 483"/>
                <a:gd name="T60" fmla="*/ 526 w 581"/>
                <a:gd name="T61" fmla="*/ 481 h 483"/>
                <a:gd name="T62" fmla="*/ 508 w 581"/>
                <a:gd name="T63" fmla="*/ 478 h 483"/>
                <a:gd name="T64" fmla="*/ 483 w 581"/>
                <a:gd name="T65" fmla="*/ 476 h 483"/>
                <a:gd name="T66" fmla="*/ 456 w 581"/>
                <a:gd name="T67" fmla="*/ 472 h 483"/>
                <a:gd name="T68" fmla="*/ 424 w 581"/>
                <a:gd name="T69" fmla="*/ 469 h 483"/>
                <a:gd name="T70" fmla="*/ 390 w 581"/>
                <a:gd name="T71" fmla="*/ 466 h 483"/>
                <a:gd name="T72" fmla="*/ 354 w 581"/>
                <a:gd name="T73" fmla="*/ 462 h 483"/>
                <a:gd name="T74" fmla="*/ 319 w 581"/>
                <a:gd name="T75" fmla="*/ 457 h 483"/>
                <a:gd name="T76" fmla="*/ 284 w 581"/>
                <a:gd name="T77" fmla="*/ 453 h 483"/>
                <a:gd name="T78" fmla="*/ 251 w 581"/>
                <a:gd name="T79" fmla="*/ 450 h 483"/>
                <a:gd name="T80" fmla="*/ 221 w 581"/>
                <a:gd name="T81" fmla="*/ 446 h 483"/>
                <a:gd name="T82" fmla="*/ 194 w 581"/>
                <a:gd name="T83" fmla="*/ 443 h 483"/>
                <a:gd name="T84" fmla="*/ 175 w 581"/>
                <a:gd name="T85" fmla="*/ 442 h 483"/>
                <a:gd name="T86" fmla="*/ 159 w 581"/>
                <a:gd name="T87" fmla="*/ 439 h 483"/>
                <a:gd name="T88" fmla="*/ 152 w 581"/>
                <a:gd name="T89" fmla="*/ 438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1" h="483">
                  <a:moveTo>
                    <a:pt x="152" y="438"/>
                  </a:moveTo>
                  <a:lnTo>
                    <a:pt x="152" y="438"/>
                  </a:lnTo>
                  <a:lnTo>
                    <a:pt x="149" y="438"/>
                  </a:lnTo>
                  <a:lnTo>
                    <a:pt x="143" y="436"/>
                  </a:lnTo>
                  <a:lnTo>
                    <a:pt x="134" y="435"/>
                  </a:lnTo>
                  <a:lnTo>
                    <a:pt x="125" y="433"/>
                  </a:lnTo>
                  <a:lnTo>
                    <a:pt x="113" y="430"/>
                  </a:lnTo>
                  <a:lnTo>
                    <a:pt x="100" y="429"/>
                  </a:lnTo>
                  <a:lnTo>
                    <a:pt x="86" y="426"/>
                  </a:lnTo>
                  <a:lnTo>
                    <a:pt x="73" y="424"/>
                  </a:lnTo>
                  <a:lnTo>
                    <a:pt x="59" y="421"/>
                  </a:lnTo>
                  <a:lnTo>
                    <a:pt x="46" y="420"/>
                  </a:lnTo>
                  <a:lnTo>
                    <a:pt x="32" y="418"/>
                  </a:lnTo>
                  <a:lnTo>
                    <a:pt x="23" y="416"/>
                  </a:lnTo>
                  <a:lnTo>
                    <a:pt x="13" y="415"/>
                  </a:lnTo>
                  <a:lnTo>
                    <a:pt x="7" y="413"/>
                  </a:lnTo>
                  <a:lnTo>
                    <a:pt x="1" y="413"/>
                  </a:lnTo>
                  <a:lnTo>
                    <a:pt x="0" y="413"/>
                  </a:lnTo>
                  <a:lnTo>
                    <a:pt x="14" y="315"/>
                  </a:lnTo>
                  <a:lnTo>
                    <a:pt x="53" y="51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83" y="1"/>
                  </a:lnTo>
                  <a:lnTo>
                    <a:pt x="103" y="4"/>
                  </a:lnTo>
                  <a:lnTo>
                    <a:pt x="123" y="9"/>
                  </a:lnTo>
                  <a:lnTo>
                    <a:pt x="145" y="12"/>
                  </a:lnTo>
                  <a:lnTo>
                    <a:pt x="164" y="15"/>
                  </a:lnTo>
                  <a:lnTo>
                    <a:pt x="187" y="18"/>
                  </a:lnTo>
                  <a:lnTo>
                    <a:pt x="208" y="21"/>
                  </a:lnTo>
                  <a:lnTo>
                    <a:pt x="229" y="24"/>
                  </a:lnTo>
                  <a:lnTo>
                    <a:pt x="251" y="27"/>
                  </a:lnTo>
                  <a:lnTo>
                    <a:pt x="274" y="28"/>
                  </a:lnTo>
                  <a:lnTo>
                    <a:pt x="295" y="31"/>
                  </a:lnTo>
                  <a:lnTo>
                    <a:pt x="316" y="33"/>
                  </a:lnTo>
                  <a:lnTo>
                    <a:pt x="337" y="36"/>
                  </a:lnTo>
                  <a:lnTo>
                    <a:pt x="357" y="37"/>
                  </a:lnTo>
                  <a:lnTo>
                    <a:pt x="377" y="40"/>
                  </a:lnTo>
                  <a:lnTo>
                    <a:pt x="397" y="42"/>
                  </a:lnTo>
                  <a:lnTo>
                    <a:pt x="418" y="43"/>
                  </a:lnTo>
                  <a:lnTo>
                    <a:pt x="436" y="46"/>
                  </a:lnTo>
                  <a:lnTo>
                    <a:pt x="453" y="48"/>
                  </a:lnTo>
                  <a:lnTo>
                    <a:pt x="470" y="49"/>
                  </a:lnTo>
                  <a:lnTo>
                    <a:pt x="486" y="51"/>
                  </a:lnTo>
                  <a:lnTo>
                    <a:pt x="500" y="52"/>
                  </a:lnTo>
                  <a:lnTo>
                    <a:pt x="515" y="54"/>
                  </a:lnTo>
                  <a:lnTo>
                    <a:pt x="528" y="55"/>
                  </a:lnTo>
                  <a:lnTo>
                    <a:pt x="539" y="55"/>
                  </a:lnTo>
                  <a:lnTo>
                    <a:pt x="549" y="57"/>
                  </a:lnTo>
                  <a:lnTo>
                    <a:pt x="558" y="57"/>
                  </a:lnTo>
                  <a:lnTo>
                    <a:pt x="565" y="58"/>
                  </a:lnTo>
                  <a:lnTo>
                    <a:pt x="572" y="58"/>
                  </a:lnTo>
                  <a:lnTo>
                    <a:pt x="577" y="58"/>
                  </a:lnTo>
                  <a:lnTo>
                    <a:pt x="580" y="60"/>
                  </a:lnTo>
                  <a:lnTo>
                    <a:pt x="580" y="60"/>
                  </a:lnTo>
                  <a:lnTo>
                    <a:pt x="580" y="60"/>
                  </a:lnTo>
                  <a:lnTo>
                    <a:pt x="561" y="270"/>
                  </a:lnTo>
                  <a:lnTo>
                    <a:pt x="542" y="482"/>
                  </a:lnTo>
                  <a:lnTo>
                    <a:pt x="542" y="482"/>
                  </a:lnTo>
                  <a:lnTo>
                    <a:pt x="542" y="482"/>
                  </a:lnTo>
                  <a:lnTo>
                    <a:pt x="538" y="482"/>
                  </a:lnTo>
                  <a:lnTo>
                    <a:pt x="534" y="481"/>
                  </a:lnTo>
                  <a:lnTo>
                    <a:pt x="526" y="481"/>
                  </a:lnTo>
                  <a:lnTo>
                    <a:pt x="517" y="479"/>
                  </a:lnTo>
                  <a:lnTo>
                    <a:pt x="508" y="478"/>
                  </a:lnTo>
                  <a:lnTo>
                    <a:pt x="496" y="478"/>
                  </a:lnTo>
                  <a:lnTo>
                    <a:pt x="483" y="476"/>
                  </a:lnTo>
                  <a:lnTo>
                    <a:pt x="470" y="475"/>
                  </a:lnTo>
                  <a:lnTo>
                    <a:pt x="456" y="472"/>
                  </a:lnTo>
                  <a:lnTo>
                    <a:pt x="440" y="471"/>
                  </a:lnTo>
                  <a:lnTo>
                    <a:pt x="424" y="469"/>
                  </a:lnTo>
                  <a:lnTo>
                    <a:pt x="407" y="468"/>
                  </a:lnTo>
                  <a:lnTo>
                    <a:pt x="390" y="466"/>
                  </a:lnTo>
                  <a:lnTo>
                    <a:pt x="371" y="463"/>
                  </a:lnTo>
                  <a:lnTo>
                    <a:pt x="354" y="462"/>
                  </a:lnTo>
                  <a:lnTo>
                    <a:pt x="335" y="460"/>
                  </a:lnTo>
                  <a:lnTo>
                    <a:pt x="319" y="457"/>
                  </a:lnTo>
                  <a:lnTo>
                    <a:pt x="301" y="456"/>
                  </a:lnTo>
                  <a:lnTo>
                    <a:pt x="284" y="453"/>
                  </a:lnTo>
                  <a:lnTo>
                    <a:pt x="266" y="451"/>
                  </a:lnTo>
                  <a:lnTo>
                    <a:pt x="251" y="450"/>
                  </a:lnTo>
                  <a:lnTo>
                    <a:pt x="235" y="449"/>
                  </a:lnTo>
                  <a:lnTo>
                    <a:pt x="221" y="446"/>
                  </a:lnTo>
                  <a:lnTo>
                    <a:pt x="208" y="445"/>
                  </a:lnTo>
                  <a:lnTo>
                    <a:pt x="194" y="443"/>
                  </a:lnTo>
                  <a:lnTo>
                    <a:pt x="184" y="442"/>
                  </a:lnTo>
                  <a:lnTo>
                    <a:pt x="175" y="442"/>
                  </a:lnTo>
                  <a:lnTo>
                    <a:pt x="166" y="441"/>
                  </a:lnTo>
                  <a:lnTo>
                    <a:pt x="159" y="439"/>
                  </a:lnTo>
                  <a:lnTo>
                    <a:pt x="155" y="439"/>
                  </a:lnTo>
                  <a:lnTo>
                    <a:pt x="152" y="43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" name="Freeform 19"/>
            <p:cNvSpPr>
              <a:spLocks/>
            </p:cNvSpPr>
            <p:nvPr/>
          </p:nvSpPr>
          <p:spPr bwMode="auto">
            <a:xfrm>
              <a:off x="1455400" y="4885127"/>
              <a:ext cx="390021" cy="406729"/>
            </a:xfrm>
            <a:custGeom>
              <a:avLst/>
              <a:gdLst>
                <a:gd name="T0" fmla="*/ 74 w 581"/>
                <a:gd name="T1" fmla="*/ 605 h 606"/>
                <a:gd name="T2" fmla="*/ 80 w 581"/>
                <a:gd name="T3" fmla="*/ 555 h 606"/>
                <a:gd name="T4" fmla="*/ 226 w 581"/>
                <a:gd name="T5" fmla="*/ 575 h 606"/>
                <a:gd name="T6" fmla="*/ 222 w 581"/>
                <a:gd name="T7" fmla="*/ 563 h 606"/>
                <a:gd name="T8" fmla="*/ 222 w 581"/>
                <a:gd name="T9" fmla="*/ 548 h 606"/>
                <a:gd name="T10" fmla="*/ 536 w 581"/>
                <a:gd name="T11" fmla="*/ 580 h 606"/>
                <a:gd name="T12" fmla="*/ 575 w 581"/>
                <a:gd name="T13" fmla="*/ 101 h 606"/>
                <a:gd name="T14" fmla="*/ 580 w 581"/>
                <a:gd name="T15" fmla="*/ 50 h 606"/>
                <a:gd name="T16" fmla="*/ 569 w 581"/>
                <a:gd name="T17" fmla="*/ 50 h 606"/>
                <a:gd name="T18" fmla="*/ 557 w 581"/>
                <a:gd name="T19" fmla="*/ 50 h 606"/>
                <a:gd name="T20" fmla="*/ 545 w 581"/>
                <a:gd name="T21" fmla="*/ 49 h 606"/>
                <a:gd name="T22" fmla="*/ 529 w 581"/>
                <a:gd name="T23" fmla="*/ 49 h 606"/>
                <a:gd name="T24" fmla="*/ 514 w 581"/>
                <a:gd name="T25" fmla="*/ 47 h 606"/>
                <a:gd name="T26" fmla="*/ 496 w 581"/>
                <a:gd name="T27" fmla="*/ 46 h 606"/>
                <a:gd name="T28" fmla="*/ 479 w 581"/>
                <a:gd name="T29" fmla="*/ 44 h 606"/>
                <a:gd name="T30" fmla="*/ 460 w 581"/>
                <a:gd name="T31" fmla="*/ 41 h 606"/>
                <a:gd name="T32" fmla="*/ 440 w 581"/>
                <a:gd name="T33" fmla="*/ 40 h 606"/>
                <a:gd name="T34" fmla="*/ 419 w 581"/>
                <a:gd name="T35" fmla="*/ 38 h 606"/>
                <a:gd name="T36" fmla="*/ 398 w 581"/>
                <a:gd name="T37" fmla="*/ 35 h 606"/>
                <a:gd name="T38" fmla="*/ 379 w 581"/>
                <a:gd name="T39" fmla="*/ 34 h 606"/>
                <a:gd name="T40" fmla="*/ 356 w 581"/>
                <a:gd name="T41" fmla="*/ 31 h 606"/>
                <a:gd name="T42" fmla="*/ 335 w 581"/>
                <a:gd name="T43" fmla="*/ 30 h 606"/>
                <a:gd name="T44" fmla="*/ 314 w 581"/>
                <a:gd name="T45" fmla="*/ 27 h 606"/>
                <a:gd name="T46" fmla="*/ 293 w 581"/>
                <a:gd name="T47" fmla="*/ 24 h 606"/>
                <a:gd name="T48" fmla="*/ 272 w 581"/>
                <a:gd name="T49" fmla="*/ 23 h 606"/>
                <a:gd name="T50" fmla="*/ 252 w 581"/>
                <a:gd name="T51" fmla="*/ 20 h 606"/>
                <a:gd name="T52" fmla="*/ 232 w 581"/>
                <a:gd name="T53" fmla="*/ 17 h 606"/>
                <a:gd name="T54" fmla="*/ 213 w 581"/>
                <a:gd name="T55" fmla="*/ 16 h 606"/>
                <a:gd name="T56" fmla="*/ 194 w 581"/>
                <a:gd name="T57" fmla="*/ 13 h 606"/>
                <a:gd name="T58" fmla="*/ 177 w 581"/>
                <a:gd name="T59" fmla="*/ 11 h 606"/>
                <a:gd name="T60" fmla="*/ 161 w 581"/>
                <a:gd name="T61" fmla="*/ 8 h 606"/>
                <a:gd name="T62" fmla="*/ 144 w 581"/>
                <a:gd name="T63" fmla="*/ 7 h 606"/>
                <a:gd name="T64" fmla="*/ 131 w 581"/>
                <a:gd name="T65" fmla="*/ 5 h 606"/>
                <a:gd name="T66" fmla="*/ 119 w 581"/>
                <a:gd name="T67" fmla="*/ 4 h 606"/>
                <a:gd name="T68" fmla="*/ 107 w 581"/>
                <a:gd name="T69" fmla="*/ 2 h 606"/>
                <a:gd name="T70" fmla="*/ 98 w 581"/>
                <a:gd name="T71" fmla="*/ 1 h 606"/>
                <a:gd name="T72" fmla="*/ 92 w 581"/>
                <a:gd name="T73" fmla="*/ 0 h 606"/>
                <a:gd name="T74" fmla="*/ 86 w 581"/>
                <a:gd name="T75" fmla="*/ 0 h 606"/>
                <a:gd name="T76" fmla="*/ 83 w 581"/>
                <a:gd name="T77" fmla="*/ 0 h 606"/>
                <a:gd name="T78" fmla="*/ 81 w 581"/>
                <a:gd name="T79" fmla="*/ 0 h 606"/>
                <a:gd name="T80" fmla="*/ 81 w 581"/>
                <a:gd name="T81" fmla="*/ 0 h 606"/>
                <a:gd name="T82" fmla="*/ 81 w 581"/>
                <a:gd name="T83" fmla="*/ 0 h 606"/>
                <a:gd name="T84" fmla="*/ 0 w 581"/>
                <a:gd name="T85" fmla="*/ 591 h 606"/>
                <a:gd name="T86" fmla="*/ 74 w 581"/>
                <a:gd name="T87" fmla="*/ 605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1" h="606">
                  <a:moveTo>
                    <a:pt x="74" y="605"/>
                  </a:moveTo>
                  <a:lnTo>
                    <a:pt x="80" y="555"/>
                  </a:lnTo>
                  <a:lnTo>
                    <a:pt x="226" y="575"/>
                  </a:lnTo>
                  <a:lnTo>
                    <a:pt x="222" y="563"/>
                  </a:lnTo>
                  <a:lnTo>
                    <a:pt x="222" y="548"/>
                  </a:lnTo>
                  <a:lnTo>
                    <a:pt x="536" y="580"/>
                  </a:lnTo>
                  <a:lnTo>
                    <a:pt x="575" y="101"/>
                  </a:lnTo>
                  <a:lnTo>
                    <a:pt x="580" y="50"/>
                  </a:lnTo>
                  <a:lnTo>
                    <a:pt x="569" y="50"/>
                  </a:lnTo>
                  <a:lnTo>
                    <a:pt x="557" y="50"/>
                  </a:lnTo>
                  <a:lnTo>
                    <a:pt x="545" y="49"/>
                  </a:lnTo>
                  <a:lnTo>
                    <a:pt x="529" y="49"/>
                  </a:lnTo>
                  <a:lnTo>
                    <a:pt x="514" y="47"/>
                  </a:lnTo>
                  <a:lnTo>
                    <a:pt x="496" y="46"/>
                  </a:lnTo>
                  <a:lnTo>
                    <a:pt x="479" y="44"/>
                  </a:lnTo>
                  <a:lnTo>
                    <a:pt x="460" y="41"/>
                  </a:lnTo>
                  <a:lnTo>
                    <a:pt x="440" y="40"/>
                  </a:lnTo>
                  <a:lnTo>
                    <a:pt x="419" y="38"/>
                  </a:lnTo>
                  <a:lnTo>
                    <a:pt x="398" y="35"/>
                  </a:lnTo>
                  <a:lnTo>
                    <a:pt x="379" y="34"/>
                  </a:lnTo>
                  <a:lnTo>
                    <a:pt x="356" y="31"/>
                  </a:lnTo>
                  <a:lnTo>
                    <a:pt x="335" y="30"/>
                  </a:lnTo>
                  <a:lnTo>
                    <a:pt x="314" y="27"/>
                  </a:lnTo>
                  <a:lnTo>
                    <a:pt x="293" y="24"/>
                  </a:lnTo>
                  <a:lnTo>
                    <a:pt x="272" y="23"/>
                  </a:lnTo>
                  <a:lnTo>
                    <a:pt x="252" y="20"/>
                  </a:lnTo>
                  <a:lnTo>
                    <a:pt x="232" y="17"/>
                  </a:lnTo>
                  <a:lnTo>
                    <a:pt x="213" y="16"/>
                  </a:lnTo>
                  <a:lnTo>
                    <a:pt x="194" y="13"/>
                  </a:lnTo>
                  <a:lnTo>
                    <a:pt x="177" y="11"/>
                  </a:lnTo>
                  <a:lnTo>
                    <a:pt x="161" y="8"/>
                  </a:lnTo>
                  <a:lnTo>
                    <a:pt x="144" y="7"/>
                  </a:lnTo>
                  <a:lnTo>
                    <a:pt x="131" y="5"/>
                  </a:lnTo>
                  <a:lnTo>
                    <a:pt x="119" y="4"/>
                  </a:lnTo>
                  <a:lnTo>
                    <a:pt x="107" y="2"/>
                  </a:lnTo>
                  <a:lnTo>
                    <a:pt x="98" y="1"/>
                  </a:lnTo>
                  <a:lnTo>
                    <a:pt x="92" y="0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0" y="591"/>
                  </a:lnTo>
                  <a:lnTo>
                    <a:pt x="74" y="60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" name="Freeform 20"/>
            <p:cNvSpPr>
              <a:spLocks/>
            </p:cNvSpPr>
            <p:nvPr/>
          </p:nvSpPr>
          <p:spPr bwMode="auto">
            <a:xfrm>
              <a:off x="1455400" y="4885127"/>
              <a:ext cx="390021" cy="406729"/>
            </a:xfrm>
            <a:custGeom>
              <a:avLst/>
              <a:gdLst>
                <a:gd name="T0" fmla="*/ 74 w 581"/>
                <a:gd name="T1" fmla="*/ 605 h 606"/>
                <a:gd name="T2" fmla="*/ 80 w 581"/>
                <a:gd name="T3" fmla="*/ 555 h 606"/>
                <a:gd name="T4" fmla="*/ 226 w 581"/>
                <a:gd name="T5" fmla="*/ 575 h 606"/>
                <a:gd name="T6" fmla="*/ 222 w 581"/>
                <a:gd name="T7" fmla="*/ 563 h 606"/>
                <a:gd name="T8" fmla="*/ 222 w 581"/>
                <a:gd name="T9" fmla="*/ 548 h 606"/>
                <a:gd name="T10" fmla="*/ 536 w 581"/>
                <a:gd name="T11" fmla="*/ 580 h 606"/>
                <a:gd name="T12" fmla="*/ 575 w 581"/>
                <a:gd name="T13" fmla="*/ 101 h 606"/>
                <a:gd name="T14" fmla="*/ 580 w 581"/>
                <a:gd name="T15" fmla="*/ 50 h 606"/>
                <a:gd name="T16" fmla="*/ 580 w 581"/>
                <a:gd name="T17" fmla="*/ 50 h 606"/>
                <a:gd name="T18" fmla="*/ 569 w 581"/>
                <a:gd name="T19" fmla="*/ 50 h 606"/>
                <a:gd name="T20" fmla="*/ 557 w 581"/>
                <a:gd name="T21" fmla="*/ 50 h 606"/>
                <a:gd name="T22" fmla="*/ 545 w 581"/>
                <a:gd name="T23" fmla="*/ 49 h 606"/>
                <a:gd name="T24" fmla="*/ 529 w 581"/>
                <a:gd name="T25" fmla="*/ 49 h 606"/>
                <a:gd name="T26" fmla="*/ 514 w 581"/>
                <a:gd name="T27" fmla="*/ 47 h 606"/>
                <a:gd name="T28" fmla="*/ 496 w 581"/>
                <a:gd name="T29" fmla="*/ 46 h 606"/>
                <a:gd name="T30" fmla="*/ 479 w 581"/>
                <a:gd name="T31" fmla="*/ 44 h 606"/>
                <a:gd name="T32" fmla="*/ 460 w 581"/>
                <a:gd name="T33" fmla="*/ 41 h 606"/>
                <a:gd name="T34" fmla="*/ 440 w 581"/>
                <a:gd name="T35" fmla="*/ 40 h 606"/>
                <a:gd name="T36" fmla="*/ 419 w 581"/>
                <a:gd name="T37" fmla="*/ 38 h 606"/>
                <a:gd name="T38" fmla="*/ 398 w 581"/>
                <a:gd name="T39" fmla="*/ 35 h 606"/>
                <a:gd name="T40" fmla="*/ 379 w 581"/>
                <a:gd name="T41" fmla="*/ 34 h 606"/>
                <a:gd name="T42" fmla="*/ 356 w 581"/>
                <a:gd name="T43" fmla="*/ 31 h 606"/>
                <a:gd name="T44" fmla="*/ 335 w 581"/>
                <a:gd name="T45" fmla="*/ 30 h 606"/>
                <a:gd name="T46" fmla="*/ 314 w 581"/>
                <a:gd name="T47" fmla="*/ 27 h 606"/>
                <a:gd name="T48" fmla="*/ 293 w 581"/>
                <a:gd name="T49" fmla="*/ 24 h 606"/>
                <a:gd name="T50" fmla="*/ 272 w 581"/>
                <a:gd name="T51" fmla="*/ 23 h 606"/>
                <a:gd name="T52" fmla="*/ 252 w 581"/>
                <a:gd name="T53" fmla="*/ 20 h 606"/>
                <a:gd name="T54" fmla="*/ 232 w 581"/>
                <a:gd name="T55" fmla="*/ 17 h 606"/>
                <a:gd name="T56" fmla="*/ 213 w 581"/>
                <a:gd name="T57" fmla="*/ 16 h 606"/>
                <a:gd name="T58" fmla="*/ 194 w 581"/>
                <a:gd name="T59" fmla="*/ 13 h 606"/>
                <a:gd name="T60" fmla="*/ 177 w 581"/>
                <a:gd name="T61" fmla="*/ 11 h 606"/>
                <a:gd name="T62" fmla="*/ 161 w 581"/>
                <a:gd name="T63" fmla="*/ 8 h 606"/>
                <a:gd name="T64" fmla="*/ 144 w 581"/>
                <a:gd name="T65" fmla="*/ 7 h 606"/>
                <a:gd name="T66" fmla="*/ 131 w 581"/>
                <a:gd name="T67" fmla="*/ 5 h 606"/>
                <a:gd name="T68" fmla="*/ 119 w 581"/>
                <a:gd name="T69" fmla="*/ 4 h 606"/>
                <a:gd name="T70" fmla="*/ 107 w 581"/>
                <a:gd name="T71" fmla="*/ 2 h 606"/>
                <a:gd name="T72" fmla="*/ 98 w 581"/>
                <a:gd name="T73" fmla="*/ 1 h 606"/>
                <a:gd name="T74" fmla="*/ 92 w 581"/>
                <a:gd name="T75" fmla="*/ 0 h 606"/>
                <a:gd name="T76" fmla="*/ 86 w 581"/>
                <a:gd name="T77" fmla="*/ 0 h 606"/>
                <a:gd name="T78" fmla="*/ 83 w 581"/>
                <a:gd name="T79" fmla="*/ 0 h 606"/>
                <a:gd name="T80" fmla="*/ 81 w 581"/>
                <a:gd name="T81" fmla="*/ 0 h 606"/>
                <a:gd name="T82" fmla="*/ 81 w 581"/>
                <a:gd name="T83" fmla="*/ 0 h 606"/>
                <a:gd name="T84" fmla="*/ 81 w 581"/>
                <a:gd name="T85" fmla="*/ 0 h 606"/>
                <a:gd name="T86" fmla="*/ 0 w 581"/>
                <a:gd name="T87" fmla="*/ 591 h 606"/>
                <a:gd name="T88" fmla="*/ 74 w 581"/>
                <a:gd name="T89" fmla="*/ 605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1" h="606">
                  <a:moveTo>
                    <a:pt x="74" y="605"/>
                  </a:moveTo>
                  <a:lnTo>
                    <a:pt x="80" y="555"/>
                  </a:lnTo>
                  <a:lnTo>
                    <a:pt x="226" y="575"/>
                  </a:lnTo>
                  <a:lnTo>
                    <a:pt x="222" y="563"/>
                  </a:lnTo>
                  <a:lnTo>
                    <a:pt x="222" y="548"/>
                  </a:lnTo>
                  <a:lnTo>
                    <a:pt x="536" y="580"/>
                  </a:lnTo>
                  <a:lnTo>
                    <a:pt x="575" y="101"/>
                  </a:lnTo>
                  <a:lnTo>
                    <a:pt x="580" y="50"/>
                  </a:lnTo>
                  <a:lnTo>
                    <a:pt x="580" y="50"/>
                  </a:lnTo>
                  <a:lnTo>
                    <a:pt x="569" y="50"/>
                  </a:lnTo>
                  <a:lnTo>
                    <a:pt x="557" y="50"/>
                  </a:lnTo>
                  <a:lnTo>
                    <a:pt x="545" y="49"/>
                  </a:lnTo>
                  <a:lnTo>
                    <a:pt x="529" y="49"/>
                  </a:lnTo>
                  <a:lnTo>
                    <a:pt x="514" y="47"/>
                  </a:lnTo>
                  <a:lnTo>
                    <a:pt x="496" y="46"/>
                  </a:lnTo>
                  <a:lnTo>
                    <a:pt x="479" y="44"/>
                  </a:lnTo>
                  <a:lnTo>
                    <a:pt x="460" y="41"/>
                  </a:lnTo>
                  <a:lnTo>
                    <a:pt x="440" y="40"/>
                  </a:lnTo>
                  <a:lnTo>
                    <a:pt x="419" y="38"/>
                  </a:lnTo>
                  <a:lnTo>
                    <a:pt x="398" y="35"/>
                  </a:lnTo>
                  <a:lnTo>
                    <a:pt x="379" y="34"/>
                  </a:lnTo>
                  <a:lnTo>
                    <a:pt x="356" y="31"/>
                  </a:lnTo>
                  <a:lnTo>
                    <a:pt x="335" y="30"/>
                  </a:lnTo>
                  <a:lnTo>
                    <a:pt x="314" y="27"/>
                  </a:lnTo>
                  <a:lnTo>
                    <a:pt x="293" y="24"/>
                  </a:lnTo>
                  <a:lnTo>
                    <a:pt x="272" y="23"/>
                  </a:lnTo>
                  <a:lnTo>
                    <a:pt x="252" y="20"/>
                  </a:lnTo>
                  <a:lnTo>
                    <a:pt x="232" y="17"/>
                  </a:lnTo>
                  <a:lnTo>
                    <a:pt x="213" y="16"/>
                  </a:lnTo>
                  <a:lnTo>
                    <a:pt x="194" y="13"/>
                  </a:lnTo>
                  <a:lnTo>
                    <a:pt x="177" y="11"/>
                  </a:lnTo>
                  <a:lnTo>
                    <a:pt x="161" y="8"/>
                  </a:lnTo>
                  <a:lnTo>
                    <a:pt x="144" y="7"/>
                  </a:lnTo>
                  <a:lnTo>
                    <a:pt x="131" y="5"/>
                  </a:lnTo>
                  <a:lnTo>
                    <a:pt x="119" y="4"/>
                  </a:lnTo>
                  <a:lnTo>
                    <a:pt x="107" y="2"/>
                  </a:lnTo>
                  <a:lnTo>
                    <a:pt x="98" y="1"/>
                  </a:lnTo>
                  <a:lnTo>
                    <a:pt x="92" y="0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0" y="591"/>
                  </a:lnTo>
                  <a:lnTo>
                    <a:pt x="74" y="605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" name="Freeform 21"/>
            <p:cNvSpPr>
              <a:spLocks/>
            </p:cNvSpPr>
            <p:nvPr/>
          </p:nvSpPr>
          <p:spPr bwMode="auto">
            <a:xfrm>
              <a:off x="1284804" y="3981630"/>
              <a:ext cx="573879" cy="365125"/>
            </a:xfrm>
            <a:custGeom>
              <a:avLst/>
              <a:gdLst>
                <a:gd name="T0" fmla="*/ 362 w 855"/>
                <a:gd name="T1" fmla="*/ 492 h 544"/>
                <a:gd name="T2" fmla="*/ 448 w 855"/>
                <a:gd name="T3" fmla="*/ 504 h 544"/>
                <a:gd name="T4" fmla="*/ 535 w 855"/>
                <a:gd name="T5" fmla="*/ 513 h 544"/>
                <a:gd name="T6" fmla="*/ 617 w 855"/>
                <a:gd name="T7" fmla="*/ 523 h 544"/>
                <a:gd name="T8" fmla="*/ 693 w 855"/>
                <a:gd name="T9" fmla="*/ 531 h 544"/>
                <a:gd name="T10" fmla="*/ 755 w 855"/>
                <a:gd name="T11" fmla="*/ 537 h 544"/>
                <a:gd name="T12" fmla="*/ 798 w 855"/>
                <a:gd name="T13" fmla="*/ 540 h 544"/>
                <a:gd name="T14" fmla="*/ 820 w 855"/>
                <a:gd name="T15" fmla="*/ 543 h 544"/>
                <a:gd name="T16" fmla="*/ 798 w 855"/>
                <a:gd name="T17" fmla="*/ 119 h 544"/>
                <a:gd name="T18" fmla="*/ 673 w 855"/>
                <a:gd name="T19" fmla="*/ 107 h 544"/>
                <a:gd name="T20" fmla="*/ 536 w 855"/>
                <a:gd name="T21" fmla="*/ 89 h 544"/>
                <a:gd name="T22" fmla="*/ 398 w 855"/>
                <a:gd name="T23" fmla="*/ 68 h 544"/>
                <a:gd name="T24" fmla="*/ 269 w 855"/>
                <a:gd name="T25" fmla="*/ 47 h 544"/>
                <a:gd name="T26" fmla="*/ 159 w 855"/>
                <a:gd name="T27" fmla="*/ 26 h 544"/>
                <a:gd name="T28" fmla="*/ 74 w 855"/>
                <a:gd name="T29" fmla="*/ 10 h 544"/>
                <a:gd name="T30" fmla="*/ 29 w 855"/>
                <a:gd name="T31" fmla="*/ 1 h 544"/>
                <a:gd name="T32" fmla="*/ 0 w 855"/>
                <a:gd name="T33" fmla="*/ 103 h 544"/>
                <a:gd name="T34" fmla="*/ 11 w 855"/>
                <a:gd name="T35" fmla="*/ 155 h 544"/>
                <a:gd name="T36" fmla="*/ 24 w 855"/>
                <a:gd name="T37" fmla="*/ 173 h 544"/>
                <a:gd name="T38" fmla="*/ 24 w 855"/>
                <a:gd name="T39" fmla="*/ 179 h 544"/>
                <a:gd name="T40" fmla="*/ 26 w 855"/>
                <a:gd name="T41" fmla="*/ 183 h 544"/>
                <a:gd name="T42" fmla="*/ 38 w 855"/>
                <a:gd name="T43" fmla="*/ 192 h 544"/>
                <a:gd name="T44" fmla="*/ 49 w 855"/>
                <a:gd name="T45" fmla="*/ 212 h 544"/>
                <a:gd name="T46" fmla="*/ 54 w 855"/>
                <a:gd name="T47" fmla="*/ 232 h 544"/>
                <a:gd name="T48" fmla="*/ 56 w 855"/>
                <a:gd name="T49" fmla="*/ 240 h 544"/>
                <a:gd name="T50" fmla="*/ 74 w 855"/>
                <a:gd name="T51" fmla="*/ 265 h 544"/>
                <a:gd name="T52" fmla="*/ 96 w 855"/>
                <a:gd name="T53" fmla="*/ 267 h 544"/>
                <a:gd name="T54" fmla="*/ 79 w 855"/>
                <a:gd name="T55" fmla="*/ 304 h 544"/>
                <a:gd name="T56" fmla="*/ 73 w 855"/>
                <a:gd name="T57" fmla="*/ 324 h 544"/>
                <a:gd name="T58" fmla="*/ 73 w 855"/>
                <a:gd name="T59" fmla="*/ 345 h 544"/>
                <a:gd name="T60" fmla="*/ 63 w 855"/>
                <a:gd name="T61" fmla="*/ 353 h 544"/>
                <a:gd name="T62" fmla="*/ 63 w 855"/>
                <a:gd name="T63" fmla="*/ 367 h 544"/>
                <a:gd name="T64" fmla="*/ 65 w 855"/>
                <a:gd name="T65" fmla="*/ 380 h 544"/>
                <a:gd name="T66" fmla="*/ 104 w 855"/>
                <a:gd name="T67" fmla="*/ 370 h 544"/>
                <a:gd name="T68" fmla="*/ 107 w 855"/>
                <a:gd name="T69" fmla="*/ 367 h 544"/>
                <a:gd name="T70" fmla="*/ 112 w 855"/>
                <a:gd name="T71" fmla="*/ 387 h 544"/>
                <a:gd name="T72" fmla="*/ 115 w 855"/>
                <a:gd name="T73" fmla="*/ 420 h 544"/>
                <a:gd name="T74" fmla="*/ 121 w 855"/>
                <a:gd name="T75" fmla="*/ 432 h 544"/>
                <a:gd name="T76" fmla="*/ 126 w 855"/>
                <a:gd name="T77" fmla="*/ 449 h 544"/>
                <a:gd name="T78" fmla="*/ 123 w 855"/>
                <a:gd name="T79" fmla="*/ 454 h 544"/>
                <a:gd name="T80" fmla="*/ 128 w 855"/>
                <a:gd name="T81" fmla="*/ 468 h 544"/>
                <a:gd name="T82" fmla="*/ 136 w 855"/>
                <a:gd name="T83" fmla="*/ 471 h 544"/>
                <a:gd name="T84" fmla="*/ 148 w 855"/>
                <a:gd name="T85" fmla="*/ 496 h 544"/>
                <a:gd name="T86" fmla="*/ 151 w 855"/>
                <a:gd name="T87" fmla="*/ 516 h 544"/>
                <a:gd name="T88" fmla="*/ 158 w 855"/>
                <a:gd name="T89" fmla="*/ 525 h 544"/>
                <a:gd name="T90" fmla="*/ 162 w 855"/>
                <a:gd name="T91" fmla="*/ 519 h 544"/>
                <a:gd name="T92" fmla="*/ 172 w 855"/>
                <a:gd name="T93" fmla="*/ 512 h 544"/>
                <a:gd name="T94" fmla="*/ 184 w 855"/>
                <a:gd name="T95" fmla="*/ 516 h 544"/>
                <a:gd name="T96" fmla="*/ 197 w 855"/>
                <a:gd name="T97" fmla="*/ 519 h 544"/>
                <a:gd name="T98" fmla="*/ 202 w 855"/>
                <a:gd name="T99" fmla="*/ 510 h 544"/>
                <a:gd name="T100" fmla="*/ 209 w 855"/>
                <a:gd name="T101" fmla="*/ 510 h 544"/>
                <a:gd name="T102" fmla="*/ 214 w 855"/>
                <a:gd name="T103" fmla="*/ 516 h 544"/>
                <a:gd name="T104" fmla="*/ 241 w 855"/>
                <a:gd name="T105" fmla="*/ 519 h 544"/>
                <a:gd name="T106" fmla="*/ 278 w 855"/>
                <a:gd name="T107" fmla="*/ 50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5" h="544">
                  <a:moveTo>
                    <a:pt x="304" y="482"/>
                  </a:moveTo>
                  <a:lnTo>
                    <a:pt x="323" y="484"/>
                  </a:lnTo>
                  <a:lnTo>
                    <a:pt x="343" y="487"/>
                  </a:lnTo>
                  <a:lnTo>
                    <a:pt x="362" y="492"/>
                  </a:lnTo>
                  <a:lnTo>
                    <a:pt x="385" y="495"/>
                  </a:lnTo>
                  <a:lnTo>
                    <a:pt x="404" y="498"/>
                  </a:lnTo>
                  <a:lnTo>
                    <a:pt x="427" y="501"/>
                  </a:lnTo>
                  <a:lnTo>
                    <a:pt x="448" y="504"/>
                  </a:lnTo>
                  <a:lnTo>
                    <a:pt x="469" y="507"/>
                  </a:lnTo>
                  <a:lnTo>
                    <a:pt x="491" y="509"/>
                  </a:lnTo>
                  <a:lnTo>
                    <a:pt x="514" y="510"/>
                  </a:lnTo>
                  <a:lnTo>
                    <a:pt x="535" y="513"/>
                  </a:lnTo>
                  <a:lnTo>
                    <a:pt x="556" y="516"/>
                  </a:lnTo>
                  <a:lnTo>
                    <a:pt x="577" y="519"/>
                  </a:lnTo>
                  <a:lnTo>
                    <a:pt x="597" y="520"/>
                  </a:lnTo>
                  <a:lnTo>
                    <a:pt x="617" y="523"/>
                  </a:lnTo>
                  <a:lnTo>
                    <a:pt x="637" y="525"/>
                  </a:lnTo>
                  <a:lnTo>
                    <a:pt x="657" y="526"/>
                  </a:lnTo>
                  <a:lnTo>
                    <a:pt x="676" y="529"/>
                  </a:lnTo>
                  <a:lnTo>
                    <a:pt x="693" y="531"/>
                  </a:lnTo>
                  <a:lnTo>
                    <a:pt x="710" y="532"/>
                  </a:lnTo>
                  <a:lnTo>
                    <a:pt x="726" y="534"/>
                  </a:lnTo>
                  <a:lnTo>
                    <a:pt x="740" y="535"/>
                  </a:lnTo>
                  <a:lnTo>
                    <a:pt x="755" y="537"/>
                  </a:lnTo>
                  <a:lnTo>
                    <a:pt x="768" y="538"/>
                  </a:lnTo>
                  <a:lnTo>
                    <a:pt x="779" y="538"/>
                  </a:lnTo>
                  <a:lnTo>
                    <a:pt x="789" y="540"/>
                  </a:lnTo>
                  <a:lnTo>
                    <a:pt x="798" y="540"/>
                  </a:lnTo>
                  <a:lnTo>
                    <a:pt x="805" y="541"/>
                  </a:lnTo>
                  <a:lnTo>
                    <a:pt x="812" y="541"/>
                  </a:lnTo>
                  <a:lnTo>
                    <a:pt x="817" y="541"/>
                  </a:lnTo>
                  <a:lnTo>
                    <a:pt x="820" y="543"/>
                  </a:lnTo>
                  <a:lnTo>
                    <a:pt x="820" y="543"/>
                  </a:lnTo>
                  <a:lnTo>
                    <a:pt x="854" y="122"/>
                  </a:lnTo>
                  <a:lnTo>
                    <a:pt x="826" y="120"/>
                  </a:lnTo>
                  <a:lnTo>
                    <a:pt x="798" y="119"/>
                  </a:lnTo>
                  <a:lnTo>
                    <a:pt x="768" y="117"/>
                  </a:lnTo>
                  <a:lnTo>
                    <a:pt x="738" y="114"/>
                  </a:lnTo>
                  <a:lnTo>
                    <a:pt x="706" y="110"/>
                  </a:lnTo>
                  <a:lnTo>
                    <a:pt x="673" y="107"/>
                  </a:lnTo>
                  <a:lnTo>
                    <a:pt x="640" y="103"/>
                  </a:lnTo>
                  <a:lnTo>
                    <a:pt x="605" y="99"/>
                  </a:lnTo>
                  <a:lnTo>
                    <a:pt x="571" y="95"/>
                  </a:lnTo>
                  <a:lnTo>
                    <a:pt x="536" y="89"/>
                  </a:lnTo>
                  <a:lnTo>
                    <a:pt x="502" y="84"/>
                  </a:lnTo>
                  <a:lnTo>
                    <a:pt x="467" y="78"/>
                  </a:lnTo>
                  <a:lnTo>
                    <a:pt x="433" y="74"/>
                  </a:lnTo>
                  <a:lnTo>
                    <a:pt x="398" y="68"/>
                  </a:lnTo>
                  <a:lnTo>
                    <a:pt x="365" y="63"/>
                  </a:lnTo>
                  <a:lnTo>
                    <a:pt x="332" y="57"/>
                  </a:lnTo>
                  <a:lnTo>
                    <a:pt x="301" y="51"/>
                  </a:lnTo>
                  <a:lnTo>
                    <a:pt x="269" y="47"/>
                  </a:lnTo>
                  <a:lnTo>
                    <a:pt x="239" y="41"/>
                  </a:lnTo>
                  <a:lnTo>
                    <a:pt x="211" y="35"/>
                  </a:lnTo>
                  <a:lnTo>
                    <a:pt x="184" y="32"/>
                  </a:lnTo>
                  <a:lnTo>
                    <a:pt x="159" y="26"/>
                  </a:lnTo>
                  <a:lnTo>
                    <a:pt x="134" y="21"/>
                  </a:lnTo>
                  <a:lnTo>
                    <a:pt x="113" y="17"/>
                  </a:lnTo>
                  <a:lnTo>
                    <a:pt x="92" y="14"/>
                  </a:lnTo>
                  <a:lnTo>
                    <a:pt x="74" y="10"/>
                  </a:lnTo>
                  <a:lnTo>
                    <a:pt x="59" y="7"/>
                  </a:lnTo>
                  <a:lnTo>
                    <a:pt x="46" y="4"/>
                  </a:lnTo>
                  <a:lnTo>
                    <a:pt x="35" y="2"/>
                  </a:lnTo>
                  <a:lnTo>
                    <a:pt x="29" y="1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0" y="103"/>
                  </a:lnTo>
                  <a:lnTo>
                    <a:pt x="7" y="119"/>
                  </a:lnTo>
                  <a:lnTo>
                    <a:pt x="17" y="141"/>
                  </a:lnTo>
                  <a:lnTo>
                    <a:pt x="17" y="150"/>
                  </a:lnTo>
                  <a:lnTo>
                    <a:pt x="11" y="155"/>
                  </a:lnTo>
                  <a:lnTo>
                    <a:pt x="19" y="161"/>
                  </a:lnTo>
                  <a:lnTo>
                    <a:pt x="13" y="165"/>
                  </a:lnTo>
                  <a:lnTo>
                    <a:pt x="13" y="170"/>
                  </a:lnTo>
                  <a:lnTo>
                    <a:pt x="24" y="173"/>
                  </a:lnTo>
                  <a:lnTo>
                    <a:pt x="24" y="174"/>
                  </a:lnTo>
                  <a:lnTo>
                    <a:pt x="24" y="176"/>
                  </a:lnTo>
                  <a:lnTo>
                    <a:pt x="24" y="177"/>
                  </a:lnTo>
                  <a:lnTo>
                    <a:pt x="24" y="179"/>
                  </a:lnTo>
                  <a:lnTo>
                    <a:pt x="24" y="180"/>
                  </a:lnTo>
                  <a:lnTo>
                    <a:pt x="24" y="182"/>
                  </a:lnTo>
                  <a:lnTo>
                    <a:pt x="26" y="183"/>
                  </a:lnTo>
                  <a:lnTo>
                    <a:pt x="26" y="183"/>
                  </a:lnTo>
                  <a:lnTo>
                    <a:pt x="30" y="185"/>
                  </a:lnTo>
                  <a:lnTo>
                    <a:pt x="32" y="186"/>
                  </a:lnTo>
                  <a:lnTo>
                    <a:pt x="35" y="189"/>
                  </a:lnTo>
                  <a:lnTo>
                    <a:pt x="38" y="192"/>
                  </a:lnTo>
                  <a:lnTo>
                    <a:pt x="41" y="197"/>
                  </a:lnTo>
                  <a:lnTo>
                    <a:pt x="44" y="202"/>
                  </a:lnTo>
                  <a:lnTo>
                    <a:pt x="46" y="206"/>
                  </a:lnTo>
                  <a:lnTo>
                    <a:pt x="49" y="212"/>
                  </a:lnTo>
                  <a:lnTo>
                    <a:pt x="50" y="218"/>
                  </a:lnTo>
                  <a:lnTo>
                    <a:pt x="52" y="222"/>
                  </a:lnTo>
                  <a:lnTo>
                    <a:pt x="53" y="228"/>
                  </a:lnTo>
                  <a:lnTo>
                    <a:pt x="54" y="232"/>
                  </a:lnTo>
                  <a:lnTo>
                    <a:pt x="54" y="235"/>
                  </a:lnTo>
                  <a:lnTo>
                    <a:pt x="56" y="237"/>
                  </a:lnTo>
                  <a:lnTo>
                    <a:pt x="56" y="239"/>
                  </a:lnTo>
                  <a:lnTo>
                    <a:pt x="56" y="240"/>
                  </a:lnTo>
                  <a:lnTo>
                    <a:pt x="63" y="243"/>
                  </a:lnTo>
                  <a:lnTo>
                    <a:pt x="63" y="254"/>
                  </a:lnTo>
                  <a:lnTo>
                    <a:pt x="73" y="254"/>
                  </a:lnTo>
                  <a:lnTo>
                    <a:pt x="74" y="265"/>
                  </a:lnTo>
                  <a:lnTo>
                    <a:pt x="80" y="265"/>
                  </a:lnTo>
                  <a:lnTo>
                    <a:pt x="80" y="265"/>
                  </a:lnTo>
                  <a:lnTo>
                    <a:pt x="96" y="265"/>
                  </a:lnTo>
                  <a:lnTo>
                    <a:pt x="96" y="267"/>
                  </a:lnTo>
                  <a:lnTo>
                    <a:pt x="86" y="285"/>
                  </a:lnTo>
                  <a:lnTo>
                    <a:pt x="86" y="295"/>
                  </a:lnTo>
                  <a:lnTo>
                    <a:pt x="86" y="295"/>
                  </a:lnTo>
                  <a:lnTo>
                    <a:pt x="79" y="304"/>
                  </a:lnTo>
                  <a:lnTo>
                    <a:pt x="80" y="304"/>
                  </a:lnTo>
                  <a:lnTo>
                    <a:pt x="80" y="311"/>
                  </a:lnTo>
                  <a:lnTo>
                    <a:pt x="74" y="315"/>
                  </a:lnTo>
                  <a:lnTo>
                    <a:pt x="73" y="324"/>
                  </a:lnTo>
                  <a:lnTo>
                    <a:pt x="76" y="339"/>
                  </a:lnTo>
                  <a:lnTo>
                    <a:pt x="76" y="341"/>
                  </a:lnTo>
                  <a:lnTo>
                    <a:pt x="74" y="342"/>
                  </a:lnTo>
                  <a:lnTo>
                    <a:pt x="73" y="345"/>
                  </a:lnTo>
                  <a:lnTo>
                    <a:pt x="73" y="345"/>
                  </a:lnTo>
                  <a:lnTo>
                    <a:pt x="67" y="347"/>
                  </a:lnTo>
                  <a:lnTo>
                    <a:pt x="65" y="350"/>
                  </a:lnTo>
                  <a:lnTo>
                    <a:pt x="63" y="353"/>
                  </a:lnTo>
                  <a:lnTo>
                    <a:pt x="62" y="357"/>
                  </a:lnTo>
                  <a:lnTo>
                    <a:pt x="62" y="361"/>
                  </a:lnTo>
                  <a:lnTo>
                    <a:pt x="63" y="364"/>
                  </a:lnTo>
                  <a:lnTo>
                    <a:pt x="63" y="367"/>
                  </a:lnTo>
                  <a:lnTo>
                    <a:pt x="63" y="369"/>
                  </a:lnTo>
                  <a:lnTo>
                    <a:pt x="59" y="370"/>
                  </a:lnTo>
                  <a:lnTo>
                    <a:pt x="59" y="377"/>
                  </a:lnTo>
                  <a:lnTo>
                    <a:pt x="65" y="380"/>
                  </a:lnTo>
                  <a:lnTo>
                    <a:pt x="73" y="387"/>
                  </a:lnTo>
                  <a:lnTo>
                    <a:pt x="86" y="383"/>
                  </a:lnTo>
                  <a:lnTo>
                    <a:pt x="98" y="372"/>
                  </a:lnTo>
                  <a:lnTo>
                    <a:pt x="104" y="370"/>
                  </a:lnTo>
                  <a:lnTo>
                    <a:pt x="104" y="370"/>
                  </a:lnTo>
                  <a:lnTo>
                    <a:pt x="106" y="369"/>
                  </a:lnTo>
                  <a:lnTo>
                    <a:pt x="106" y="367"/>
                  </a:lnTo>
                  <a:lnTo>
                    <a:pt x="107" y="367"/>
                  </a:lnTo>
                  <a:lnTo>
                    <a:pt x="109" y="369"/>
                  </a:lnTo>
                  <a:lnTo>
                    <a:pt x="110" y="372"/>
                  </a:lnTo>
                  <a:lnTo>
                    <a:pt x="112" y="378"/>
                  </a:lnTo>
                  <a:lnTo>
                    <a:pt x="112" y="387"/>
                  </a:lnTo>
                  <a:lnTo>
                    <a:pt x="112" y="399"/>
                  </a:lnTo>
                  <a:lnTo>
                    <a:pt x="112" y="407"/>
                  </a:lnTo>
                  <a:lnTo>
                    <a:pt x="113" y="414"/>
                  </a:lnTo>
                  <a:lnTo>
                    <a:pt x="115" y="420"/>
                  </a:lnTo>
                  <a:lnTo>
                    <a:pt x="116" y="426"/>
                  </a:lnTo>
                  <a:lnTo>
                    <a:pt x="118" y="429"/>
                  </a:lnTo>
                  <a:lnTo>
                    <a:pt x="119" y="430"/>
                  </a:lnTo>
                  <a:lnTo>
                    <a:pt x="121" y="432"/>
                  </a:lnTo>
                  <a:lnTo>
                    <a:pt x="123" y="439"/>
                  </a:lnTo>
                  <a:lnTo>
                    <a:pt x="125" y="443"/>
                  </a:lnTo>
                  <a:lnTo>
                    <a:pt x="126" y="447"/>
                  </a:lnTo>
                  <a:lnTo>
                    <a:pt x="126" y="449"/>
                  </a:lnTo>
                  <a:lnTo>
                    <a:pt x="125" y="452"/>
                  </a:lnTo>
                  <a:lnTo>
                    <a:pt x="125" y="452"/>
                  </a:lnTo>
                  <a:lnTo>
                    <a:pt x="125" y="453"/>
                  </a:lnTo>
                  <a:lnTo>
                    <a:pt x="123" y="454"/>
                  </a:lnTo>
                  <a:lnTo>
                    <a:pt x="122" y="459"/>
                  </a:lnTo>
                  <a:lnTo>
                    <a:pt x="123" y="462"/>
                  </a:lnTo>
                  <a:lnTo>
                    <a:pt x="125" y="465"/>
                  </a:lnTo>
                  <a:lnTo>
                    <a:pt x="128" y="468"/>
                  </a:lnTo>
                  <a:lnTo>
                    <a:pt x="131" y="469"/>
                  </a:lnTo>
                  <a:lnTo>
                    <a:pt x="133" y="471"/>
                  </a:lnTo>
                  <a:lnTo>
                    <a:pt x="134" y="471"/>
                  </a:lnTo>
                  <a:lnTo>
                    <a:pt x="136" y="471"/>
                  </a:lnTo>
                  <a:lnTo>
                    <a:pt x="146" y="486"/>
                  </a:lnTo>
                  <a:lnTo>
                    <a:pt x="146" y="487"/>
                  </a:lnTo>
                  <a:lnTo>
                    <a:pt x="148" y="490"/>
                  </a:lnTo>
                  <a:lnTo>
                    <a:pt x="148" y="496"/>
                  </a:lnTo>
                  <a:lnTo>
                    <a:pt x="148" y="502"/>
                  </a:lnTo>
                  <a:lnTo>
                    <a:pt x="149" y="508"/>
                  </a:lnTo>
                  <a:lnTo>
                    <a:pt x="149" y="512"/>
                  </a:lnTo>
                  <a:lnTo>
                    <a:pt x="151" y="516"/>
                  </a:lnTo>
                  <a:lnTo>
                    <a:pt x="151" y="517"/>
                  </a:lnTo>
                  <a:lnTo>
                    <a:pt x="154" y="522"/>
                  </a:lnTo>
                  <a:lnTo>
                    <a:pt x="157" y="525"/>
                  </a:lnTo>
                  <a:lnTo>
                    <a:pt x="158" y="525"/>
                  </a:lnTo>
                  <a:lnTo>
                    <a:pt x="159" y="525"/>
                  </a:lnTo>
                  <a:lnTo>
                    <a:pt x="161" y="522"/>
                  </a:lnTo>
                  <a:lnTo>
                    <a:pt x="162" y="520"/>
                  </a:lnTo>
                  <a:lnTo>
                    <a:pt x="162" y="519"/>
                  </a:lnTo>
                  <a:lnTo>
                    <a:pt x="162" y="517"/>
                  </a:lnTo>
                  <a:lnTo>
                    <a:pt x="164" y="513"/>
                  </a:lnTo>
                  <a:lnTo>
                    <a:pt x="169" y="512"/>
                  </a:lnTo>
                  <a:lnTo>
                    <a:pt x="172" y="512"/>
                  </a:lnTo>
                  <a:lnTo>
                    <a:pt x="175" y="512"/>
                  </a:lnTo>
                  <a:lnTo>
                    <a:pt x="179" y="513"/>
                  </a:lnTo>
                  <a:lnTo>
                    <a:pt x="181" y="514"/>
                  </a:lnTo>
                  <a:lnTo>
                    <a:pt x="184" y="516"/>
                  </a:lnTo>
                  <a:lnTo>
                    <a:pt x="185" y="517"/>
                  </a:lnTo>
                  <a:lnTo>
                    <a:pt x="190" y="520"/>
                  </a:lnTo>
                  <a:lnTo>
                    <a:pt x="194" y="520"/>
                  </a:lnTo>
                  <a:lnTo>
                    <a:pt x="197" y="519"/>
                  </a:lnTo>
                  <a:lnTo>
                    <a:pt x="199" y="517"/>
                  </a:lnTo>
                  <a:lnTo>
                    <a:pt x="200" y="514"/>
                  </a:lnTo>
                  <a:lnTo>
                    <a:pt x="202" y="513"/>
                  </a:lnTo>
                  <a:lnTo>
                    <a:pt x="202" y="510"/>
                  </a:lnTo>
                  <a:lnTo>
                    <a:pt x="203" y="510"/>
                  </a:lnTo>
                  <a:lnTo>
                    <a:pt x="206" y="509"/>
                  </a:lnTo>
                  <a:lnTo>
                    <a:pt x="208" y="509"/>
                  </a:lnTo>
                  <a:lnTo>
                    <a:pt x="209" y="510"/>
                  </a:lnTo>
                  <a:lnTo>
                    <a:pt x="211" y="512"/>
                  </a:lnTo>
                  <a:lnTo>
                    <a:pt x="212" y="513"/>
                  </a:lnTo>
                  <a:lnTo>
                    <a:pt x="212" y="514"/>
                  </a:lnTo>
                  <a:lnTo>
                    <a:pt x="214" y="516"/>
                  </a:lnTo>
                  <a:lnTo>
                    <a:pt x="214" y="517"/>
                  </a:lnTo>
                  <a:lnTo>
                    <a:pt x="218" y="517"/>
                  </a:lnTo>
                  <a:lnTo>
                    <a:pt x="235" y="514"/>
                  </a:lnTo>
                  <a:lnTo>
                    <a:pt x="241" y="519"/>
                  </a:lnTo>
                  <a:lnTo>
                    <a:pt x="251" y="519"/>
                  </a:lnTo>
                  <a:lnTo>
                    <a:pt x="263" y="517"/>
                  </a:lnTo>
                  <a:lnTo>
                    <a:pt x="269" y="504"/>
                  </a:lnTo>
                  <a:lnTo>
                    <a:pt x="278" y="504"/>
                  </a:lnTo>
                  <a:lnTo>
                    <a:pt x="284" y="520"/>
                  </a:lnTo>
                  <a:lnTo>
                    <a:pt x="293" y="534"/>
                  </a:lnTo>
                  <a:lnTo>
                    <a:pt x="304" y="482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" name="Freeform 22"/>
            <p:cNvSpPr>
              <a:spLocks/>
            </p:cNvSpPr>
            <p:nvPr/>
          </p:nvSpPr>
          <p:spPr bwMode="auto">
            <a:xfrm>
              <a:off x="1284804" y="3981630"/>
              <a:ext cx="573879" cy="365125"/>
            </a:xfrm>
            <a:custGeom>
              <a:avLst/>
              <a:gdLst>
                <a:gd name="T0" fmla="*/ 343 w 855"/>
                <a:gd name="T1" fmla="*/ 487 h 544"/>
                <a:gd name="T2" fmla="*/ 427 w 855"/>
                <a:gd name="T3" fmla="*/ 501 h 544"/>
                <a:gd name="T4" fmla="*/ 514 w 855"/>
                <a:gd name="T5" fmla="*/ 510 h 544"/>
                <a:gd name="T6" fmla="*/ 597 w 855"/>
                <a:gd name="T7" fmla="*/ 520 h 544"/>
                <a:gd name="T8" fmla="*/ 676 w 855"/>
                <a:gd name="T9" fmla="*/ 529 h 544"/>
                <a:gd name="T10" fmla="*/ 740 w 855"/>
                <a:gd name="T11" fmla="*/ 535 h 544"/>
                <a:gd name="T12" fmla="*/ 789 w 855"/>
                <a:gd name="T13" fmla="*/ 540 h 544"/>
                <a:gd name="T14" fmla="*/ 817 w 855"/>
                <a:gd name="T15" fmla="*/ 541 h 544"/>
                <a:gd name="T16" fmla="*/ 854 w 855"/>
                <a:gd name="T17" fmla="*/ 122 h 544"/>
                <a:gd name="T18" fmla="*/ 738 w 855"/>
                <a:gd name="T19" fmla="*/ 114 h 544"/>
                <a:gd name="T20" fmla="*/ 605 w 855"/>
                <a:gd name="T21" fmla="*/ 99 h 544"/>
                <a:gd name="T22" fmla="*/ 467 w 855"/>
                <a:gd name="T23" fmla="*/ 78 h 544"/>
                <a:gd name="T24" fmla="*/ 332 w 855"/>
                <a:gd name="T25" fmla="*/ 57 h 544"/>
                <a:gd name="T26" fmla="*/ 211 w 855"/>
                <a:gd name="T27" fmla="*/ 35 h 544"/>
                <a:gd name="T28" fmla="*/ 113 w 855"/>
                <a:gd name="T29" fmla="*/ 17 h 544"/>
                <a:gd name="T30" fmla="*/ 46 w 855"/>
                <a:gd name="T31" fmla="*/ 4 h 544"/>
                <a:gd name="T32" fmla="*/ 21 w 855"/>
                <a:gd name="T33" fmla="*/ 0 h 544"/>
                <a:gd name="T34" fmla="*/ 17 w 855"/>
                <a:gd name="T35" fmla="*/ 141 h 544"/>
                <a:gd name="T36" fmla="*/ 13 w 855"/>
                <a:gd name="T37" fmla="*/ 165 h 544"/>
                <a:gd name="T38" fmla="*/ 24 w 855"/>
                <a:gd name="T39" fmla="*/ 174 h 544"/>
                <a:gd name="T40" fmla="*/ 24 w 855"/>
                <a:gd name="T41" fmla="*/ 180 h 544"/>
                <a:gd name="T42" fmla="*/ 26 w 855"/>
                <a:gd name="T43" fmla="*/ 183 h 544"/>
                <a:gd name="T44" fmla="*/ 38 w 855"/>
                <a:gd name="T45" fmla="*/ 192 h 544"/>
                <a:gd name="T46" fmla="*/ 49 w 855"/>
                <a:gd name="T47" fmla="*/ 212 h 544"/>
                <a:gd name="T48" fmla="*/ 54 w 855"/>
                <a:gd name="T49" fmla="*/ 232 h 544"/>
                <a:gd name="T50" fmla="*/ 56 w 855"/>
                <a:gd name="T51" fmla="*/ 240 h 544"/>
                <a:gd name="T52" fmla="*/ 74 w 855"/>
                <a:gd name="T53" fmla="*/ 265 h 544"/>
                <a:gd name="T54" fmla="*/ 96 w 855"/>
                <a:gd name="T55" fmla="*/ 267 h 544"/>
                <a:gd name="T56" fmla="*/ 79 w 855"/>
                <a:gd name="T57" fmla="*/ 304 h 544"/>
                <a:gd name="T58" fmla="*/ 73 w 855"/>
                <a:gd name="T59" fmla="*/ 324 h 544"/>
                <a:gd name="T60" fmla="*/ 74 w 855"/>
                <a:gd name="T61" fmla="*/ 342 h 544"/>
                <a:gd name="T62" fmla="*/ 67 w 855"/>
                <a:gd name="T63" fmla="*/ 347 h 544"/>
                <a:gd name="T64" fmla="*/ 62 w 855"/>
                <a:gd name="T65" fmla="*/ 361 h 544"/>
                <a:gd name="T66" fmla="*/ 59 w 855"/>
                <a:gd name="T67" fmla="*/ 370 h 544"/>
                <a:gd name="T68" fmla="*/ 86 w 855"/>
                <a:gd name="T69" fmla="*/ 383 h 544"/>
                <a:gd name="T70" fmla="*/ 104 w 855"/>
                <a:gd name="T71" fmla="*/ 370 h 544"/>
                <a:gd name="T72" fmla="*/ 109 w 855"/>
                <a:gd name="T73" fmla="*/ 369 h 544"/>
                <a:gd name="T74" fmla="*/ 112 w 855"/>
                <a:gd name="T75" fmla="*/ 387 h 544"/>
                <a:gd name="T76" fmla="*/ 115 w 855"/>
                <a:gd name="T77" fmla="*/ 420 h 544"/>
                <a:gd name="T78" fmla="*/ 121 w 855"/>
                <a:gd name="T79" fmla="*/ 432 h 544"/>
                <a:gd name="T80" fmla="*/ 126 w 855"/>
                <a:gd name="T81" fmla="*/ 447 h 544"/>
                <a:gd name="T82" fmla="*/ 125 w 855"/>
                <a:gd name="T83" fmla="*/ 453 h 544"/>
                <a:gd name="T84" fmla="*/ 123 w 855"/>
                <a:gd name="T85" fmla="*/ 462 h 544"/>
                <a:gd name="T86" fmla="*/ 133 w 855"/>
                <a:gd name="T87" fmla="*/ 471 h 544"/>
                <a:gd name="T88" fmla="*/ 146 w 855"/>
                <a:gd name="T89" fmla="*/ 486 h 544"/>
                <a:gd name="T90" fmla="*/ 148 w 855"/>
                <a:gd name="T91" fmla="*/ 502 h 544"/>
                <a:gd name="T92" fmla="*/ 151 w 855"/>
                <a:gd name="T93" fmla="*/ 517 h 544"/>
                <a:gd name="T94" fmla="*/ 158 w 855"/>
                <a:gd name="T95" fmla="*/ 525 h 544"/>
                <a:gd name="T96" fmla="*/ 162 w 855"/>
                <a:gd name="T97" fmla="*/ 519 h 544"/>
                <a:gd name="T98" fmla="*/ 169 w 855"/>
                <a:gd name="T99" fmla="*/ 512 h 544"/>
                <a:gd name="T100" fmla="*/ 181 w 855"/>
                <a:gd name="T101" fmla="*/ 514 h 544"/>
                <a:gd name="T102" fmla="*/ 190 w 855"/>
                <a:gd name="T103" fmla="*/ 520 h 544"/>
                <a:gd name="T104" fmla="*/ 200 w 855"/>
                <a:gd name="T105" fmla="*/ 514 h 544"/>
                <a:gd name="T106" fmla="*/ 203 w 855"/>
                <a:gd name="T107" fmla="*/ 510 h 544"/>
                <a:gd name="T108" fmla="*/ 211 w 855"/>
                <a:gd name="T109" fmla="*/ 512 h 544"/>
                <a:gd name="T110" fmla="*/ 214 w 855"/>
                <a:gd name="T111" fmla="*/ 517 h 544"/>
                <a:gd name="T112" fmla="*/ 251 w 855"/>
                <a:gd name="T113" fmla="*/ 519 h 544"/>
                <a:gd name="T114" fmla="*/ 284 w 855"/>
                <a:gd name="T115" fmla="*/ 52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5" h="544">
                  <a:moveTo>
                    <a:pt x="304" y="482"/>
                  </a:moveTo>
                  <a:lnTo>
                    <a:pt x="304" y="482"/>
                  </a:lnTo>
                  <a:lnTo>
                    <a:pt x="323" y="484"/>
                  </a:lnTo>
                  <a:lnTo>
                    <a:pt x="343" y="487"/>
                  </a:lnTo>
                  <a:lnTo>
                    <a:pt x="362" y="492"/>
                  </a:lnTo>
                  <a:lnTo>
                    <a:pt x="385" y="495"/>
                  </a:lnTo>
                  <a:lnTo>
                    <a:pt x="404" y="498"/>
                  </a:lnTo>
                  <a:lnTo>
                    <a:pt x="427" y="501"/>
                  </a:lnTo>
                  <a:lnTo>
                    <a:pt x="448" y="504"/>
                  </a:lnTo>
                  <a:lnTo>
                    <a:pt x="469" y="507"/>
                  </a:lnTo>
                  <a:lnTo>
                    <a:pt x="491" y="509"/>
                  </a:lnTo>
                  <a:lnTo>
                    <a:pt x="514" y="510"/>
                  </a:lnTo>
                  <a:lnTo>
                    <a:pt x="535" y="513"/>
                  </a:lnTo>
                  <a:lnTo>
                    <a:pt x="556" y="516"/>
                  </a:lnTo>
                  <a:lnTo>
                    <a:pt x="577" y="519"/>
                  </a:lnTo>
                  <a:lnTo>
                    <a:pt x="597" y="520"/>
                  </a:lnTo>
                  <a:lnTo>
                    <a:pt x="617" y="523"/>
                  </a:lnTo>
                  <a:lnTo>
                    <a:pt x="637" y="525"/>
                  </a:lnTo>
                  <a:lnTo>
                    <a:pt x="657" y="526"/>
                  </a:lnTo>
                  <a:lnTo>
                    <a:pt x="676" y="529"/>
                  </a:lnTo>
                  <a:lnTo>
                    <a:pt x="693" y="531"/>
                  </a:lnTo>
                  <a:lnTo>
                    <a:pt x="710" y="532"/>
                  </a:lnTo>
                  <a:lnTo>
                    <a:pt x="726" y="534"/>
                  </a:lnTo>
                  <a:lnTo>
                    <a:pt x="740" y="535"/>
                  </a:lnTo>
                  <a:lnTo>
                    <a:pt x="755" y="537"/>
                  </a:lnTo>
                  <a:lnTo>
                    <a:pt x="768" y="538"/>
                  </a:lnTo>
                  <a:lnTo>
                    <a:pt x="779" y="538"/>
                  </a:lnTo>
                  <a:lnTo>
                    <a:pt x="789" y="540"/>
                  </a:lnTo>
                  <a:lnTo>
                    <a:pt x="798" y="540"/>
                  </a:lnTo>
                  <a:lnTo>
                    <a:pt x="805" y="541"/>
                  </a:lnTo>
                  <a:lnTo>
                    <a:pt x="812" y="541"/>
                  </a:lnTo>
                  <a:lnTo>
                    <a:pt x="817" y="541"/>
                  </a:lnTo>
                  <a:lnTo>
                    <a:pt x="820" y="543"/>
                  </a:lnTo>
                  <a:lnTo>
                    <a:pt x="820" y="543"/>
                  </a:lnTo>
                  <a:lnTo>
                    <a:pt x="854" y="122"/>
                  </a:lnTo>
                  <a:lnTo>
                    <a:pt x="854" y="122"/>
                  </a:lnTo>
                  <a:lnTo>
                    <a:pt x="826" y="120"/>
                  </a:lnTo>
                  <a:lnTo>
                    <a:pt x="798" y="119"/>
                  </a:lnTo>
                  <a:lnTo>
                    <a:pt x="768" y="117"/>
                  </a:lnTo>
                  <a:lnTo>
                    <a:pt x="738" y="114"/>
                  </a:lnTo>
                  <a:lnTo>
                    <a:pt x="706" y="110"/>
                  </a:lnTo>
                  <a:lnTo>
                    <a:pt x="673" y="107"/>
                  </a:lnTo>
                  <a:lnTo>
                    <a:pt x="640" y="103"/>
                  </a:lnTo>
                  <a:lnTo>
                    <a:pt x="605" y="99"/>
                  </a:lnTo>
                  <a:lnTo>
                    <a:pt x="571" y="95"/>
                  </a:lnTo>
                  <a:lnTo>
                    <a:pt x="536" y="89"/>
                  </a:lnTo>
                  <a:lnTo>
                    <a:pt x="502" y="84"/>
                  </a:lnTo>
                  <a:lnTo>
                    <a:pt x="467" y="78"/>
                  </a:lnTo>
                  <a:lnTo>
                    <a:pt x="433" y="74"/>
                  </a:lnTo>
                  <a:lnTo>
                    <a:pt x="398" y="68"/>
                  </a:lnTo>
                  <a:lnTo>
                    <a:pt x="365" y="63"/>
                  </a:lnTo>
                  <a:lnTo>
                    <a:pt x="332" y="57"/>
                  </a:lnTo>
                  <a:lnTo>
                    <a:pt x="301" y="51"/>
                  </a:lnTo>
                  <a:lnTo>
                    <a:pt x="269" y="47"/>
                  </a:lnTo>
                  <a:lnTo>
                    <a:pt x="239" y="41"/>
                  </a:lnTo>
                  <a:lnTo>
                    <a:pt x="211" y="35"/>
                  </a:lnTo>
                  <a:lnTo>
                    <a:pt x="184" y="32"/>
                  </a:lnTo>
                  <a:lnTo>
                    <a:pt x="159" y="26"/>
                  </a:lnTo>
                  <a:lnTo>
                    <a:pt x="134" y="21"/>
                  </a:lnTo>
                  <a:lnTo>
                    <a:pt x="113" y="17"/>
                  </a:lnTo>
                  <a:lnTo>
                    <a:pt x="92" y="14"/>
                  </a:lnTo>
                  <a:lnTo>
                    <a:pt x="74" y="10"/>
                  </a:lnTo>
                  <a:lnTo>
                    <a:pt x="59" y="7"/>
                  </a:lnTo>
                  <a:lnTo>
                    <a:pt x="46" y="4"/>
                  </a:lnTo>
                  <a:lnTo>
                    <a:pt x="35" y="2"/>
                  </a:lnTo>
                  <a:lnTo>
                    <a:pt x="29" y="1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0" y="103"/>
                  </a:lnTo>
                  <a:lnTo>
                    <a:pt x="7" y="119"/>
                  </a:lnTo>
                  <a:lnTo>
                    <a:pt x="17" y="141"/>
                  </a:lnTo>
                  <a:lnTo>
                    <a:pt x="17" y="150"/>
                  </a:lnTo>
                  <a:lnTo>
                    <a:pt x="11" y="155"/>
                  </a:lnTo>
                  <a:lnTo>
                    <a:pt x="19" y="161"/>
                  </a:lnTo>
                  <a:lnTo>
                    <a:pt x="13" y="165"/>
                  </a:lnTo>
                  <a:lnTo>
                    <a:pt x="13" y="170"/>
                  </a:lnTo>
                  <a:lnTo>
                    <a:pt x="24" y="173"/>
                  </a:lnTo>
                  <a:lnTo>
                    <a:pt x="24" y="173"/>
                  </a:lnTo>
                  <a:lnTo>
                    <a:pt x="24" y="174"/>
                  </a:lnTo>
                  <a:lnTo>
                    <a:pt x="24" y="176"/>
                  </a:lnTo>
                  <a:lnTo>
                    <a:pt x="24" y="177"/>
                  </a:lnTo>
                  <a:lnTo>
                    <a:pt x="24" y="179"/>
                  </a:lnTo>
                  <a:lnTo>
                    <a:pt x="24" y="180"/>
                  </a:lnTo>
                  <a:lnTo>
                    <a:pt x="24" y="182"/>
                  </a:lnTo>
                  <a:lnTo>
                    <a:pt x="26" y="183"/>
                  </a:lnTo>
                  <a:lnTo>
                    <a:pt x="26" y="183"/>
                  </a:lnTo>
                  <a:lnTo>
                    <a:pt x="26" y="183"/>
                  </a:lnTo>
                  <a:lnTo>
                    <a:pt x="30" y="185"/>
                  </a:lnTo>
                  <a:lnTo>
                    <a:pt x="32" y="186"/>
                  </a:lnTo>
                  <a:lnTo>
                    <a:pt x="35" y="189"/>
                  </a:lnTo>
                  <a:lnTo>
                    <a:pt x="38" y="192"/>
                  </a:lnTo>
                  <a:lnTo>
                    <a:pt x="41" y="197"/>
                  </a:lnTo>
                  <a:lnTo>
                    <a:pt x="44" y="202"/>
                  </a:lnTo>
                  <a:lnTo>
                    <a:pt x="46" y="206"/>
                  </a:lnTo>
                  <a:lnTo>
                    <a:pt x="49" y="212"/>
                  </a:lnTo>
                  <a:lnTo>
                    <a:pt x="50" y="218"/>
                  </a:lnTo>
                  <a:lnTo>
                    <a:pt x="52" y="222"/>
                  </a:lnTo>
                  <a:lnTo>
                    <a:pt x="53" y="228"/>
                  </a:lnTo>
                  <a:lnTo>
                    <a:pt x="54" y="232"/>
                  </a:lnTo>
                  <a:lnTo>
                    <a:pt x="54" y="235"/>
                  </a:lnTo>
                  <a:lnTo>
                    <a:pt x="56" y="237"/>
                  </a:lnTo>
                  <a:lnTo>
                    <a:pt x="56" y="239"/>
                  </a:lnTo>
                  <a:lnTo>
                    <a:pt x="56" y="240"/>
                  </a:lnTo>
                  <a:lnTo>
                    <a:pt x="63" y="243"/>
                  </a:lnTo>
                  <a:lnTo>
                    <a:pt x="63" y="254"/>
                  </a:lnTo>
                  <a:lnTo>
                    <a:pt x="73" y="254"/>
                  </a:lnTo>
                  <a:lnTo>
                    <a:pt x="74" y="265"/>
                  </a:lnTo>
                  <a:lnTo>
                    <a:pt x="80" y="265"/>
                  </a:lnTo>
                  <a:lnTo>
                    <a:pt x="80" y="265"/>
                  </a:lnTo>
                  <a:lnTo>
                    <a:pt x="96" y="265"/>
                  </a:lnTo>
                  <a:lnTo>
                    <a:pt x="96" y="267"/>
                  </a:lnTo>
                  <a:lnTo>
                    <a:pt x="86" y="285"/>
                  </a:lnTo>
                  <a:lnTo>
                    <a:pt x="86" y="295"/>
                  </a:lnTo>
                  <a:lnTo>
                    <a:pt x="86" y="295"/>
                  </a:lnTo>
                  <a:lnTo>
                    <a:pt x="79" y="304"/>
                  </a:lnTo>
                  <a:lnTo>
                    <a:pt x="80" y="304"/>
                  </a:lnTo>
                  <a:lnTo>
                    <a:pt x="80" y="311"/>
                  </a:lnTo>
                  <a:lnTo>
                    <a:pt x="74" y="315"/>
                  </a:lnTo>
                  <a:lnTo>
                    <a:pt x="73" y="324"/>
                  </a:lnTo>
                  <a:lnTo>
                    <a:pt x="76" y="339"/>
                  </a:lnTo>
                  <a:lnTo>
                    <a:pt x="76" y="339"/>
                  </a:lnTo>
                  <a:lnTo>
                    <a:pt x="76" y="341"/>
                  </a:lnTo>
                  <a:lnTo>
                    <a:pt x="74" y="342"/>
                  </a:lnTo>
                  <a:lnTo>
                    <a:pt x="73" y="345"/>
                  </a:lnTo>
                  <a:lnTo>
                    <a:pt x="73" y="345"/>
                  </a:lnTo>
                  <a:lnTo>
                    <a:pt x="73" y="345"/>
                  </a:lnTo>
                  <a:lnTo>
                    <a:pt x="67" y="347"/>
                  </a:lnTo>
                  <a:lnTo>
                    <a:pt x="65" y="350"/>
                  </a:lnTo>
                  <a:lnTo>
                    <a:pt x="63" y="353"/>
                  </a:lnTo>
                  <a:lnTo>
                    <a:pt x="62" y="357"/>
                  </a:lnTo>
                  <a:lnTo>
                    <a:pt x="62" y="361"/>
                  </a:lnTo>
                  <a:lnTo>
                    <a:pt x="63" y="364"/>
                  </a:lnTo>
                  <a:lnTo>
                    <a:pt x="63" y="367"/>
                  </a:lnTo>
                  <a:lnTo>
                    <a:pt x="63" y="369"/>
                  </a:lnTo>
                  <a:lnTo>
                    <a:pt x="59" y="370"/>
                  </a:lnTo>
                  <a:lnTo>
                    <a:pt x="59" y="377"/>
                  </a:lnTo>
                  <a:lnTo>
                    <a:pt x="65" y="380"/>
                  </a:lnTo>
                  <a:lnTo>
                    <a:pt x="73" y="387"/>
                  </a:lnTo>
                  <a:lnTo>
                    <a:pt x="86" y="383"/>
                  </a:lnTo>
                  <a:lnTo>
                    <a:pt x="98" y="372"/>
                  </a:lnTo>
                  <a:lnTo>
                    <a:pt x="104" y="370"/>
                  </a:lnTo>
                  <a:lnTo>
                    <a:pt x="104" y="370"/>
                  </a:lnTo>
                  <a:lnTo>
                    <a:pt x="104" y="370"/>
                  </a:lnTo>
                  <a:lnTo>
                    <a:pt x="106" y="369"/>
                  </a:lnTo>
                  <a:lnTo>
                    <a:pt x="106" y="367"/>
                  </a:lnTo>
                  <a:lnTo>
                    <a:pt x="107" y="367"/>
                  </a:lnTo>
                  <a:lnTo>
                    <a:pt x="109" y="369"/>
                  </a:lnTo>
                  <a:lnTo>
                    <a:pt x="110" y="372"/>
                  </a:lnTo>
                  <a:lnTo>
                    <a:pt x="112" y="378"/>
                  </a:lnTo>
                  <a:lnTo>
                    <a:pt x="112" y="387"/>
                  </a:lnTo>
                  <a:lnTo>
                    <a:pt x="112" y="387"/>
                  </a:lnTo>
                  <a:lnTo>
                    <a:pt x="112" y="399"/>
                  </a:lnTo>
                  <a:lnTo>
                    <a:pt x="112" y="407"/>
                  </a:lnTo>
                  <a:lnTo>
                    <a:pt x="113" y="414"/>
                  </a:lnTo>
                  <a:lnTo>
                    <a:pt x="115" y="420"/>
                  </a:lnTo>
                  <a:lnTo>
                    <a:pt x="116" y="426"/>
                  </a:lnTo>
                  <a:lnTo>
                    <a:pt x="118" y="429"/>
                  </a:lnTo>
                  <a:lnTo>
                    <a:pt x="119" y="430"/>
                  </a:lnTo>
                  <a:lnTo>
                    <a:pt x="121" y="432"/>
                  </a:lnTo>
                  <a:lnTo>
                    <a:pt x="121" y="432"/>
                  </a:lnTo>
                  <a:lnTo>
                    <a:pt x="123" y="439"/>
                  </a:lnTo>
                  <a:lnTo>
                    <a:pt x="125" y="443"/>
                  </a:lnTo>
                  <a:lnTo>
                    <a:pt x="126" y="447"/>
                  </a:lnTo>
                  <a:lnTo>
                    <a:pt x="126" y="449"/>
                  </a:lnTo>
                  <a:lnTo>
                    <a:pt x="125" y="452"/>
                  </a:lnTo>
                  <a:lnTo>
                    <a:pt x="125" y="452"/>
                  </a:lnTo>
                  <a:lnTo>
                    <a:pt x="125" y="453"/>
                  </a:lnTo>
                  <a:lnTo>
                    <a:pt x="123" y="454"/>
                  </a:lnTo>
                  <a:lnTo>
                    <a:pt x="123" y="454"/>
                  </a:lnTo>
                  <a:lnTo>
                    <a:pt x="122" y="459"/>
                  </a:lnTo>
                  <a:lnTo>
                    <a:pt x="123" y="462"/>
                  </a:lnTo>
                  <a:lnTo>
                    <a:pt x="125" y="465"/>
                  </a:lnTo>
                  <a:lnTo>
                    <a:pt x="128" y="468"/>
                  </a:lnTo>
                  <a:lnTo>
                    <a:pt x="131" y="469"/>
                  </a:lnTo>
                  <a:lnTo>
                    <a:pt x="133" y="471"/>
                  </a:lnTo>
                  <a:lnTo>
                    <a:pt x="134" y="471"/>
                  </a:lnTo>
                  <a:lnTo>
                    <a:pt x="136" y="471"/>
                  </a:lnTo>
                  <a:lnTo>
                    <a:pt x="146" y="486"/>
                  </a:lnTo>
                  <a:lnTo>
                    <a:pt x="146" y="486"/>
                  </a:lnTo>
                  <a:lnTo>
                    <a:pt x="146" y="487"/>
                  </a:lnTo>
                  <a:lnTo>
                    <a:pt x="148" y="490"/>
                  </a:lnTo>
                  <a:lnTo>
                    <a:pt x="148" y="496"/>
                  </a:lnTo>
                  <a:lnTo>
                    <a:pt x="148" y="502"/>
                  </a:lnTo>
                  <a:lnTo>
                    <a:pt x="149" y="508"/>
                  </a:lnTo>
                  <a:lnTo>
                    <a:pt x="149" y="512"/>
                  </a:lnTo>
                  <a:lnTo>
                    <a:pt x="151" y="516"/>
                  </a:lnTo>
                  <a:lnTo>
                    <a:pt x="151" y="517"/>
                  </a:lnTo>
                  <a:lnTo>
                    <a:pt x="151" y="517"/>
                  </a:lnTo>
                  <a:lnTo>
                    <a:pt x="154" y="522"/>
                  </a:lnTo>
                  <a:lnTo>
                    <a:pt x="157" y="525"/>
                  </a:lnTo>
                  <a:lnTo>
                    <a:pt x="158" y="525"/>
                  </a:lnTo>
                  <a:lnTo>
                    <a:pt x="159" y="525"/>
                  </a:lnTo>
                  <a:lnTo>
                    <a:pt x="161" y="522"/>
                  </a:lnTo>
                  <a:lnTo>
                    <a:pt x="162" y="520"/>
                  </a:lnTo>
                  <a:lnTo>
                    <a:pt x="162" y="519"/>
                  </a:lnTo>
                  <a:lnTo>
                    <a:pt x="162" y="517"/>
                  </a:lnTo>
                  <a:lnTo>
                    <a:pt x="162" y="517"/>
                  </a:lnTo>
                  <a:lnTo>
                    <a:pt x="164" y="513"/>
                  </a:lnTo>
                  <a:lnTo>
                    <a:pt x="169" y="512"/>
                  </a:lnTo>
                  <a:lnTo>
                    <a:pt x="172" y="512"/>
                  </a:lnTo>
                  <a:lnTo>
                    <a:pt x="175" y="512"/>
                  </a:lnTo>
                  <a:lnTo>
                    <a:pt x="179" y="513"/>
                  </a:lnTo>
                  <a:lnTo>
                    <a:pt x="181" y="514"/>
                  </a:lnTo>
                  <a:lnTo>
                    <a:pt x="184" y="516"/>
                  </a:lnTo>
                  <a:lnTo>
                    <a:pt x="185" y="517"/>
                  </a:lnTo>
                  <a:lnTo>
                    <a:pt x="185" y="517"/>
                  </a:lnTo>
                  <a:lnTo>
                    <a:pt x="190" y="520"/>
                  </a:lnTo>
                  <a:lnTo>
                    <a:pt x="194" y="520"/>
                  </a:lnTo>
                  <a:lnTo>
                    <a:pt x="197" y="519"/>
                  </a:lnTo>
                  <a:lnTo>
                    <a:pt x="199" y="517"/>
                  </a:lnTo>
                  <a:lnTo>
                    <a:pt x="200" y="514"/>
                  </a:lnTo>
                  <a:lnTo>
                    <a:pt x="202" y="513"/>
                  </a:lnTo>
                  <a:lnTo>
                    <a:pt x="202" y="510"/>
                  </a:lnTo>
                  <a:lnTo>
                    <a:pt x="203" y="510"/>
                  </a:lnTo>
                  <a:lnTo>
                    <a:pt x="203" y="510"/>
                  </a:lnTo>
                  <a:lnTo>
                    <a:pt x="206" y="509"/>
                  </a:lnTo>
                  <a:lnTo>
                    <a:pt x="208" y="509"/>
                  </a:lnTo>
                  <a:lnTo>
                    <a:pt x="209" y="510"/>
                  </a:lnTo>
                  <a:lnTo>
                    <a:pt x="211" y="512"/>
                  </a:lnTo>
                  <a:lnTo>
                    <a:pt x="212" y="513"/>
                  </a:lnTo>
                  <a:lnTo>
                    <a:pt x="212" y="514"/>
                  </a:lnTo>
                  <a:lnTo>
                    <a:pt x="214" y="516"/>
                  </a:lnTo>
                  <a:lnTo>
                    <a:pt x="214" y="517"/>
                  </a:lnTo>
                  <a:lnTo>
                    <a:pt x="218" y="517"/>
                  </a:lnTo>
                  <a:lnTo>
                    <a:pt x="235" y="514"/>
                  </a:lnTo>
                  <a:lnTo>
                    <a:pt x="241" y="519"/>
                  </a:lnTo>
                  <a:lnTo>
                    <a:pt x="251" y="519"/>
                  </a:lnTo>
                  <a:lnTo>
                    <a:pt x="263" y="517"/>
                  </a:lnTo>
                  <a:lnTo>
                    <a:pt x="269" y="504"/>
                  </a:lnTo>
                  <a:lnTo>
                    <a:pt x="278" y="504"/>
                  </a:lnTo>
                  <a:lnTo>
                    <a:pt x="284" y="520"/>
                  </a:lnTo>
                  <a:lnTo>
                    <a:pt x="293" y="534"/>
                  </a:lnTo>
                  <a:lnTo>
                    <a:pt x="304" y="482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" name="Freeform 23"/>
            <p:cNvSpPr>
              <a:spLocks/>
            </p:cNvSpPr>
            <p:nvPr/>
          </p:nvSpPr>
          <p:spPr bwMode="auto">
            <a:xfrm>
              <a:off x="1510256" y="4600106"/>
              <a:ext cx="409311" cy="322899"/>
            </a:xfrm>
            <a:custGeom>
              <a:avLst/>
              <a:gdLst>
                <a:gd name="T0" fmla="*/ 487 w 610"/>
                <a:gd name="T1" fmla="*/ 475 h 482"/>
                <a:gd name="T2" fmla="*/ 463 w 610"/>
                <a:gd name="T3" fmla="*/ 474 h 482"/>
                <a:gd name="T4" fmla="*/ 432 w 610"/>
                <a:gd name="T5" fmla="*/ 472 h 482"/>
                <a:gd name="T6" fmla="*/ 397 w 610"/>
                <a:gd name="T7" fmla="*/ 469 h 482"/>
                <a:gd name="T8" fmla="*/ 358 w 610"/>
                <a:gd name="T9" fmla="*/ 465 h 482"/>
                <a:gd name="T10" fmla="*/ 317 w 610"/>
                <a:gd name="T11" fmla="*/ 460 h 482"/>
                <a:gd name="T12" fmla="*/ 275 w 610"/>
                <a:gd name="T13" fmla="*/ 456 h 482"/>
                <a:gd name="T14" fmla="*/ 232 w 610"/>
                <a:gd name="T15" fmla="*/ 451 h 482"/>
                <a:gd name="T16" fmla="*/ 191 w 610"/>
                <a:gd name="T17" fmla="*/ 448 h 482"/>
                <a:gd name="T18" fmla="*/ 151 w 610"/>
                <a:gd name="T19" fmla="*/ 442 h 482"/>
                <a:gd name="T20" fmla="*/ 113 w 610"/>
                <a:gd name="T21" fmla="*/ 438 h 482"/>
                <a:gd name="T22" fmla="*/ 79 w 610"/>
                <a:gd name="T23" fmla="*/ 433 h 482"/>
                <a:gd name="T24" fmla="*/ 50 w 610"/>
                <a:gd name="T25" fmla="*/ 430 h 482"/>
                <a:gd name="T26" fmla="*/ 26 w 610"/>
                <a:gd name="T27" fmla="*/ 427 h 482"/>
                <a:gd name="T28" fmla="*/ 10 w 610"/>
                <a:gd name="T29" fmla="*/ 424 h 482"/>
                <a:gd name="T30" fmla="*/ 1 w 610"/>
                <a:gd name="T31" fmla="*/ 424 h 482"/>
                <a:gd name="T32" fmla="*/ 56 w 610"/>
                <a:gd name="T33" fmla="*/ 0 h 482"/>
                <a:gd name="T34" fmla="*/ 63 w 610"/>
                <a:gd name="T35" fmla="*/ 0 h 482"/>
                <a:gd name="T36" fmla="*/ 79 w 610"/>
                <a:gd name="T37" fmla="*/ 3 h 482"/>
                <a:gd name="T38" fmla="*/ 98 w 610"/>
                <a:gd name="T39" fmla="*/ 4 h 482"/>
                <a:gd name="T40" fmla="*/ 125 w 610"/>
                <a:gd name="T41" fmla="*/ 7 h 482"/>
                <a:gd name="T42" fmla="*/ 155 w 610"/>
                <a:gd name="T43" fmla="*/ 12 h 482"/>
                <a:gd name="T44" fmla="*/ 188 w 610"/>
                <a:gd name="T45" fmla="*/ 15 h 482"/>
                <a:gd name="T46" fmla="*/ 223 w 610"/>
                <a:gd name="T47" fmla="*/ 19 h 482"/>
                <a:gd name="T48" fmla="*/ 258 w 610"/>
                <a:gd name="T49" fmla="*/ 24 h 482"/>
                <a:gd name="T50" fmla="*/ 294 w 610"/>
                <a:gd name="T51" fmla="*/ 28 h 482"/>
                <a:gd name="T52" fmla="*/ 328 w 610"/>
                <a:gd name="T53" fmla="*/ 31 h 482"/>
                <a:gd name="T54" fmla="*/ 360 w 610"/>
                <a:gd name="T55" fmla="*/ 33 h 482"/>
                <a:gd name="T56" fmla="*/ 387 w 610"/>
                <a:gd name="T57" fmla="*/ 37 h 482"/>
                <a:gd name="T58" fmla="*/ 412 w 610"/>
                <a:gd name="T59" fmla="*/ 39 h 482"/>
                <a:gd name="T60" fmla="*/ 430 w 610"/>
                <a:gd name="T61" fmla="*/ 42 h 482"/>
                <a:gd name="T62" fmla="*/ 442 w 610"/>
                <a:gd name="T63" fmla="*/ 43 h 482"/>
                <a:gd name="T64" fmla="*/ 446 w 610"/>
                <a:gd name="T65" fmla="*/ 43 h 482"/>
                <a:gd name="T66" fmla="*/ 609 w 610"/>
                <a:gd name="T67" fmla="*/ 54 h 482"/>
                <a:gd name="T68" fmla="*/ 579 w 610"/>
                <a:gd name="T69" fmla="*/ 48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10" h="482">
                  <a:moveTo>
                    <a:pt x="498" y="475"/>
                  </a:moveTo>
                  <a:lnTo>
                    <a:pt x="487" y="475"/>
                  </a:lnTo>
                  <a:lnTo>
                    <a:pt x="476" y="475"/>
                  </a:lnTo>
                  <a:lnTo>
                    <a:pt x="463" y="474"/>
                  </a:lnTo>
                  <a:lnTo>
                    <a:pt x="448" y="474"/>
                  </a:lnTo>
                  <a:lnTo>
                    <a:pt x="432" y="472"/>
                  </a:lnTo>
                  <a:lnTo>
                    <a:pt x="415" y="471"/>
                  </a:lnTo>
                  <a:lnTo>
                    <a:pt x="397" y="469"/>
                  </a:lnTo>
                  <a:lnTo>
                    <a:pt x="379" y="466"/>
                  </a:lnTo>
                  <a:lnTo>
                    <a:pt x="358" y="465"/>
                  </a:lnTo>
                  <a:lnTo>
                    <a:pt x="338" y="463"/>
                  </a:lnTo>
                  <a:lnTo>
                    <a:pt x="317" y="460"/>
                  </a:lnTo>
                  <a:lnTo>
                    <a:pt x="297" y="459"/>
                  </a:lnTo>
                  <a:lnTo>
                    <a:pt x="275" y="456"/>
                  </a:lnTo>
                  <a:lnTo>
                    <a:pt x="254" y="454"/>
                  </a:lnTo>
                  <a:lnTo>
                    <a:pt x="232" y="451"/>
                  </a:lnTo>
                  <a:lnTo>
                    <a:pt x="212" y="448"/>
                  </a:lnTo>
                  <a:lnTo>
                    <a:pt x="191" y="448"/>
                  </a:lnTo>
                  <a:lnTo>
                    <a:pt x="170" y="445"/>
                  </a:lnTo>
                  <a:lnTo>
                    <a:pt x="151" y="442"/>
                  </a:lnTo>
                  <a:lnTo>
                    <a:pt x="131" y="441"/>
                  </a:lnTo>
                  <a:lnTo>
                    <a:pt x="113" y="438"/>
                  </a:lnTo>
                  <a:lnTo>
                    <a:pt x="96" y="436"/>
                  </a:lnTo>
                  <a:lnTo>
                    <a:pt x="79" y="433"/>
                  </a:lnTo>
                  <a:lnTo>
                    <a:pt x="63" y="432"/>
                  </a:lnTo>
                  <a:lnTo>
                    <a:pt x="50" y="430"/>
                  </a:lnTo>
                  <a:lnTo>
                    <a:pt x="37" y="429"/>
                  </a:lnTo>
                  <a:lnTo>
                    <a:pt x="26" y="427"/>
                  </a:lnTo>
                  <a:lnTo>
                    <a:pt x="17" y="426"/>
                  </a:lnTo>
                  <a:lnTo>
                    <a:pt x="10" y="424"/>
                  </a:lnTo>
                  <a:lnTo>
                    <a:pt x="4" y="424"/>
                  </a:lnTo>
                  <a:lnTo>
                    <a:pt x="1" y="424"/>
                  </a:lnTo>
                  <a:lnTo>
                    <a:pt x="0" y="424"/>
                  </a:lnTo>
                  <a:lnTo>
                    <a:pt x="56" y="0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70" y="2"/>
                  </a:lnTo>
                  <a:lnTo>
                    <a:pt x="79" y="3"/>
                  </a:lnTo>
                  <a:lnTo>
                    <a:pt x="88" y="3"/>
                  </a:lnTo>
                  <a:lnTo>
                    <a:pt x="98" y="4"/>
                  </a:lnTo>
                  <a:lnTo>
                    <a:pt x="112" y="6"/>
                  </a:lnTo>
                  <a:lnTo>
                    <a:pt x="125" y="7"/>
                  </a:lnTo>
                  <a:lnTo>
                    <a:pt x="139" y="10"/>
                  </a:lnTo>
                  <a:lnTo>
                    <a:pt x="155" y="12"/>
                  </a:lnTo>
                  <a:lnTo>
                    <a:pt x="170" y="13"/>
                  </a:lnTo>
                  <a:lnTo>
                    <a:pt x="188" y="15"/>
                  </a:lnTo>
                  <a:lnTo>
                    <a:pt x="205" y="18"/>
                  </a:lnTo>
                  <a:lnTo>
                    <a:pt x="223" y="19"/>
                  </a:lnTo>
                  <a:lnTo>
                    <a:pt x="239" y="22"/>
                  </a:lnTo>
                  <a:lnTo>
                    <a:pt x="258" y="24"/>
                  </a:lnTo>
                  <a:lnTo>
                    <a:pt x="275" y="25"/>
                  </a:lnTo>
                  <a:lnTo>
                    <a:pt x="294" y="28"/>
                  </a:lnTo>
                  <a:lnTo>
                    <a:pt x="311" y="30"/>
                  </a:lnTo>
                  <a:lnTo>
                    <a:pt x="328" y="31"/>
                  </a:lnTo>
                  <a:lnTo>
                    <a:pt x="344" y="32"/>
                  </a:lnTo>
                  <a:lnTo>
                    <a:pt x="360" y="33"/>
                  </a:lnTo>
                  <a:lnTo>
                    <a:pt x="374" y="36"/>
                  </a:lnTo>
                  <a:lnTo>
                    <a:pt x="387" y="37"/>
                  </a:lnTo>
                  <a:lnTo>
                    <a:pt x="400" y="39"/>
                  </a:lnTo>
                  <a:lnTo>
                    <a:pt x="412" y="39"/>
                  </a:lnTo>
                  <a:lnTo>
                    <a:pt x="421" y="40"/>
                  </a:lnTo>
                  <a:lnTo>
                    <a:pt x="430" y="42"/>
                  </a:lnTo>
                  <a:lnTo>
                    <a:pt x="438" y="42"/>
                  </a:lnTo>
                  <a:lnTo>
                    <a:pt x="442" y="43"/>
                  </a:lnTo>
                  <a:lnTo>
                    <a:pt x="446" y="43"/>
                  </a:lnTo>
                  <a:lnTo>
                    <a:pt x="446" y="43"/>
                  </a:lnTo>
                  <a:lnTo>
                    <a:pt x="445" y="43"/>
                  </a:lnTo>
                  <a:lnTo>
                    <a:pt x="609" y="54"/>
                  </a:lnTo>
                  <a:lnTo>
                    <a:pt x="603" y="160"/>
                  </a:lnTo>
                  <a:lnTo>
                    <a:pt x="579" y="481"/>
                  </a:lnTo>
                  <a:lnTo>
                    <a:pt x="498" y="47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" name="Freeform 24"/>
            <p:cNvSpPr>
              <a:spLocks/>
            </p:cNvSpPr>
            <p:nvPr/>
          </p:nvSpPr>
          <p:spPr bwMode="auto">
            <a:xfrm>
              <a:off x="1510256" y="4600106"/>
              <a:ext cx="409311" cy="322899"/>
            </a:xfrm>
            <a:custGeom>
              <a:avLst/>
              <a:gdLst>
                <a:gd name="T0" fmla="*/ 498 w 610"/>
                <a:gd name="T1" fmla="*/ 475 h 482"/>
                <a:gd name="T2" fmla="*/ 476 w 610"/>
                <a:gd name="T3" fmla="*/ 475 h 482"/>
                <a:gd name="T4" fmla="*/ 448 w 610"/>
                <a:gd name="T5" fmla="*/ 474 h 482"/>
                <a:gd name="T6" fmla="*/ 415 w 610"/>
                <a:gd name="T7" fmla="*/ 471 h 482"/>
                <a:gd name="T8" fmla="*/ 379 w 610"/>
                <a:gd name="T9" fmla="*/ 466 h 482"/>
                <a:gd name="T10" fmla="*/ 338 w 610"/>
                <a:gd name="T11" fmla="*/ 463 h 482"/>
                <a:gd name="T12" fmla="*/ 297 w 610"/>
                <a:gd name="T13" fmla="*/ 459 h 482"/>
                <a:gd name="T14" fmla="*/ 254 w 610"/>
                <a:gd name="T15" fmla="*/ 454 h 482"/>
                <a:gd name="T16" fmla="*/ 212 w 610"/>
                <a:gd name="T17" fmla="*/ 448 h 482"/>
                <a:gd name="T18" fmla="*/ 170 w 610"/>
                <a:gd name="T19" fmla="*/ 445 h 482"/>
                <a:gd name="T20" fmla="*/ 131 w 610"/>
                <a:gd name="T21" fmla="*/ 441 h 482"/>
                <a:gd name="T22" fmla="*/ 96 w 610"/>
                <a:gd name="T23" fmla="*/ 436 h 482"/>
                <a:gd name="T24" fmla="*/ 63 w 610"/>
                <a:gd name="T25" fmla="*/ 432 h 482"/>
                <a:gd name="T26" fmla="*/ 37 w 610"/>
                <a:gd name="T27" fmla="*/ 429 h 482"/>
                <a:gd name="T28" fmla="*/ 17 w 610"/>
                <a:gd name="T29" fmla="*/ 426 h 482"/>
                <a:gd name="T30" fmla="*/ 4 w 610"/>
                <a:gd name="T31" fmla="*/ 424 h 482"/>
                <a:gd name="T32" fmla="*/ 0 w 610"/>
                <a:gd name="T33" fmla="*/ 424 h 482"/>
                <a:gd name="T34" fmla="*/ 56 w 610"/>
                <a:gd name="T35" fmla="*/ 0 h 482"/>
                <a:gd name="T36" fmla="*/ 63 w 610"/>
                <a:gd name="T37" fmla="*/ 0 h 482"/>
                <a:gd name="T38" fmla="*/ 79 w 610"/>
                <a:gd name="T39" fmla="*/ 3 h 482"/>
                <a:gd name="T40" fmla="*/ 98 w 610"/>
                <a:gd name="T41" fmla="*/ 4 h 482"/>
                <a:gd name="T42" fmla="*/ 125 w 610"/>
                <a:gd name="T43" fmla="*/ 7 h 482"/>
                <a:gd name="T44" fmla="*/ 155 w 610"/>
                <a:gd name="T45" fmla="*/ 12 h 482"/>
                <a:gd name="T46" fmla="*/ 188 w 610"/>
                <a:gd name="T47" fmla="*/ 15 h 482"/>
                <a:gd name="T48" fmla="*/ 223 w 610"/>
                <a:gd name="T49" fmla="*/ 19 h 482"/>
                <a:gd name="T50" fmla="*/ 258 w 610"/>
                <a:gd name="T51" fmla="*/ 24 h 482"/>
                <a:gd name="T52" fmla="*/ 294 w 610"/>
                <a:gd name="T53" fmla="*/ 28 h 482"/>
                <a:gd name="T54" fmla="*/ 328 w 610"/>
                <a:gd name="T55" fmla="*/ 31 h 482"/>
                <a:gd name="T56" fmla="*/ 360 w 610"/>
                <a:gd name="T57" fmla="*/ 33 h 482"/>
                <a:gd name="T58" fmla="*/ 387 w 610"/>
                <a:gd name="T59" fmla="*/ 37 h 482"/>
                <a:gd name="T60" fmla="*/ 412 w 610"/>
                <a:gd name="T61" fmla="*/ 39 h 482"/>
                <a:gd name="T62" fmla="*/ 430 w 610"/>
                <a:gd name="T63" fmla="*/ 42 h 482"/>
                <a:gd name="T64" fmla="*/ 442 w 610"/>
                <a:gd name="T65" fmla="*/ 43 h 482"/>
                <a:gd name="T66" fmla="*/ 446 w 610"/>
                <a:gd name="T67" fmla="*/ 43 h 482"/>
                <a:gd name="T68" fmla="*/ 609 w 610"/>
                <a:gd name="T69" fmla="*/ 54 h 482"/>
                <a:gd name="T70" fmla="*/ 579 w 610"/>
                <a:gd name="T71" fmla="*/ 48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10" h="482">
                  <a:moveTo>
                    <a:pt x="498" y="475"/>
                  </a:moveTo>
                  <a:lnTo>
                    <a:pt x="498" y="475"/>
                  </a:lnTo>
                  <a:lnTo>
                    <a:pt x="487" y="475"/>
                  </a:lnTo>
                  <a:lnTo>
                    <a:pt x="476" y="475"/>
                  </a:lnTo>
                  <a:lnTo>
                    <a:pt x="463" y="474"/>
                  </a:lnTo>
                  <a:lnTo>
                    <a:pt x="448" y="474"/>
                  </a:lnTo>
                  <a:lnTo>
                    <a:pt x="432" y="472"/>
                  </a:lnTo>
                  <a:lnTo>
                    <a:pt x="415" y="471"/>
                  </a:lnTo>
                  <a:lnTo>
                    <a:pt x="397" y="469"/>
                  </a:lnTo>
                  <a:lnTo>
                    <a:pt x="379" y="466"/>
                  </a:lnTo>
                  <a:lnTo>
                    <a:pt x="358" y="465"/>
                  </a:lnTo>
                  <a:lnTo>
                    <a:pt x="338" y="463"/>
                  </a:lnTo>
                  <a:lnTo>
                    <a:pt x="317" y="460"/>
                  </a:lnTo>
                  <a:lnTo>
                    <a:pt x="297" y="459"/>
                  </a:lnTo>
                  <a:lnTo>
                    <a:pt x="275" y="456"/>
                  </a:lnTo>
                  <a:lnTo>
                    <a:pt x="254" y="454"/>
                  </a:lnTo>
                  <a:lnTo>
                    <a:pt x="232" y="451"/>
                  </a:lnTo>
                  <a:lnTo>
                    <a:pt x="212" y="448"/>
                  </a:lnTo>
                  <a:lnTo>
                    <a:pt x="191" y="448"/>
                  </a:lnTo>
                  <a:lnTo>
                    <a:pt x="170" y="445"/>
                  </a:lnTo>
                  <a:lnTo>
                    <a:pt x="151" y="442"/>
                  </a:lnTo>
                  <a:lnTo>
                    <a:pt x="131" y="441"/>
                  </a:lnTo>
                  <a:lnTo>
                    <a:pt x="113" y="438"/>
                  </a:lnTo>
                  <a:lnTo>
                    <a:pt x="96" y="436"/>
                  </a:lnTo>
                  <a:lnTo>
                    <a:pt x="79" y="433"/>
                  </a:lnTo>
                  <a:lnTo>
                    <a:pt x="63" y="432"/>
                  </a:lnTo>
                  <a:lnTo>
                    <a:pt x="50" y="430"/>
                  </a:lnTo>
                  <a:lnTo>
                    <a:pt x="37" y="429"/>
                  </a:lnTo>
                  <a:lnTo>
                    <a:pt x="26" y="427"/>
                  </a:lnTo>
                  <a:lnTo>
                    <a:pt x="17" y="426"/>
                  </a:lnTo>
                  <a:lnTo>
                    <a:pt x="10" y="424"/>
                  </a:lnTo>
                  <a:lnTo>
                    <a:pt x="4" y="424"/>
                  </a:lnTo>
                  <a:lnTo>
                    <a:pt x="1" y="424"/>
                  </a:lnTo>
                  <a:lnTo>
                    <a:pt x="0" y="42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70" y="2"/>
                  </a:lnTo>
                  <a:lnTo>
                    <a:pt x="79" y="3"/>
                  </a:lnTo>
                  <a:lnTo>
                    <a:pt x="88" y="3"/>
                  </a:lnTo>
                  <a:lnTo>
                    <a:pt x="98" y="4"/>
                  </a:lnTo>
                  <a:lnTo>
                    <a:pt x="112" y="6"/>
                  </a:lnTo>
                  <a:lnTo>
                    <a:pt x="125" y="7"/>
                  </a:lnTo>
                  <a:lnTo>
                    <a:pt x="139" y="10"/>
                  </a:lnTo>
                  <a:lnTo>
                    <a:pt x="155" y="12"/>
                  </a:lnTo>
                  <a:lnTo>
                    <a:pt x="170" y="13"/>
                  </a:lnTo>
                  <a:lnTo>
                    <a:pt x="188" y="15"/>
                  </a:lnTo>
                  <a:lnTo>
                    <a:pt x="205" y="18"/>
                  </a:lnTo>
                  <a:lnTo>
                    <a:pt x="223" y="19"/>
                  </a:lnTo>
                  <a:lnTo>
                    <a:pt x="239" y="22"/>
                  </a:lnTo>
                  <a:lnTo>
                    <a:pt x="258" y="24"/>
                  </a:lnTo>
                  <a:lnTo>
                    <a:pt x="275" y="25"/>
                  </a:lnTo>
                  <a:lnTo>
                    <a:pt x="294" y="28"/>
                  </a:lnTo>
                  <a:lnTo>
                    <a:pt x="311" y="30"/>
                  </a:lnTo>
                  <a:lnTo>
                    <a:pt x="328" y="31"/>
                  </a:lnTo>
                  <a:lnTo>
                    <a:pt x="344" y="32"/>
                  </a:lnTo>
                  <a:lnTo>
                    <a:pt x="360" y="33"/>
                  </a:lnTo>
                  <a:lnTo>
                    <a:pt x="374" y="36"/>
                  </a:lnTo>
                  <a:lnTo>
                    <a:pt x="387" y="37"/>
                  </a:lnTo>
                  <a:lnTo>
                    <a:pt x="400" y="39"/>
                  </a:lnTo>
                  <a:lnTo>
                    <a:pt x="412" y="39"/>
                  </a:lnTo>
                  <a:lnTo>
                    <a:pt x="421" y="40"/>
                  </a:lnTo>
                  <a:lnTo>
                    <a:pt x="430" y="42"/>
                  </a:lnTo>
                  <a:lnTo>
                    <a:pt x="438" y="42"/>
                  </a:lnTo>
                  <a:lnTo>
                    <a:pt x="442" y="43"/>
                  </a:lnTo>
                  <a:lnTo>
                    <a:pt x="446" y="43"/>
                  </a:lnTo>
                  <a:lnTo>
                    <a:pt x="446" y="43"/>
                  </a:lnTo>
                  <a:lnTo>
                    <a:pt x="445" y="43"/>
                  </a:lnTo>
                  <a:lnTo>
                    <a:pt x="609" y="54"/>
                  </a:lnTo>
                  <a:lnTo>
                    <a:pt x="603" y="160"/>
                  </a:lnTo>
                  <a:lnTo>
                    <a:pt x="579" y="481"/>
                  </a:lnTo>
                  <a:lnTo>
                    <a:pt x="498" y="475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" name="Freeform 25"/>
            <p:cNvSpPr>
              <a:spLocks/>
            </p:cNvSpPr>
            <p:nvPr/>
          </p:nvSpPr>
          <p:spPr bwMode="auto">
            <a:xfrm>
              <a:off x="1840598" y="4064217"/>
              <a:ext cx="369525" cy="230997"/>
            </a:xfrm>
            <a:custGeom>
              <a:avLst/>
              <a:gdLst>
                <a:gd name="T0" fmla="*/ 0 w 550"/>
                <a:gd name="T1" fmla="*/ 315 h 344"/>
                <a:gd name="T2" fmla="*/ 0 w 550"/>
                <a:gd name="T3" fmla="*/ 298 h 344"/>
                <a:gd name="T4" fmla="*/ 2 w 550"/>
                <a:gd name="T5" fmla="*/ 268 h 344"/>
                <a:gd name="T6" fmla="*/ 5 w 550"/>
                <a:gd name="T7" fmla="*/ 231 h 344"/>
                <a:gd name="T8" fmla="*/ 8 w 550"/>
                <a:gd name="T9" fmla="*/ 188 h 344"/>
                <a:gd name="T10" fmla="*/ 12 w 550"/>
                <a:gd name="T11" fmla="*/ 144 h 344"/>
                <a:gd name="T12" fmla="*/ 15 w 550"/>
                <a:gd name="T13" fmla="*/ 101 h 344"/>
                <a:gd name="T14" fmla="*/ 19 w 550"/>
                <a:gd name="T15" fmla="*/ 61 h 344"/>
                <a:gd name="T16" fmla="*/ 22 w 550"/>
                <a:gd name="T17" fmla="*/ 30 h 344"/>
                <a:gd name="T18" fmla="*/ 24 w 550"/>
                <a:gd name="T19" fmla="*/ 6 h 344"/>
                <a:gd name="T20" fmla="*/ 25 w 550"/>
                <a:gd name="T21" fmla="*/ 0 h 344"/>
                <a:gd name="T22" fmla="*/ 30 w 550"/>
                <a:gd name="T23" fmla="*/ 2 h 344"/>
                <a:gd name="T24" fmla="*/ 52 w 550"/>
                <a:gd name="T25" fmla="*/ 2 h 344"/>
                <a:gd name="T26" fmla="*/ 90 w 550"/>
                <a:gd name="T27" fmla="*/ 5 h 344"/>
                <a:gd name="T28" fmla="*/ 138 w 550"/>
                <a:gd name="T29" fmla="*/ 6 h 344"/>
                <a:gd name="T30" fmla="*/ 195 w 550"/>
                <a:gd name="T31" fmla="*/ 9 h 344"/>
                <a:gd name="T32" fmla="*/ 258 w 550"/>
                <a:gd name="T33" fmla="*/ 12 h 344"/>
                <a:gd name="T34" fmla="*/ 321 w 550"/>
                <a:gd name="T35" fmla="*/ 15 h 344"/>
                <a:gd name="T36" fmla="*/ 381 w 550"/>
                <a:gd name="T37" fmla="*/ 18 h 344"/>
                <a:gd name="T38" fmla="*/ 432 w 550"/>
                <a:gd name="T39" fmla="*/ 19 h 344"/>
                <a:gd name="T40" fmla="*/ 476 w 550"/>
                <a:gd name="T41" fmla="*/ 21 h 344"/>
                <a:gd name="T42" fmla="*/ 503 w 550"/>
                <a:gd name="T43" fmla="*/ 21 h 344"/>
                <a:gd name="T44" fmla="*/ 509 w 550"/>
                <a:gd name="T45" fmla="*/ 55 h 344"/>
                <a:gd name="T46" fmla="*/ 507 w 550"/>
                <a:gd name="T47" fmla="*/ 71 h 344"/>
                <a:gd name="T48" fmla="*/ 507 w 550"/>
                <a:gd name="T49" fmla="*/ 93 h 344"/>
                <a:gd name="T50" fmla="*/ 509 w 550"/>
                <a:gd name="T51" fmla="*/ 117 h 344"/>
                <a:gd name="T52" fmla="*/ 515 w 550"/>
                <a:gd name="T53" fmla="*/ 138 h 344"/>
                <a:gd name="T54" fmla="*/ 521 w 550"/>
                <a:gd name="T55" fmla="*/ 150 h 344"/>
                <a:gd name="T56" fmla="*/ 524 w 550"/>
                <a:gd name="T57" fmla="*/ 164 h 344"/>
                <a:gd name="T58" fmla="*/ 527 w 550"/>
                <a:gd name="T59" fmla="*/ 188 h 344"/>
                <a:gd name="T60" fmla="*/ 528 w 550"/>
                <a:gd name="T61" fmla="*/ 204 h 344"/>
                <a:gd name="T62" fmla="*/ 528 w 550"/>
                <a:gd name="T63" fmla="*/ 221 h 344"/>
                <a:gd name="T64" fmla="*/ 528 w 550"/>
                <a:gd name="T65" fmla="*/ 231 h 344"/>
                <a:gd name="T66" fmla="*/ 536 w 550"/>
                <a:gd name="T67" fmla="*/ 287 h 344"/>
                <a:gd name="T68" fmla="*/ 548 w 550"/>
                <a:gd name="T69" fmla="*/ 342 h 344"/>
                <a:gd name="T70" fmla="*/ 542 w 550"/>
                <a:gd name="T71" fmla="*/ 343 h 344"/>
                <a:gd name="T72" fmla="*/ 515 w 550"/>
                <a:gd name="T73" fmla="*/ 342 h 344"/>
                <a:gd name="T74" fmla="*/ 468 w 550"/>
                <a:gd name="T75" fmla="*/ 340 h 344"/>
                <a:gd name="T76" fmla="*/ 408 w 550"/>
                <a:gd name="T77" fmla="*/ 339 h 344"/>
                <a:gd name="T78" fmla="*/ 339 w 550"/>
                <a:gd name="T79" fmla="*/ 336 h 344"/>
                <a:gd name="T80" fmla="*/ 266 w 550"/>
                <a:gd name="T81" fmla="*/ 334 h 344"/>
                <a:gd name="T82" fmla="*/ 193 w 550"/>
                <a:gd name="T83" fmla="*/ 331 h 344"/>
                <a:gd name="T84" fmla="*/ 126 w 550"/>
                <a:gd name="T85" fmla="*/ 329 h 344"/>
                <a:gd name="T86" fmla="*/ 66 w 550"/>
                <a:gd name="T87" fmla="*/ 326 h 344"/>
                <a:gd name="T88" fmla="*/ 24 w 550"/>
                <a:gd name="T89" fmla="*/ 323 h 344"/>
                <a:gd name="T90" fmla="*/ 0 w 550"/>
                <a:gd name="T91" fmla="*/ 32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50" h="344">
                  <a:moveTo>
                    <a:pt x="0" y="320"/>
                  </a:moveTo>
                  <a:lnTo>
                    <a:pt x="0" y="318"/>
                  </a:lnTo>
                  <a:lnTo>
                    <a:pt x="0" y="315"/>
                  </a:lnTo>
                  <a:lnTo>
                    <a:pt x="0" y="311"/>
                  </a:lnTo>
                  <a:lnTo>
                    <a:pt x="0" y="306"/>
                  </a:lnTo>
                  <a:lnTo>
                    <a:pt x="0" y="298"/>
                  </a:lnTo>
                  <a:lnTo>
                    <a:pt x="0" y="290"/>
                  </a:lnTo>
                  <a:lnTo>
                    <a:pt x="0" y="280"/>
                  </a:lnTo>
                  <a:lnTo>
                    <a:pt x="2" y="268"/>
                  </a:lnTo>
                  <a:lnTo>
                    <a:pt x="2" y="257"/>
                  </a:lnTo>
                  <a:lnTo>
                    <a:pt x="3" y="246"/>
                  </a:lnTo>
                  <a:lnTo>
                    <a:pt x="5" y="231"/>
                  </a:lnTo>
                  <a:lnTo>
                    <a:pt x="6" y="218"/>
                  </a:lnTo>
                  <a:lnTo>
                    <a:pt x="6" y="204"/>
                  </a:lnTo>
                  <a:lnTo>
                    <a:pt x="8" y="188"/>
                  </a:lnTo>
                  <a:lnTo>
                    <a:pt x="9" y="174"/>
                  </a:lnTo>
                  <a:lnTo>
                    <a:pt x="11" y="159"/>
                  </a:lnTo>
                  <a:lnTo>
                    <a:pt x="12" y="144"/>
                  </a:lnTo>
                  <a:lnTo>
                    <a:pt x="14" y="129"/>
                  </a:lnTo>
                  <a:lnTo>
                    <a:pt x="14" y="115"/>
                  </a:lnTo>
                  <a:lnTo>
                    <a:pt x="15" y="101"/>
                  </a:lnTo>
                  <a:lnTo>
                    <a:pt x="16" y="87"/>
                  </a:lnTo>
                  <a:lnTo>
                    <a:pt x="18" y="74"/>
                  </a:lnTo>
                  <a:lnTo>
                    <a:pt x="19" y="61"/>
                  </a:lnTo>
                  <a:lnTo>
                    <a:pt x="21" y="49"/>
                  </a:lnTo>
                  <a:lnTo>
                    <a:pt x="21" y="38"/>
                  </a:lnTo>
                  <a:lnTo>
                    <a:pt x="22" y="30"/>
                  </a:lnTo>
                  <a:lnTo>
                    <a:pt x="22" y="21"/>
                  </a:lnTo>
                  <a:lnTo>
                    <a:pt x="24" y="14"/>
                  </a:lnTo>
                  <a:lnTo>
                    <a:pt x="24" y="6"/>
                  </a:lnTo>
                  <a:lnTo>
                    <a:pt x="24" y="3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30" y="2"/>
                  </a:lnTo>
                  <a:lnTo>
                    <a:pt x="35" y="2"/>
                  </a:lnTo>
                  <a:lnTo>
                    <a:pt x="42" y="2"/>
                  </a:lnTo>
                  <a:lnTo>
                    <a:pt x="52" y="2"/>
                  </a:lnTo>
                  <a:lnTo>
                    <a:pt x="63" y="3"/>
                  </a:lnTo>
                  <a:lnTo>
                    <a:pt x="75" y="3"/>
                  </a:lnTo>
                  <a:lnTo>
                    <a:pt x="90" y="5"/>
                  </a:lnTo>
                  <a:lnTo>
                    <a:pt x="105" y="5"/>
                  </a:lnTo>
                  <a:lnTo>
                    <a:pt x="121" y="6"/>
                  </a:lnTo>
                  <a:lnTo>
                    <a:pt x="138" y="6"/>
                  </a:lnTo>
                  <a:lnTo>
                    <a:pt x="157" y="8"/>
                  </a:lnTo>
                  <a:lnTo>
                    <a:pt x="177" y="9"/>
                  </a:lnTo>
                  <a:lnTo>
                    <a:pt x="195" y="9"/>
                  </a:lnTo>
                  <a:lnTo>
                    <a:pt x="218" y="11"/>
                  </a:lnTo>
                  <a:lnTo>
                    <a:pt x="237" y="11"/>
                  </a:lnTo>
                  <a:lnTo>
                    <a:pt x="258" y="12"/>
                  </a:lnTo>
                  <a:lnTo>
                    <a:pt x="279" y="14"/>
                  </a:lnTo>
                  <a:lnTo>
                    <a:pt x="300" y="14"/>
                  </a:lnTo>
                  <a:lnTo>
                    <a:pt x="321" y="15"/>
                  </a:lnTo>
                  <a:lnTo>
                    <a:pt x="341" y="16"/>
                  </a:lnTo>
                  <a:lnTo>
                    <a:pt x="360" y="16"/>
                  </a:lnTo>
                  <a:lnTo>
                    <a:pt x="381" y="18"/>
                  </a:lnTo>
                  <a:lnTo>
                    <a:pt x="398" y="18"/>
                  </a:lnTo>
                  <a:lnTo>
                    <a:pt x="416" y="19"/>
                  </a:lnTo>
                  <a:lnTo>
                    <a:pt x="432" y="19"/>
                  </a:lnTo>
                  <a:lnTo>
                    <a:pt x="449" y="19"/>
                  </a:lnTo>
                  <a:lnTo>
                    <a:pt x="462" y="21"/>
                  </a:lnTo>
                  <a:lnTo>
                    <a:pt x="476" y="21"/>
                  </a:lnTo>
                  <a:lnTo>
                    <a:pt x="485" y="21"/>
                  </a:lnTo>
                  <a:lnTo>
                    <a:pt x="495" y="21"/>
                  </a:lnTo>
                  <a:lnTo>
                    <a:pt x="503" y="21"/>
                  </a:lnTo>
                  <a:lnTo>
                    <a:pt x="509" y="52"/>
                  </a:lnTo>
                  <a:lnTo>
                    <a:pt x="509" y="54"/>
                  </a:lnTo>
                  <a:lnTo>
                    <a:pt x="509" y="55"/>
                  </a:lnTo>
                  <a:lnTo>
                    <a:pt x="509" y="60"/>
                  </a:lnTo>
                  <a:lnTo>
                    <a:pt x="507" y="65"/>
                  </a:lnTo>
                  <a:lnTo>
                    <a:pt x="507" y="71"/>
                  </a:lnTo>
                  <a:lnTo>
                    <a:pt x="507" y="77"/>
                  </a:lnTo>
                  <a:lnTo>
                    <a:pt x="507" y="85"/>
                  </a:lnTo>
                  <a:lnTo>
                    <a:pt x="507" y="93"/>
                  </a:lnTo>
                  <a:lnTo>
                    <a:pt x="507" y="101"/>
                  </a:lnTo>
                  <a:lnTo>
                    <a:pt x="509" y="109"/>
                  </a:lnTo>
                  <a:lnTo>
                    <a:pt x="509" y="117"/>
                  </a:lnTo>
                  <a:lnTo>
                    <a:pt x="510" y="124"/>
                  </a:lnTo>
                  <a:lnTo>
                    <a:pt x="512" y="131"/>
                  </a:lnTo>
                  <a:lnTo>
                    <a:pt x="515" y="138"/>
                  </a:lnTo>
                  <a:lnTo>
                    <a:pt x="517" y="144"/>
                  </a:lnTo>
                  <a:lnTo>
                    <a:pt x="521" y="148"/>
                  </a:lnTo>
                  <a:lnTo>
                    <a:pt x="521" y="150"/>
                  </a:lnTo>
                  <a:lnTo>
                    <a:pt x="521" y="153"/>
                  </a:lnTo>
                  <a:lnTo>
                    <a:pt x="523" y="156"/>
                  </a:lnTo>
                  <a:lnTo>
                    <a:pt x="524" y="164"/>
                  </a:lnTo>
                  <a:lnTo>
                    <a:pt x="526" y="171"/>
                  </a:lnTo>
                  <a:lnTo>
                    <a:pt x="527" y="180"/>
                  </a:lnTo>
                  <a:lnTo>
                    <a:pt x="527" y="188"/>
                  </a:lnTo>
                  <a:lnTo>
                    <a:pt x="528" y="197"/>
                  </a:lnTo>
                  <a:lnTo>
                    <a:pt x="528" y="200"/>
                  </a:lnTo>
                  <a:lnTo>
                    <a:pt x="528" y="204"/>
                  </a:lnTo>
                  <a:lnTo>
                    <a:pt x="528" y="210"/>
                  </a:lnTo>
                  <a:lnTo>
                    <a:pt x="528" y="216"/>
                  </a:lnTo>
                  <a:lnTo>
                    <a:pt x="528" y="221"/>
                  </a:lnTo>
                  <a:lnTo>
                    <a:pt x="528" y="225"/>
                  </a:lnTo>
                  <a:lnTo>
                    <a:pt x="528" y="230"/>
                  </a:lnTo>
                  <a:lnTo>
                    <a:pt x="528" y="231"/>
                  </a:lnTo>
                  <a:lnTo>
                    <a:pt x="536" y="243"/>
                  </a:lnTo>
                  <a:lnTo>
                    <a:pt x="533" y="261"/>
                  </a:lnTo>
                  <a:lnTo>
                    <a:pt x="536" y="287"/>
                  </a:lnTo>
                  <a:lnTo>
                    <a:pt x="545" y="298"/>
                  </a:lnTo>
                  <a:lnTo>
                    <a:pt x="549" y="310"/>
                  </a:lnTo>
                  <a:lnTo>
                    <a:pt x="548" y="342"/>
                  </a:lnTo>
                  <a:lnTo>
                    <a:pt x="548" y="343"/>
                  </a:lnTo>
                  <a:lnTo>
                    <a:pt x="546" y="343"/>
                  </a:lnTo>
                  <a:lnTo>
                    <a:pt x="542" y="343"/>
                  </a:lnTo>
                  <a:lnTo>
                    <a:pt x="534" y="342"/>
                  </a:lnTo>
                  <a:lnTo>
                    <a:pt x="526" y="342"/>
                  </a:lnTo>
                  <a:lnTo>
                    <a:pt x="515" y="342"/>
                  </a:lnTo>
                  <a:lnTo>
                    <a:pt x="500" y="342"/>
                  </a:lnTo>
                  <a:lnTo>
                    <a:pt x="485" y="340"/>
                  </a:lnTo>
                  <a:lnTo>
                    <a:pt x="468" y="340"/>
                  </a:lnTo>
                  <a:lnTo>
                    <a:pt x="450" y="340"/>
                  </a:lnTo>
                  <a:lnTo>
                    <a:pt x="429" y="339"/>
                  </a:lnTo>
                  <a:lnTo>
                    <a:pt x="408" y="339"/>
                  </a:lnTo>
                  <a:lnTo>
                    <a:pt x="387" y="339"/>
                  </a:lnTo>
                  <a:lnTo>
                    <a:pt x="363" y="337"/>
                  </a:lnTo>
                  <a:lnTo>
                    <a:pt x="339" y="336"/>
                  </a:lnTo>
                  <a:lnTo>
                    <a:pt x="315" y="336"/>
                  </a:lnTo>
                  <a:lnTo>
                    <a:pt x="290" y="334"/>
                  </a:lnTo>
                  <a:lnTo>
                    <a:pt x="266" y="334"/>
                  </a:lnTo>
                  <a:lnTo>
                    <a:pt x="242" y="333"/>
                  </a:lnTo>
                  <a:lnTo>
                    <a:pt x="218" y="331"/>
                  </a:lnTo>
                  <a:lnTo>
                    <a:pt x="193" y="331"/>
                  </a:lnTo>
                  <a:lnTo>
                    <a:pt x="170" y="330"/>
                  </a:lnTo>
                  <a:lnTo>
                    <a:pt x="147" y="329"/>
                  </a:lnTo>
                  <a:lnTo>
                    <a:pt x="126" y="329"/>
                  </a:lnTo>
                  <a:lnTo>
                    <a:pt x="104" y="327"/>
                  </a:lnTo>
                  <a:lnTo>
                    <a:pt x="85" y="327"/>
                  </a:lnTo>
                  <a:lnTo>
                    <a:pt x="66" y="326"/>
                  </a:lnTo>
                  <a:lnTo>
                    <a:pt x="51" y="324"/>
                  </a:lnTo>
                  <a:lnTo>
                    <a:pt x="36" y="323"/>
                  </a:lnTo>
                  <a:lnTo>
                    <a:pt x="24" y="323"/>
                  </a:lnTo>
                  <a:lnTo>
                    <a:pt x="14" y="321"/>
                  </a:lnTo>
                  <a:lnTo>
                    <a:pt x="5" y="320"/>
                  </a:lnTo>
                  <a:lnTo>
                    <a:pt x="0" y="32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" name="Freeform 26"/>
            <p:cNvSpPr>
              <a:spLocks/>
            </p:cNvSpPr>
            <p:nvPr/>
          </p:nvSpPr>
          <p:spPr bwMode="auto">
            <a:xfrm>
              <a:off x="1840598" y="4064217"/>
              <a:ext cx="369525" cy="230997"/>
            </a:xfrm>
            <a:custGeom>
              <a:avLst/>
              <a:gdLst>
                <a:gd name="T0" fmla="*/ 0 w 550"/>
                <a:gd name="T1" fmla="*/ 318 h 344"/>
                <a:gd name="T2" fmla="*/ 0 w 550"/>
                <a:gd name="T3" fmla="*/ 306 h 344"/>
                <a:gd name="T4" fmla="*/ 0 w 550"/>
                <a:gd name="T5" fmla="*/ 280 h 344"/>
                <a:gd name="T6" fmla="*/ 3 w 550"/>
                <a:gd name="T7" fmla="*/ 246 h 344"/>
                <a:gd name="T8" fmla="*/ 6 w 550"/>
                <a:gd name="T9" fmla="*/ 204 h 344"/>
                <a:gd name="T10" fmla="*/ 11 w 550"/>
                <a:gd name="T11" fmla="*/ 159 h 344"/>
                <a:gd name="T12" fmla="*/ 14 w 550"/>
                <a:gd name="T13" fmla="*/ 115 h 344"/>
                <a:gd name="T14" fmla="*/ 18 w 550"/>
                <a:gd name="T15" fmla="*/ 74 h 344"/>
                <a:gd name="T16" fmla="*/ 21 w 550"/>
                <a:gd name="T17" fmla="*/ 38 h 344"/>
                <a:gd name="T18" fmla="*/ 24 w 550"/>
                <a:gd name="T19" fmla="*/ 14 h 344"/>
                <a:gd name="T20" fmla="*/ 25 w 550"/>
                <a:gd name="T21" fmla="*/ 0 h 344"/>
                <a:gd name="T22" fmla="*/ 25 w 550"/>
                <a:gd name="T23" fmla="*/ 0 h 344"/>
                <a:gd name="T24" fmla="*/ 35 w 550"/>
                <a:gd name="T25" fmla="*/ 2 h 344"/>
                <a:gd name="T26" fmla="*/ 63 w 550"/>
                <a:gd name="T27" fmla="*/ 3 h 344"/>
                <a:gd name="T28" fmla="*/ 105 w 550"/>
                <a:gd name="T29" fmla="*/ 5 h 344"/>
                <a:gd name="T30" fmla="*/ 157 w 550"/>
                <a:gd name="T31" fmla="*/ 8 h 344"/>
                <a:gd name="T32" fmla="*/ 218 w 550"/>
                <a:gd name="T33" fmla="*/ 11 h 344"/>
                <a:gd name="T34" fmla="*/ 279 w 550"/>
                <a:gd name="T35" fmla="*/ 14 h 344"/>
                <a:gd name="T36" fmla="*/ 341 w 550"/>
                <a:gd name="T37" fmla="*/ 16 h 344"/>
                <a:gd name="T38" fmla="*/ 398 w 550"/>
                <a:gd name="T39" fmla="*/ 18 h 344"/>
                <a:gd name="T40" fmla="*/ 449 w 550"/>
                <a:gd name="T41" fmla="*/ 19 h 344"/>
                <a:gd name="T42" fmla="*/ 485 w 550"/>
                <a:gd name="T43" fmla="*/ 21 h 344"/>
                <a:gd name="T44" fmla="*/ 509 w 550"/>
                <a:gd name="T45" fmla="*/ 52 h 344"/>
                <a:gd name="T46" fmla="*/ 509 w 550"/>
                <a:gd name="T47" fmla="*/ 55 h 344"/>
                <a:gd name="T48" fmla="*/ 507 w 550"/>
                <a:gd name="T49" fmla="*/ 71 h 344"/>
                <a:gd name="T50" fmla="*/ 507 w 550"/>
                <a:gd name="T51" fmla="*/ 93 h 344"/>
                <a:gd name="T52" fmla="*/ 509 w 550"/>
                <a:gd name="T53" fmla="*/ 117 h 344"/>
                <a:gd name="T54" fmla="*/ 515 w 550"/>
                <a:gd name="T55" fmla="*/ 138 h 344"/>
                <a:gd name="T56" fmla="*/ 521 w 550"/>
                <a:gd name="T57" fmla="*/ 148 h 344"/>
                <a:gd name="T58" fmla="*/ 523 w 550"/>
                <a:gd name="T59" fmla="*/ 156 h 344"/>
                <a:gd name="T60" fmla="*/ 527 w 550"/>
                <a:gd name="T61" fmla="*/ 180 h 344"/>
                <a:gd name="T62" fmla="*/ 528 w 550"/>
                <a:gd name="T63" fmla="*/ 197 h 344"/>
                <a:gd name="T64" fmla="*/ 528 w 550"/>
                <a:gd name="T65" fmla="*/ 210 h 344"/>
                <a:gd name="T66" fmla="*/ 528 w 550"/>
                <a:gd name="T67" fmla="*/ 225 h 344"/>
                <a:gd name="T68" fmla="*/ 536 w 550"/>
                <a:gd name="T69" fmla="*/ 243 h 344"/>
                <a:gd name="T70" fmla="*/ 545 w 550"/>
                <a:gd name="T71" fmla="*/ 298 h 344"/>
                <a:gd name="T72" fmla="*/ 548 w 550"/>
                <a:gd name="T73" fmla="*/ 343 h 344"/>
                <a:gd name="T74" fmla="*/ 542 w 550"/>
                <a:gd name="T75" fmla="*/ 343 h 344"/>
                <a:gd name="T76" fmla="*/ 515 w 550"/>
                <a:gd name="T77" fmla="*/ 342 h 344"/>
                <a:gd name="T78" fmla="*/ 468 w 550"/>
                <a:gd name="T79" fmla="*/ 340 h 344"/>
                <a:gd name="T80" fmla="*/ 408 w 550"/>
                <a:gd name="T81" fmla="*/ 339 h 344"/>
                <a:gd name="T82" fmla="*/ 339 w 550"/>
                <a:gd name="T83" fmla="*/ 336 h 344"/>
                <a:gd name="T84" fmla="*/ 266 w 550"/>
                <a:gd name="T85" fmla="*/ 334 h 344"/>
                <a:gd name="T86" fmla="*/ 193 w 550"/>
                <a:gd name="T87" fmla="*/ 331 h 344"/>
                <a:gd name="T88" fmla="*/ 126 w 550"/>
                <a:gd name="T89" fmla="*/ 329 h 344"/>
                <a:gd name="T90" fmla="*/ 66 w 550"/>
                <a:gd name="T91" fmla="*/ 326 h 344"/>
                <a:gd name="T92" fmla="*/ 24 w 550"/>
                <a:gd name="T93" fmla="*/ 323 h 344"/>
                <a:gd name="T94" fmla="*/ 0 w 550"/>
                <a:gd name="T95" fmla="*/ 32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0" h="344">
                  <a:moveTo>
                    <a:pt x="0" y="320"/>
                  </a:moveTo>
                  <a:lnTo>
                    <a:pt x="0" y="320"/>
                  </a:lnTo>
                  <a:lnTo>
                    <a:pt x="0" y="318"/>
                  </a:lnTo>
                  <a:lnTo>
                    <a:pt x="0" y="315"/>
                  </a:lnTo>
                  <a:lnTo>
                    <a:pt x="0" y="311"/>
                  </a:lnTo>
                  <a:lnTo>
                    <a:pt x="0" y="306"/>
                  </a:lnTo>
                  <a:lnTo>
                    <a:pt x="0" y="298"/>
                  </a:lnTo>
                  <a:lnTo>
                    <a:pt x="0" y="290"/>
                  </a:lnTo>
                  <a:lnTo>
                    <a:pt x="0" y="280"/>
                  </a:lnTo>
                  <a:lnTo>
                    <a:pt x="2" y="268"/>
                  </a:lnTo>
                  <a:lnTo>
                    <a:pt x="2" y="257"/>
                  </a:lnTo>
                  <a:lnTo>
                    <a:pt x="3" y="246"/>
                  </a:lnTo>
                  <a:lnTo>
                    <a:pt x="5" y="231"/>
                  </a:lnTo>
                  <a:lnTo>
                    <a:pt x="6" y="218"/>
                  </a:lnTo>
                  <a:lnTo>
                    <a:pt x="6" y="204"/>
                  </a:lnTo>
                  <a:lnTo>
                    <a:pt x="8" y="188"/>
                  </a:lnTo>
                  <a:lnTo>
                    <a:pt x="9" y="174"/>
                  </a:lnTo>
                  <a:lnTo>
                    <a:pt x="11" y="159"/>
                  </a:lnTo>
                  <a:lnTo>
                    <a:pt x="12" y="144"/>
                  </a:lnTo>
                  <a:lnTo>
                    <a:pt x="14" y="129"/>
                  </a:lnTo>
                  <a:lnTo>
                    <a:pt x="14" y="115"/>
                  </a:lnTo>
                  <a:lnTo>
                    <a:pt x="15" y="101"/>
                  </a:lnTo>
                  <a:lnTo>
                    <a:pt x="16" y="87"/>
                  </a:lnTo>
                  <a:lnTo>
                    <a:pt x="18" y="74"/>
                  </a:lnTo>
                  <a:lnTo>
                    <a:pt x="19" y="61"/>
                  </a:lnTo>
                  <a:lnTo>
                    <a:pt x="21" y="49"/>
                  </a:lnTo>
                  <a:lnTo>
                    <a:pt x="21" y="38"/>
                  </a:lnTo>
                  <a:lnTo>
                    <a:pt x="22" y="30"/>
                  </a:lnTo>
                  <a:lnTo>
                    <a:pt x="22" y="21"/>
                  </a:lnTo>
                  <a:lnTo>
                    <a:pt x="24" y="14"/>
                  </a:lnTo>
                  <a:lnTo>
                    <a:pt x="24" y="6"/>
                  </a:lnTo>
                  <a:lnTo>
                    <a:pt x="24" y="3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30" y="2"/>
                  </a:lnTo>
                  <a:lnTo>
                    <a:pt x="35" y="2"/>
                  </a:lnTo>
                  <a:lnTo>
                    <a:pt x="42" y="2"/>
                  </a:lnTo>
                  <a:lnTo>
                    <a:pt x="52" y="2"/>
                  </a:lnTo>
                  <a:lnTo>
                    <a:pt x="63" y="3"/>
                  </a:lnTo>
                  <a:lnTo>
                    <a:pt x="75" y="3"/>
                  </a:lnTo>
                  <a:lnTo>
                    <a:pt x="90" y="5"/>
                  </a:lnTo>
                  <a:lnTo>
                    <a:pt x="105" y="5"/>
                  </a:lnTo>
                  <a:lnTo>
                    <a:pt x="121" y="6"/>
                  </a:lnTo>
                  <a:lnTo>
                    <a:pt x="138" y="6"/>
                  </a:lnTo>
                  <a:lnTo>
                    <a:pt x="157" y="8"/>
                  </a:lnTo>
                  <a:lnTo>
                    <a:pt x="177" y="9"/>
                  </a:lnTo>
                  <a:lnTo>
                    <a:pt x="195" y="9"/>
                  </a:lnTo>
                  <a:lnTo>
                    <a:pt x="218" y="11"/>
                  </a:lnTo>
                  <a:lnTo>
                    <a:pt x="237" y="11"/>
                  </a:lnTo>
                  <a:lnTo>
                    <a:pt x="258" y="12"/>
                  </a:lnTo>
                  <a:lnTo>
                    <a:pt x="279" y="14"/>
                  </a:lnTo>
                  <a:lnTo>
                    <a:pt x="300" y="14"/>
                  </a:lnTo>
                  <a:lnTo>
                    <a:pt x="321" y="15"/>
                  </a:lnTo>
                  <a:lnTo>
                    <a:pt x="341" y="16"/>
                  </a:lnTo>
                  <a:lnTo>
                    <a:pt x="360" y="16"/>
                  </a:lnTo>
                  <a:lnTo>
                    <a:pt x="381" y="18"/>
                  </a:lnTo>
                  <a:lnTo>
                    <a:pt x="398" y="18"/>
                  </a:lnTo>
                  <a:lnTo>
                    <a:pt x="416" y="19"/>
                  </a:lnTo>
                  <a:lnTo>
                    <a:pt x="432" y="19"/>
                  </a:lnTo>
                  <a:lnTo>
                    <a:pt x="449" y="19"/>
                  </a:lnTo>
                  <a:lnTo>
                    <a:pt x="462" y="21"/>
                  </a:lnTo>
                  <a:lnTo>
                    <a:pt x="476" y="21"/>
                  </a:lnTo>
                  <a:lnTo>
                    <a:pt x="485" y="21"/>
                  </a:lnTo>
                  <a:lnTo>
                    <a:pt x="495" y="21"/>
                  </a:lnTo>
                  <a:lnTo>
                    <a:pt x="503" y="21"/>
                  </a:lnTo>
                  <a:lnTo>
                    <a:pt x="509" y="52"/>
                  </a:lnTo>
                  <a:lnTo>
                    <a:pt x="509" y="52"/>
                  </a:lnTo>
                  <a:lnTo>
                    <a:pt x="509" y="54"/>
                  </a:lnTo>
                  <a:lnTo>
                    <a:pt x="509" y="55"/>
                  </a:lnTo>
                  <a:lnTo>
                    <a:pt x="509" y="60"/>
                  </a:lnTo>
                  <a:lnTo>
                    <a:pt x="507" y="65"/>
                  </a:lnTo>
                  <a:lnTo>
                    <a:pt x="507" y="71"/>
                  </a:lnTo>
                  <a:lnTo>
                    <a:pt x="507" y="77"/>
                  </a:lnTo>
                  <a:lnTo>
                    <a:pt x="507" y="85"/>
                  </a:lnTo>
                  <a:lnTo>
                    <a:pt x="507" y="93"/>
                  </a:lnTo>
                  <a:lnTo>
                    <a:pt x="507" y="101"/>
                  </a:lnTo>
                  <a:lnTo>
                    <a:pt x="509" y="109"/>
                  </a:lnTo>
                  <a:lnTo>
                    <a:pt x="509" y="117"/>
                  </a:lnTo>
                  <a:lnTo>
                    <a:pt x="510" y="124"/>
                  </a:lnTo>
                  <a:lnTo>
                    <a:pt x="512" y="131"/>
                  </a:lnTo>
                  <a:lnTo>
                    <a:pt x="515" y="138"/>
                  </a:lnTo>
                  <a:lnTo>
                    <a:pt x="517" y="144"/>
                  </a:lnTo>
                  <a:lnTo>
                    <a:pt x="521" y="148"/>
                  </a:lnTo>
                  <a:lnTo>
                    <a:pt x="521" y="148"/>
                  </a:lnTo>
                  <a:lnTo>
                    <a:pt x="521" y="150"/>
                  </a:lnTo>
                  <a:lnTo>
                    <a:pt x="521" y="153"/>
                  </a:lnTo>
                  <a:lnTo>
                    <a:pt x="523" y="156"/>
                  </a:lnTo>
                  <a:lnTo>
                    <a:pt x="524" y="164"/>
                  </a:lnTo>
                  <a:lnTo>
                    <a:pt x="526" y="171"/>
                  </a:lnTo>
                  <a:lnTo>
                    <a:pt x="527" y="180"/>
                  </a:lnTo>
                  <a:lnTo>
                    <a:pt x="527" y="188"/>
                  </a:lnTo>
                  <a:lnTo>
                    <a:pt x="528" y="197"/>
                  </a:lnTo>
                  <a:lnTo>
                    <a:pt x="528" y="197"/>
                  </a:lnTo>
                  <a:lnTo>
                    <a:pt x="528" y="200"/>
                  </a:lnTo>
                  <a:lnTo>
                    <a:pt x="528" y="204"/>
                  </a:lnTo>
                  <a:lnTo>
                    <a:pt x="528" y="210"/>
                  </a:lnTo>
                  <a:lnTo>
                    <a:pt x="528" y="216"/>
                  </a:lnTo>
                  <a:lnTo>
                    <a:pt x="528" y="221"/>
                  </a:lnTo>
                  <a:lnTo>
                    <a:pt x="528" y="225"/>
                  </a:lnTo>
                  <a:lnTo>
                    <a:pt x="528" y="230"/>
                  </a:lnTo>
                  <a:lnTo>
                    <a:pt x="528" y="231"/>
                  </a:lnTo>
                  <a:lnTo>
                    <a:pt x="536" y="243"/>
                  </a:lnTo>
                  <a:lnTo>
                    <a:pt x="533" y="261"/>
                  </a:lnTo>
                  <a:lnTo>
                    <a:pt x="536" y="287"/>
                  </a:lnTo>
                  <a:lnTo>
                    <a:pt x="545" y="298"/>
                  </a:lnTo>
                  <a:lnTo>
                    <a:pt x="549" y="310"/>
                  </a:lnTo>
                  <a:lnTo>
                    <a:pt x="548" y="342"/>
                  </a:lnTo>
                  <a:lnTo>
                    <a:pt x="548" y="343"/>
                  </a:lnTo>
                  <a:lnTo>
                    <a:pt x="548" y="343"/>
                  </a:lnTo>
                  <a:lnTo>
                    <a:pt x="546" y="343"/>
                  </a:lnTo>
                  <a:lnTo>
                    <a:pt x="542" y="343"/>
                  </a:lnTo>
                  <a:lnTo>
                    <a:pt x="534" y="342"/>
                  </a:lnTo>
                  <a:lnTo>
                    <a:pt x="526" y="342"/>
                  </a:lnTo>
                  <a:lnTo>
                    <a:pt x="515" y="342"/>
                  </a:lnTo>
                  <a:lnTo>
                    <a:pt x="500" y="342"/>
                  </a:lnTo>
                  <a:lnTo>
                    <a:pt x="485" y="340"/>
                  </a:lnTo>
                  <a:lnTo>
                    <a:pt x="468" y="340"/>
                  </a:lnTo>
                  <a:lnTo>
                    <a:pt x="450" y="340"/>
                  </a:lnTo>
                  <a:lnTo>
                    <a:pt x="429" y="339"/>
                  </a:lnTo>
                  <a:lnTo>
                    <a:pt x="408" y="339"/>
                  </a:lnTo>
                  <a:lnTo>
                    <a:pt x="387" y="339"/>
                  </a:lnTo>
                  <a:lnTo>
                    <a:pt x="363" y="337"/>
                  </a:lnTo>
                  <a:lnTo>
                    <a:pt x="339" y="336"/>
                  </a:lnTo>
                  <a:lnTo>
                    <a:pt x="315" y="336"/>
                  </a:lnTo>
                  <a:lnTo>
                    <a:pt x="290" y="334"/>
                  </a:lnTo>
                  <a:lnTo>
                    <a:pt x="266" y="334"/>
                  </a:lnTo>
                  <a:lnTo>
                    <a:pt x="242" y="333"/>
                  </a:lnTo>
                  <a:lnTo>
                    <a:pt x="218" y="331"/>
                  </a:lnTo>
                  <a:lnTo>
                    <a:pt x="193" y="331"/>
                  </a:lnTo>
                  <a:lnTo>
                    <a:pt x="170" y="330"/>
                  </a:lnTo>
                  <a:lnTo>
                    <a:pt x="147" y="329"/>
                  </a:lnTo>
                  <a:lnTo>
                    <a:pt x="126" y="329"/>
                  </a:lnTo>
                  <a:lnTo>
                    <a:pt x="104" y="327"/>
                  </a:lnTo>
                  <a:lnTo>
                    <a:pt x="85" y="327"/>
                  </a:lnTo>
                  <a:lnTo>
                    <a:pt x="66" y="326"/>
                  </a:lnTo>
                  <a:lnTo>
                    <a:pt x="51" y="324"/>
                  </a:lnTo>
                  <a:lnTo>
                    <a:pt x="36" y="323"/>
                  </a:lnTo>
                  <a:lnTo>
                    <a:pt x="24" y="323"/>
                  </a:lnTo>
                  <a:lnTo>
                    <a:pt x="14" y="321"/>
                  </a:lnTo>
                  <a:lnTo>
                    <a:pt x="5" y="320"/>
                  </a:lnTo>
                  <a:lnTo>
                    <a:pt x="0" y="32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3" name="Freeform 27"/>
            <p:cNvSpPr>
              <a:spLocks/>
            </p:cNvSpPr>
            <p:nvPr/>
          </p:nvSpPr>
          <p:spPr bwMode="auto">
            <a:xfrm>
              <a:off x="1822514" y="4279690"/>
              <a:ext cx="393638" cy="270739"/>
            </a:xfrm>
            <a:custGeom>
              <a:avLst/>
              <a:gdLst>
                <a:gd name="T0" fmla="*/ 426 w 586"/>
                <a:gd name="T1" fmla="*/ 333 h 403"/>
                <a:gd name="T2" fmla="*/ 444 w 586"/>
                <a:gd name="T3" fmla="*/ 344 h 403"/>
                <a:gd name="T4" fmla="*/ 455 w 586"/>
                <a:gd name="T5" fmla="*/ 351 h 403"/>
                <a:gd name="T6" fmla="*/ 464 w 586"/>
                <a:gd name="T7" fmla="*/ 355 h 403"/>
                <a:gd name="T8" fmla="*/ 473 w 586"/>
                <a:gd name="T9" fmla="*/ 348 h 403"/>
                <a:gd name="T10" fmla="*/ 519 w 586"/>
                <a:gd name="T11" fmla="*/ 345 h 403"/>
                <a:gd name="T12" fmla="*/ 537 w 586"/>
                <a:gd name="T13" fmla="*/ 355 h 403"/>
                <a:gd name="T14" fmla="*/ 545 w 586"/>
                <a:gd name="T15" fmla="*/ 358 h 403"/>
                <a:gd name="T16" fmla="*/ 560 w 586"/>
                <a:gd name="T17" fmla="*/ 367 h 403"/>
                <a:gd name="T18" fmla="*/ 567 w 586"/>
                <a:gd name="T19" fmla="*/ 380 h 403"/>
                <a:gd name="T20" fmla="*/ 572 w 586"/>
                <a:gd name="T21" fmla="*/ 387 h 403"/>
                <a:gd name="T22" fmla="*/ 579 w 586"/>
                <a:gd name="T23" fmla="*/ 396 h 403"/>
                <a:gd name="T24" fmla="*/ 585 w 586"/>
                <a:gd name="T25" fmla="*/ 402 h 403"/>
                <a:gd name="T26" fmla="*/ 578 w 586"/>
                <a:gd name="T27" fmla="*/ 371 h 403"/>
                <a:gd name="T28" fmla="*/ 584 w 586"/>
                <a:gd name="T29" fmla="*/ 309 h 403"/>
                <a:gd name="T30" fmla="*/ 576 w 586"/>
                <a:gd name="T31" fmla="*/ 297 h 403"/>
                <a:gd name="T32" fmla="*/ 573 w 586"/>
                <a:gd name="T33" fmla="*/ 278 h 403"/>
                <a:gd name="T34" fmla="*/ 582 w 586"/>
                <a:gd name="T35" fmla="*/ 84 h 403"/>
                <a:gd name="T36" fmla="*/ 572 w 586"/>
                <a:gd name="T37" fmla="*/ 75 h 403"/>
                <a:gd name="T38" fmla="*/ 560 w 586"/>
                <a:gd name="T39" fmla="*/ 66 h 403"/>
                <a:gd name="T40" fmla="*/ 554 w 586"/>
                <a:gd name="T41" fmla="*/ 61 h 403"/>
                <a:gd name="T42" fmla="*/ 557 w 586"/>
                <a:gd name="T43" fmla="*/ 51 h 403"/>
                <a:gd name="T44" fmla="*/ 561 w 586"/>
                <a:gd name="T45" fmla="*/ 45 h 403"/>
                <a:gd name="T46" fmla="*/ 575 w 586"/>
                <a:gd name="T47" fmla="*/ 21 h 403"/>
                <a:gd name="T48" fmla="*/ 569 w 586"/>
                <a:gd name="T49" fmla="*/ 22 h 403"/>
                <a:gd name="T50" fmla="*/ 542 w 586"/>
                <a:gd name="T51" fmla="*/ 21 h 403"/>
                <a:gd name="T52" fmla="*/ 495 w 586"/>
                <a:gd name="T53" fmla="*/ 19 h 403"/>
                <a:gd name="T54" fmla="*/ 435 w 586"/>
                <a:gd name="T55" fmla="*/ 18 h 403"/>
                <a:gd name="T56" fmla="*/ 366 w 586"/>
                <a:gd name="T57" fmla="*/ 15 h 403"/>
                <a:gd name="T58" fmla="*/ 293 w 586"/>
                <a:gd name="T59" fmla="*/ 13 h 403"/>
                <a:gd name="T60" fmla="*/ 220 w 586"/>
                <a:gd name="T61" fmla="*/ 10 h 403"/>
                <a:gd name="T62" fmla="*/ 153 w 586"/>
                <a:gd name="T63" fmla="*/ 8 h 403"/>
                <a:gd name="T64" fmla="*/ 94 w 586"/>
                <a:gd name="T65" fmla="*/ 5 h 403"/>
                <a:gd name="T66" fmla="*/ 51 w 586"/>
                <a:gd name="T67" fmla="*/ 2 h 403"/>
                <a:gd name="T68" fmla="*/ 27 w 586"/>
                <a:gd name="T69" fmla="*/ 0 h 403"/>
                <a:gd name="T70" fmla="*/ 0 w 586"/>
                <a:gd name="T71" fmla="*/ 309 h 403"/>
                <a:gd name="T72" fmla="*/ 19 w 586"/>
                <a:gd name="T73" fmla="*/ 311 h 403"/>
                <a:gd name="T74" fmla="*/ 54 w 586"/>
                <a:gd name="T75" fmla="*/ 314 h 403"/>
                <a:gd name="T76" fmla="*/ 99 w 586"/>
                <a:gd name="T77" fmla="*/ 315 h 403"/>
                <a:gd name="T78" fmla="*/ 151 w 586"/>
                <a:gd name="T79" fmla="*/ 318 h 403"/>
                <a:gd name="T80" fmla="*/ 207 w 586"/>
                <a:gd name="T81" fmla="*/ 321 h 403"/>
                <a:gd name="T82" fmla="*/ 263 w 586"/>
                <a:gd name="T83" fmla="*/ 324 h 403"/>
                <a:gd name="T84" fmla="*/ 316 w 586"/>
                <a:gd name="T85" fmla="*/ 325 h 403"/>
                <a:gd name="T86" fmla="*/ 360 w 586"/>
                <a:gd name="T87" fmla="*/ 327 h 403"/>
                <a:gd name="T88" fmla="*/ 396 w 586"/>
                <a:gd name="T89" fmla="*/ 328 h 403"/>
                <a:gd name="T90" fmla="*/ 417 w 586"/>
                <a:gd name="T91" fmla="*/ 33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86" h="403">
                  <a:moveTo>
                    <a:pt x="421" y="330"/>
                  </a:moveTo>
                  <a:lnTo>
                    <a:pt x="422" y="330"/>
                  </a:lnTo>
                  <a:lnTo>
                    <a:pt x="426" y="333"/>
                  </a:lnTo>
                  <a:lnTo>
                    <a:pt x="432" y="336"/>
                  </a:lnTo>
                  <a:lnTo>
                    <a:pt x="438" y="340"/>
                  </a:lnTo>
                  <a:lnTo>
                    <a:pt x="444" y="344"/>
                  </a:lnTo>
                  <a:lnTo>
                    <a:pt x="450" y="347"/>
                  </a:lnTo>
                  <a:lnTo>
                    <a:pt x="454" y="350"/>
                  </a:lnTo>
                  <a:lnTo>
                    <a:pt x="455" y="351"/>
                  </a:lnTo>
                  <a:lnTo>
                    <a:pt x="458" y="354"/>
                  </a:lnTo>
                  <a:lnTo>
                    <a:pt x="461" y="355"/>
                  </a:lnTo>
                  <a:lnTo>
                    <a:pt x="464" y="355"/>
                  </a:lnTo>
                  <a:lnTo>
                    <a:pt x="467" y="353"/>
                  </a:lnTo>
                  <a:lnTo>
                    <a:pt x="470" y="351"/>
                  </a:lnTo>
                  <a:lnTo>
                    <a:pt x="473" y="348"/>
                  </a:lnTo>
                  <a:lnTo>
                    <a:pt x="474" y="347"/>
                  </a:lnTo>
                  <a:lnTo>
                    <a:pt x="474" y="345"/>
                  </a:lnTo>
                  <a:lnTo>
                    <a:pt x="519" y="345"/>
                  </a:lnTo>
                  <a:lnTo>
                    <a:pt x="528" y="354"/>
                  </a:lnTo>
                  <a:lnTo>
                    <a:pt x="537" y="354"/>
                  </a:lnTo>
                  <a:lnTo>
                    <a:pt x="537" y="355"/>
                  </a:lnTo>
                  <a:lnTo>
                    <a:pt x="540" y="357"/>
                  </a:lnTo>
                  <a:lnTo>
                    <a:pt x="543" y="358"/>
                  </a:lnTo>
                  <a:lnTo>
                    <a:pt x="545" y="358"/>
                  </a:lnTo>
                  <a:lnTo>
                    <a:pt x="552" y="360"/>
                  </a:lnTo>
                  <a:lnTo>
                    <a:pt x="555" y="363"/>
                  </a:lnTo>
                  <a:lnTo>
                    <a:pt x="560" y="367"/>
                  </a:lnTo>
                  <a:lnTo>
                    <a:pt x="563" y="371"/>
                  </a:lnTo>
                  <a:lnTo>
                    <a:pt x="566" y="375"/>
                  </a:lnTo>
                  <a:lnTo>
                    <a:pt x="567" y="380"/>
                  </a:lnTo>
                  <a:lnTo>
                    <a:pt x="569" y="383"/>
                  </a:lnTo>
                  <a:lnTo>
                    <a:pt x="570" y="384"/>
                  </a:lnTo>
                  <a:lnTo>
                    <a:pt x="572" y="387"/>
                  </a:lnTo>
                  <a:lnTo>
                    <a:pt x="575" y="388"/>
                  </a:lnTo>
                  <a:lnTo>
                    <a:pt x="578" y="393"/>
                  </a:lnTo>
                  <a:lnTo>
                    <a:pt x="579" y="396"/>
                  </a:lnTo>
                  <a:lnTo>
                    <a:pt x="582" y="397"/>
                  </a:lnTo>
                  <a:lnTo>
                    <a:pt x="584" y="400"/>
                  </a:lnTo>
                  <a:lnTo>
                    <a:pt x="585" y="402"/>
                  </a:lnTo>
                  <a:lnTo>
                    <a:pt x="585" y="402"/>
                  </a:lnTo>
                  <a:lnTo>
                    <a:pt x="585" y="388"/>
                  </a:lnTo>
                  <a:lnTo>
                    <a:pt x="578" y="371"/>
                  </a:lnTo>
                  <a:lnTo>
                    <a:pt x="570" y="361"/>
                  </a:lnTo>
                  <a:lnTo>
                    <a:pt x="572" y="354"/>
                  </a:lnTo>
                  <a:lnTo>
                    <a:pt x="584" y="309"/>
                  </a:lnTo>
                  <a:lnTo>
                    <a:pt x="572" y="309"/>
                  </a:lnTo>
                  <a:lnTo>
                    <a:pt x="573" y="301"/>
                  </a:lnTo>
                  <a:lnTo>
                    <a:pt x="576" y="297"/>
                  </a:lnTo>
                  <a:lnTo>
                    <a:pt x="575" y="290"/>
                  </a:lnTo>
                  <a:lnTo>
                    <a:pt x="572" y="282"/>
                  </a:lnTo>
                  <a:lnTo>
                    <a:pt x="573" y="278"/>
                  </a:lnTo>
                  <a:lnTo>
                    <a:pt x="584" y="278"/>
                  </a:lnTo>
                  <a:lnTo>
                    <a:pt x="584" y="85"/>
                  </a:lnTo>
                  <a:lnTo>
                    <a:pt x="582" y="84"/>
                  </a:lnTo>
                  <a:lnTo>
                    <a:pt x="581" y="82"/>
                  </a:lnTo>
                  <a:lnTo>
                    <a:pt x="576" y="79"/>
                  </a:lnTo>
                  <a:lnTo>
                    <a:pt x="572" y="75"/>
                  </a:lnTo>
                  <a:lnTo>
                    <a:pt x="567" y="72"/>
                  </a:lnTo>
                  <a:lnTo>
                    <a:pt x="563" y="69"/>
                  </a:lnTo>
                  <a:lnTo>
                    <a:pt x="560" y="66"/>
                  </a:lnTo>
                  <a:lnTo>
                    <a:pt x="558" y="66"/>
                  </a:lnTo>
                  <a:lnTo>
                    <a:pt x="555" y="63"/>
                  </a:lnTo>
                  <a:lnTo>
                    <a:pt x="554" y="61"/>
                  </a:lnTo>
                  <a:lnTo>
                    <a:pt x="554" y="57"/>
                  </a:lnTo>
                  <a:lnTo>
                    <a:pt x="555" y="54"/>
                  </a:lnTo>
                  <a:lnTo>
                    <a:pt x="557" y="51"/>
                  </a:lnTo>
                  <a:lnTo>
                    <a:pt x="558" y="48"/>
                  </a:lnTo>
                  <a:lnTo>
                    <a:pt x="560" y="46"/>
                  </a:lnTo>
                  <a:lnTo>
                    <a:pt x="561" y="45"/>
                  </a:lnTo>
                  <a:lnTo>
                    <a:pt x="575" y="30"/>
                  </a:lnTo>
                  <a:lnTo>
                    <a:pt x="573" y="22"/>
                  </a:lnTo>
                  <a:lnTo>
                    <a:pt x="575" y="21"/>
                  </a:lnTo>
                  <a:lnTo>
                    <a:pt x="575" y="22"/>
                  </a:lnTo>
                  <a:lnTo>
                    <a:pt x="573" y="22"/>
                  </a:lnTo>
                  <a:lnTo>
                    <a:pt x="569" y="22"/>
                  </a:lnTo>
                  <a:lnTo>
                    <a:pt x="561" y="21"/>
                  </a:lnTo>
                  <a:lnTo>
                    <a:pt x="553" y="21"/>
                  </a:lnTo>
                  <a:lnTo>
                    <a:pt x="542" y="21"/>
                  </a:lnTo>
                  <a:lnTo>
                    <a:pt x="527" y="21"/>
                  </a:lnTo>
                  <a:lnTo>
                    <a:pt x="513" y="19"/>
                  </a:lnTo>
                  <a:lnTo>
                    <a:pt x="495" y="19"/>
                  </a:lnTo>
                  <a:lnTo>
                    <a:pt x="477" y="19"/>
                  </a:lnTo>
                  <a:lnTo>
                    <a:pt x="456" y="18"/>
                  </a:lnTo>
                  <a:lnTo>
                    <a:pt x="435" y="18"/>
                  </a:lnTo>
                  <a:lnTo>
                    <a:pt x="414" y="18"/>
                  </a:lnTo>
                  <a:lnTo>
                    <a:pt x="390" y="16"/>
                  </a:lnTo>
                  <a:lnTo>
                    <a:pt x="366" y="15"/>
                  </a:lnTo>
                  <a:lnTo>
                    <a:pt x="342" y="15"/>
                  </a:lnTo>
                  <a:lnTo>
                    <a:pt x="318" y="13"/>
                  </a:lnTo>
                  <a:lnTo>
                    <a:pt x="293" y="13"/>
                  </a:lnTo>
                  <a:lnTo>
                    <a:pt x="269" y="12"/>
                  </a:lnTo>
                  <a:lnTo>
                    <a:pt x="245" y="10"/>
                  </a:lnTo>
                  <a:lnTo>
                    <a:pt x="220" y="10"/>
                  </a:lnTo>
                  <a:lnTo>
                    <a:pt x="197" y="9"/>
                  </a:lnTo>
                  <a:lnTo>
                    <a:pt x="174" y="8"/>
                  </a:lnTo>
                  <a:lnTo>
                    <a:pt x="153" y="8"/>
                  </a:lnTo>
                  <a:lnTo>
                    <a:pt x="131" y="6"/>
                  </a:lnTo>
                  <a:lnTo>
                    <a:pt x="112" y="6"/>
                  </a:lnTo>
                  <a:lnTo>
                    <a:pt x="94" y="5"/>
                  </a:lnTo>
                  <a:lnTo>
                    <a:pt x="78" y="3"/>
                  </a:lnTo>
                  <a:lnTo>
                    <a:pt x="64" y="2"/>
                  </a:lnTo>
                  <a:lnTo>
                    <a:pt x="51" y="2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27" y="0"/>
                  </a:lnTo>
                  <a:lnTo>
                    <a:pt x="18" y="99"/>
                  </a:lnTo>
                  <a:lnTo>
                    <a:pt x="18" y="98"/>
                  </a:lnTo>
                  <a:lnTo>
                    <a:pt x="0" y="309"/>
                  </a:lnTo>
                  <a:lnTo>
                    <a:pt x="5" y="309"/>
                  </a:lnTo>
                  <a:lnTo>
                    <a:pt x="10" y="309"/>
                  </a:lnTo>
                  <a:lnTo>
                    <a:pt x="19" y="311"/>
                  </a:lnTo>
                  <a:lnTo>
                    <a:pt x="30" y="311"/>
                  </a:lnTo>
                  <a:lnTo>
                    <a:pt x="41" y="312"/>
                  </a:lnTo>
                  <a:lnTo>
                    <a:pt x="54" y="314"/>
                  </a:lnTo>
                  <a:lnTo>
                    <a:pt x="68" y="314"/>
                  </a:lnTo>
                  <a:lnTo>
                    <a:pt x="82" y="315"/>
                  </a:lnTo>
                  <a:lnTo>
                    <a:pt x="99" y="315"/>
                  </a:lnTo>
                  <a:lnTo>
                    <a:pt x="115" y="317"/>
                  </a:lnTo>
                  <a:lnTo>
                    <a:pt x="132" y="318"/>
                  </a:lnTo>
                  <a:lnTo>
                    <a:pt x="151" y="318"/>
                  </a:lnTo>
                  <a:lnTo>
                    <a:pt x="170" y="320"/>
                  </a:lnTo>
                  <a:lnTo>
                    <a:pt x="189" y="320"/>
                  </a:lnTo>
                  <a:lnTo>
                    <a:pt x="207" y="321"/>
                  </a:lnTo>
                  <a:lnTo>
                    <a:pt x="226" y="321"/>
                  </a:lnTo>
                  <a:lnTo>
                    <a:pt x="245" y="322"/>
                  </a:lnTo>
                  <a:lnTo>
                    <a:pt x="263" y="324"/>
                  </a:lnTo>
                  <a:lnTo>
                    <a:pt x="282" y="324"/>
                  </a:lnTo>
                  <a:lnTo>
                    <a:pt x="299" y="325"/>
                  </a:lnTo>
                  <a:lnTo>
                    <a:pt x="316" y="325"/>
                  </a:lnTo>
                  <a:lnTo>
                    <a:pt x="332" y="325"/>
                  </a:lnTo>
                  <a:lnTo>
                    <a:pt x="347" y="327"/>
                  </a:lnTo>
                  <a:lnTo>
                    <a:pt x="360" y="327"/>
                  </a:lnTo>
                  <a:lnTo>
                    <a:pt x="375" y="328"/>
                  </a:lnTo>
                  <a:lnTo>
                    <a:pt x="387" y="328"/>
                  </a:lnTo>
                  <a:lnTo>
                    <a:pt x="396" y="328"/>
                  </a:lnTo>
                  <a:lnTo>
                    <a:pt x="405" y="328"/>
                  </a:lnTo>
                  <a:lnTo>
                    <a:pt x="413" y="328"/>
                  </a:lnTo>
                  <a:lnTo>
                    <a:pt x="417" y="330"/>
                  </a:lnTo>
                  <a:lnTo>
                    <a:pt x="420" y="330"/>
                  </a:lnTo>
                  <a:lnTo>
                    <a:pt x="421" y="33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4" name="Freeform 28"/>
            <p:cNvSpPr>
              <a:spLocks/>
            </p:cNvSpPr>
            <p:nvPr/>
          </p:nvSpPr>
          <p:spPr bwMode="auto">
            <a:xfrm>
              <a:off x="1822514" y="4279690"/>
              <a:ext cx="393638" cy="270739"/>
            </a:xfrm>
            <a:custGeom>
              <a:avLst/>
              <a:gdLst>
                <a:gd name="T0" fmla="*/ 422 w 586"/>
                <a:gd name="T1" fmla="*/ 330 h 403"/>
                <a:gd name="T2" fmla="*/ 438 w 586"/>
                <a:gd name="T3" fmla="*/ 340 h 403"/>
                <a:gd name="T4" fmla="*/ 454 w 586"/>
                <a:gd name="T5" fmla="*/ 350 h 403"/>
                <a:gd name="T6" fmla="*/ 458 w 586"/>
                <a:gd name="T7" fmla="*/ 354 h 403"/>
                <a:gd name="T8" fmla="*/ 467 w 586"/>
                <a:gd name="T9" fmla="*/ 353 h 403"/>
                <a:gd name="T10" fmla="*/ 474 w 586"/>
                <a:gd name="T11" fmla="*/ 347 h 403"/>
                <a:gd name="T12" fmla="*/ 528 w 586"/>
                <a:gd name="T13" fmla="*/ 354 h 403"/>
                <a:gd name="T14" fmla="*/ 537 w 586"/>
                <a:gd name="T15" fmla="*/ 355 h 403"/>
                <a:gd name="T16" fmla="*/ 545 w 586"/>
                <a:gd name="T17" fmla="*/ 358 h 403"/>
                <a:gd name="T18" fmla="*/ 555 w 586"/>
                <a:gd name="T19" fmla="*/ 363 h 403"/>
                <a:gd name="T20" fmla="*/ 566 w 586"/>
                <a:gd name="T21" fmla="*/ 375 h 403"/>
                <a:gd name="T22" fmla="*/ 570 w 586"/>
                <a:gd name="T23" fmla="*/ 384 h 403"/>
                <a:gd name="T24" fmla="*/ 575 w 586"/>
                <a:gd name="T25" fmla="*/ 388 h 403"/>
                <a:gd name="T26" fmla="*/ 582 w 586"/>
                <a:gd name="T27" fmla="*/ 397 h 403"/>
                <a:gd name="T28" fmla="*/ 585 w 586"/>
                <a:gd name="T29" fmla="*/ 402 h 403"/>
                <a:gd name="T30" fmla="*/ 570 w 586"/>
                <a:gd name="T31" fmla="*/ 361 h 403"/>
                <a:gd name="T32" fmla="*/ 572 w 586"/>
                <a:gd name="T33" fmla="*/ 309 h 403"/>
                <a:gd name="T34" fmla="*/ 575 w 586"/>
                <a:gd name="T35" fmla="*/ 290 h 403"/>
                <a:gd name="T36" fmla="*/ 584 w 586"/>
                <a:gd name="T37" fmla="*/ 278 h 403"/>
                <a:gd name="T38" fmla="*/ 582 w 586"/>
                <a:gd name="T39" fmla="*/ 84 h 403"/>
                <a:gd name="T40" fmla="*/ 572 w 586"/>
                <a:gd name="T41" fmla="*/ 75 h 403"/>
                <a:gd name="T42" fmla="*/ 560 w 586"/>
                <a:gd name="T43" fmla="*/ 66 h 403"/>
                <a:gd name="T44" fmla="*/ 555 w 586"/>
                <a:gd name="T45" fmla="*/ 63 h 403"/>
                <a:gd name="T46" fmla="*/ 555 w 586"/>
                <a:gd name="T47" fmla="*/ 54 h 403"/>
                <a:gd name="T48" fmla="*/ 560 w 586"/>
                <a:gd name="T49" fmla="*/ 46 h 403"/>
                <a:gd name="T50" fmla="*/ 573 w 586"/>
                <a:gd name="T51" fmla="*/ 22 h 403"/>
                <a:gd name="T52" fmla="*/ 575 w 586"/>
                <a:gd name="T53" fmla="*/ 22 h 403"/>
                <a:gd name="T54" fmla="*/ 561 w 586"/>
                <a:gd name="T55" fmla="*/ 21 h 403"/>
                <a:gd name="T56" fmla="*/ 527 w 586"/>
                <a:gd name="T57" fmla="*/ 21 h 403"/>
                <a:gd name="T58" fmla="*/ 477 w 586"/>
                <a:gd name="T59" fmla="*/ 19 h 403"/>
                <a:gd name="T60" fmla="*/ 414 w 586"/>
                <a:gd name="T61" fmla="*/ 18 h 403"/>
                <a:gd name="T62" fmla="*/ 342 w 586"/>
                <a:gd name="T63" fmla="*/ 15 h 403"/>
                <a:gd name="T64" fmla="*/ 269 w 586"/>
                <a:gd name="T65" fmla="*/ 12 h 403"/>
                <a:gd name="T66" fmla="*/ 197 w 586"/>
                <a:gd name="T67" fmla="*/ 9 h 403"/>
                <a:gd name="T68" fmla="*/ 131 w 586"/>
                <a:gd name="T69" fmla="*/ 6 h 403"/>
                <a:gd name="T70" fmla="*/ 78 w 586"/>
                <a:gd name="T71" fmla="*/ 3 h 403"/>
                <a:gd name="T72" fmla="*/ 41 w 586"/>
                <a:gd name="T73" fmla="*/ 0 h 403"/>
                <a:gd name="T74" fmla="*/ 18 w 586"/>
                <a:gd name="T75" fmla="*/ 99 h 403"/>
                <a:gd name="T76" fmla="*/ 0 w 586"/>
                <a:gd name="T77" fmla="*/ 309 h 403"/>
                <a:gd name="T78" fmla="*/ 19 w 586"/>
                <a:gd name="T79" fmla="*/ 311 h 403"/>
                <a:gd name="T80" fmla="*/ 54 w 586"/>
                <a:gd name="T81" fmla="*/ 314 h 403"/>
                <a:gd name="T82" fmla="*/ 99 w 586"/>
                <a:gd name="T83" fmla="*/ 315 h 403"/>
                <a:gd name="T84" fmla="*/ 151 w 586"/>
                <a:gd name="T85" fmla="*/ 318 h 403"/>
                <a:gd name="T86" fmla="*/ 207 w 586"/>
                <a:gd name="T87" fmla="*/ 321 h 403"/>
                <a:gd name="T88" fmla="*/ 263 w 586"/>
                <a:gd name="T89" fmla="*/ 324 h 403"/>
                <a:gd name="T90" fmla="*/ 316 w 586"/>
                <a:gd name="T91" fmla="*/ 325 h 403"/>
                <a:gd name="T92" fmla="*/ 360 w 586"/>
                <a:gd name="T93" fmla="*/ 327 h 403"/>
                <a:gd name="T94" fmla="*/ 396 w 586"/>
                <a:gd name="T95" fmla="*/ 328 h 403"/>
                <a:gd name="T96" fmla="*/ 417 w 586"/>
                <a:gd name="T97" fmla="*/ 33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6" h="403">
                  <a:moveTo>
                    <a:pt x="421" y="330"/>
                  </a:moveTo>
                  <a:lnTo>
                    <a:pt x="421" y="330"/>
                  </a:lnTo>
                  <a:lnTo>
                    <a:pt x="422" y="330"/>
                  </a:lnTo>
                  <a:lnTo>
                    <a:pt x="426" y="333"/>
                  </a:lnTo>
                  <a:lnTo>
                    <a:pt x="432" y="336"/>
                  </a:lnTo>
                  <a:lnTo>
                    <a:pt x="438" y="340"/>
                  </a:lnTo>
                  <a:lnTo>
                    <a:pt x="444" y="344"/>
                  </a:lnTo>
                  <a:lnTo>
                    <a:pt x="450" y="347"/>
                  </a:lnTo>
                  <a:lnTo>
                    <a:pt x="454" y="350"/>
                  </a:lnTo>
                  <a:lnTo>
                    <a:pt x="455" y="351"/>
                  </a:lnTo>
                  <a:lnTo>
                    <a:pt x="455" y="351"/>
                  </a:lnTo>
                  <a:lnTo>
                    <a:pt x="458" y="354"/>
                  </a:lnTo>
                  <a:lnTo>
                    <a:pt x="461" y="355"/>
                  </a:lnTo>
                  <a:lnTo>
                    <a:pt x="464" y="355"/>
                  </a:lnTo>
                  <a:lnTo>
                    <a:pt x="467" y="353"/>
                  </a:lnTo>
                  <a:lnTo>
                    <a:pt x="470" y="351"/>
                  </a:lnTo>
                  <a:lnTo>
                    <a:pt x="473" y="348"/>
                  </a:lnTo>
                  <a:lnTo>
                    <a:pt x="474" y="347"/>
                  </a:lnTo>
                  <a:lnTo>
                    <a:pt x="474" y="345"/>
                  </a:lnTo>
                  <a:lnTo>
                    <a:pt x="519" y="345"/>
                  </a:lnTo>
                  <a:lnTo>
                    <a:pt x="528" y="354"/>
                  </a:lnTo>
                  <a:lnTo>
                    <a:pt x="537" y="354"/>
                  </a:lnTo>
                  <a:lnTo>
                    <a:pt x="537" y="354"/>
                  </a:lnTo>
                  <a:lnTo>
                    <a:pt x="537" y="355"/>
                  </a:lnTo>
                  <a:lnTo>
                    <a:pt x="540" y="357"/>
                  </a:lnTo>
                  <a:lnTo>
                    <a:pt x="543" y="358"/>
                  </a:lnTo>
                  <a:lnTo>
                    <a:pt x="545" y="358"/>
                  </a:lnTo>
                  <a:lnTo>
                    <a:pt x="545" y="358"/>
                  </a:lnTo>
                  <a:lnTo>
                    <a:pt x="552" y="360"/>
                  </a:lnTo>
                  <a:lnTo>
                    <a:pt x="555" y="363"/>
                  </a:lnTo>
                  <a:lnTo>
                    <a:pt x="560" y="367"/>
                  </a:lnTo>
                  <a:lnTo>
                    <a:pt x="563" y="371"/>
                  </a:lnTo>
                  <a:lnTo>
                    <a:pt x="566" y="375"/>
                  </a:lnTo>
                  <a:lnTo>
                    <a:pt x="567" y="380"/>
                  </a:lnTo>
                  <a:lnTo>
                    <a:pt x="569" y="383"/>
                  </a:lnTo>
                  <a:lnTo>
                    <a:pt x="570" y="384"/>
                  </a:lnTo>
                  <a:lnTo>
                    <a:pt x="570" y="384"/>
                  </a:lnTo>
                  <a:lnTo>
                    <a:pt x="572" y="387"/>
                  </a:lnTo>
                  <a:lnTo>
                    <a:pt x="575" y="388"/>
                  </a:lnTo>
                  <a:lnTo>
                    <a:pt x="578" y="393"/>
                  </a:lnTo>
                  <a:lnTo>
                    <a:pt x="579" y="396"/>
                  </a:lnTo>
                  <a:lnTo>
                    <a:pt x="582" y="397"/>
                  </a:lnTo>
                  <a:lnTo>
                    <a:pt x="584" y="400"/>
                  </a:lnTo>
                  <a:lnTo>
                    <a:pt x="585" y="402"/>
                  </a:lnTo>
                  <a:lnTo>
                    <a:pt x="585" y="402"/>
                  </a:lnTo>
                  <a:lnTo>
                    <a:pt x="585" y="388"/>
                  </a:lnTo>
                  <a:lnTo>
                    <a:pt x="578" y="371"/>
                  </a:lnTo>
                  <a:lnTo>
                    <a:pt x="570" y="361"/>
                  </a:lnTo>
                  <a:lnTo>
                    <a:pt x="572" y="354"/>
                  </a:lnTo>
                  <a:lnTo>
                    <a:pt x="584" y="309"/>
                  </a:lnTo>
                  <a:lnTo>
                    <a:pt x="572" y="309"/>
                  </a:lnTo>
                  <a:lnTo>
                    <a:pt x="573" y="301"/>
                  </a:lnTo>
                  <a:lnTo>
                    <a:pt x="576" y="297"/>
                  </a:lnTo>
                  <a:lnTo>
                    <a:pt x="575" y="290"/>
                  </a:lnTo>
                  <a:lnTo>
                    <a:pt x="572" y="282"/>
                  </a:lnTo>
                  <a:lnTo>
                    <a:pt x="573" y="278"/>
                  </a:lnTo>
                  <a:lnTo>
                    <a:pt x="584" y="278"/>
                  </a:lnTo>
                  <a:lnTo>
                    <a:pt x="584" y="85"/>
                  </a:lnTo>
                  <a:lnTo>
                    <a:pt x="584" y="85"/>
                  </a:lnTo>
                  <a:lnTo>
                    <a:pt x="582" y="84"/>
                  </a:lnTo>
                  <a:lnTo>
                    <a:pt x="581" y="82"/>
                  </a:lnTo>
                  <a:lnTo>
                    <a:pt x="576" y="79"/>
                  </a:lnTo>
                  <a:lnTo>
                    <a:pt x="572" y="75"/>
                  </a:lnTo>
                  <a:lnTo>
                    <a:pt x="567" y="72"/>
                  </a:lnTo>
                  <a:lnTo>
                    <a:pt x="563" y="69"/>
                  </a:lnTo>
                  <a:lnTo>
                    <a:pt x="560" y="66"/>
                  </a:lnTo>
                  <a:lnTo>
                    <a:pt x="558" y="66"/>
                  </a:lnTo>
                  <a:lnTo>
                    <a:pt x="558" y="66"/>
                  </a:lnTo>
                  <a:lnTo>
                    <a:pt x="555" y="63"/>
                  </a:lnTo>
                  <a:lnTo>
                    <a:pt x="554" y="61"/>
                  </a:lnTo>
                  <a:lnTo>
                    <a:pt x="554" y="57"/>
                  </a:lnTo>
                  <a:lnTo>
                    <a:pt x="555" y="54"/>
                  </a:lnTo>
                  <a:lnTo>
                    <a:pt x="557" y="51"/>
                  </a:lnTo>
                  <a:lnTo>
                    <a:pt x="558" y="48"/>
                  </a:lnTo>
                  <a:lnTo>
                    <a:pt x="560" y="46"/>
                  </a:lnTo>
                  <a:lnTo>
                    <a:pt x="561" y="45"/>
                  </a:lnTo>
                  <a:lnTo>
                    <a:pt x="575" y="30"/>
                  </a:lnTo>
                  <a:lnTo>
                    <a:pt x="573" y="22"/>
                  </a:lnTo>
                  <a:lnTo>
                    <a:pt x="575" y="21"/>
                  </a:lnTo>
                  <a:lnTo>
                    <a:pt x="575" y="22"/>
                  </a:lnTo>
                  <a:lnTo>
                    <a:pt x="575" y="22"/>
                  </a:lnTo>
                  <a:lnTo>
                    <a:pt x="573" y="22"/>
                  </a:lnTo>
                  <a:lnTo>
                    <a:pt x="569" y="22"/>
                  </a:lnTo>
                  <a:lnTo>
                    <a:pt x="561" y="21"/>
                  </a:lnTo>
                  <a:lnTo>
                    <a:pt x="553" y="21"/>
                  </a:lnTo>
                  <a:lnTo>
                    <a:pt x="542" y="21"/>
                  </a:lnTo>
                  <a:lnTo>
                    <a:pt x="527" y="21"/>
                  </a:lnTo>
                  <a:lnTo>
                    <a:pt x="513" y="19"/>
                  </a:lnTo>
                  <a:lnTo>
                    <a:pt x="495" y="19"/>
                  </a:lnTo>
                  <a:lnTo>
                    <a:pt x="477" y="19"/>
                  </a:lnTo>
                  <a:lnTo>
                    <a:pt x="456" y="18"/>
                  </a:lnTo>
                  <a:lnTo>
                    <a:pt x="435" y="18"/>
                  </a:lnTo>
                  <a:lnTo>
                    <a:pt x="414" y="18"/>
                  </a:lnTo>
                  <a:lnTo>
                    <a:pt x="390" y="16"/>
                  </a:lnTo>
                  <a:lnTo>
                    <a:pt x="366" y="15"/>
                  </a:lnTo>
                  <a:lnTo>
                    <a:pt x="342" y="15"/>
                  </a:lnTo>
                  <a:lnTo>
                    <a:pt x="318" y="13"/>
                  </a:lnTo>
                  <a:lnTo>
                    <a:pt x="293" y="13"/>
                  </a:lnTo>
                  <a:lnTo>
                    <a:pt x="269" y="12"/>
                  </a:lnTo>
                  <a:lnTo>
                    <a:pt x="245" y="10"/>
                  </a:lnTo>
                  <a:lnTo>
                    <a:pt x="220" y="10"/>
                  </a:lnTo>
                  <a:lnTo>
                    <a:pt x="197" y="9"/>
                  </a:lnTo>
                  <a:lnTo>
                    <a:pt x="174" y="8"/>
                  </a:lnTo>
                  <a:lnTo>
                    <a:pt x="153" y="8"/>
                  </a:lnTo>
                  <a:lnTo>
                    <a:pt x="131" y="6"/>
                  </a:lnTo>
                  <a:lnTo>
                    <a:pt x="112" y="6"/>
                  </a:lnTo>
                  <a:lnTo>
                    <a:pt x="94" y="5"/>
                  </a:lnTo>
                  <a:lnTo>
                    <a:pt x="78" y="3"/>
                  </a:lnTo>
                  <a:lnTo>
                    <a:pt x="64" y="2"/>
                  </a:lnTo>
                  <a:lnTo>
                    <a:pt x="51" y="2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27" y="0"/>
                  </a:lnTo>
                  <a:lnTo>
                    <a:pt x="18" y="99"/>
                  </a:lnTo>
                  <a:lnTo>
                    <a:pt x="18" y="98"/>
                  </a:lnTo>
                  <a:lnTo>
                    <a:pt x="0" y="309"/>
                  </a:lnTo>
                  <a:lnTo>
                    <a:pt x="0" y="309"/>
                  </a:lnTo>
                  <a:lnTo>
                    <a:pt x="5" y="309"/>
                  </a:lnTo>
                  <a:lnTo>
                    <a:pt x="10" y="309"/>
                  </a:lnTo>
                  <a:lnTo>
                    <a:pt x="19" y="311"/>
                  </a:lnTo>
                  <a:lnTo>
                    <a:pt x="30" y="311"/>
                  </a:lnTo>
                  <a:lnTo>
                    <a:pt x="41" y="312"/>
                  </a:lnTo>
                  <a:lnTo>
                    <a:pt x="54" y="314"/>
                  </a:lnTo>
                  <a:lnTo>
                    <a:pt x="68" y="314"/>
                  </a:lnTo>
                  <a:lnTo>
                    <a:pt x="82" y="315"/>
                  </a:lnTo>
                  <a:lnTo>
                    <a:pt x="99" y="315"/>
                  </a:lnTo>
                  <a:lnTo>
                    <a:pt x="115" y="317"/>
                  </a:lnTo>
                  <a:lnTo>
                    <a:pt x="132" y="318"/>
                  </a:lnTo>
                  <a:lnTo>
                    <a:pt x="151" y="318"/>
                  </a:lnTo>
                  <a:lnTo>
                    <a:pt x="170" y="320"/>
                  </a:lnTo>
                  <a:lnTo>
                    <a:pt x="189" y="320"/>
                  </a:lnTo>
                  <a:lnTo>
                    <a:pt x="207" y="321"/>
                  </a:lnTo>
                  <a:lnTo>
                    <a:pt x="226" y="321"/>
                  </a:lnTo>
                  <a:lnTo>
                    <a:pt x="245" y="322"/>
                  </a:lnTo>
                  <a:lnTo>
                    <a:pt x="263" y="324"/>
                  </a:lnTo>
                  <a:lnTo>
                    <a:pt x="282" y="324"/>
                  </a:lnTo>
                  <a:lnTo>
                    <a:pt x="299" y="325"/>
                  </a:lnTo>
                  <a:lnTo>
                    <a:pt x="316" y="325"/>
                  </a:lnTo>
                  <a:lnTo>
                    <a:pt x="332" y="325"/>
                  </a:lnTo>
                  <a:lnTo>
                    <a:pt x="347" y="327"/>
                  </a:lnTo>
                  <a:lnTo>
                    <a:pt x="360" y="327"/>
                  </a:lnTo>
                  <a:lnTo>
                    <a:pt x="375" y="328"/>
                  </a:lnTo>
                  <a:lnTo>
                    <a:pt x="387" y="328"/>
                  </a:lnTo>
                  <a:lnTo>
                    <a:pt x="396" y="328"/>
                  </a:lnTo>
                  <a:lnTo>
                    <a:pt x="405" y="328"/>
                  </a:lnTo>
                  <a:lnTo>
                    <a:pt x="413" y="328"/>
                  </a:lnTo>
                  <a:lnTo>
                    <a:pt x="417" y="330"/>
                  </a:lnTo>
                  <a:lnTo>
                    <a:pt x="420" y="330"/>
                  </a:lnTo>
                  <a:lnTo>
                    <a:pt x="421" y="33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5" name="Freeform 29"/>
            <p:cNvSpPr>
              <a:spLocks/>
            </p:cNvSpPr>
            <p:nvPr/>
          </p:nvSpPr>
          <p:spPr bwMode="auto">
            <a:xfrm>
              <a:off x="1809252" y="4487091"/>
              <a:ext cx="461153" cy="230377"/>
            </a:xfrm>
            <a:custGeom>
              <a:avLst/>
              <a:gdLst>
                <a:gd name="T0" fmla="*/ 664 w 687"/>
                <a:gd name="T1" fmla="*/ 307 h 343"/>
                <a:gd name="T2" fmla="*/ 660 w 687"/>
                <a:gd name="T3" fmla="*/ 294 h 343"/>
                <a:gd name="T4" fmla="*/ 655 w 687"/>
                <a:gd name="T5" fmla="*/ 284 h 343"/>
                <a:gd name="T6" fmla="*/ 653 w 687"/>
                <a:gd name="T7" fmla="*/ 279 h 343"/>
                <a:gd name="T8" fmla="*/ 647 w 687"/>
                <a:gd name="T9" fmla="*/ 268 h 343"/>
                <a:gd name="T10" fmla="*/ 646 w 687"/>
                <a:gd name="T11" fmla="*/ 255 h 343"/>
                <a:gd name="T12" fmla="*/ 647 w 687"/>
                <a:gd name="T13" fmla="*/ 241 h 343"/>
                <a:gd name="T14" fmla="*/ 647 w 687"/>
                <a:gd name="T15" fmla="*/ 230 h 343"/>
                <a:gd name="T16" fmla="*/ 649 w 687"/>
                <a:gd name="T17" fmla="*/ 222 h 343"/>
                <a:gd name="T18" fmla="*/ 642 w 687"/>
                <a:gd name="T19" fmla="*/ 188 h 343"/>
                <a:gd name="T20" fmla="*/ 631 w 687"/>
                <a:gd name="T21" fmla="*/ 177 h 343"/>
                <a:gd name="T22" fmla="*/ 628 w 687"/>
                <a:gd name="T23" fmla="*/ 164 h 343"/>
                <a:gd name="T24" fmla="*/ 630 w 687"/>
                <a:gd name="T25" fmla="*/ 156 h 343"/>
                <a:gd name="T26" fmla="*/ 627 w 687"/>
                <a:gd name="T27" fmla="*/ 138 h 343"/>
                <a:gd name="T28" fmla="*/ 622 w 687"/>
                <a:gd name="T29" fmla="*/ 129 h 343"/>
                <a:gd name="T30" fmla="*/ 614 w 687"/>
                <a:gd name="T31" fmla="*/ 124 h 343"/>
                <a:gd name="T32" fmla="*/ 610 w 687"/>
                <a:gd name="T33" fmla="*/ 112 h 343"/>
                <a:gd name="T34" fmla="*/ 609 w 687"/>
                <a:gd name="T35" fmla="*/ 104 h 343"/>
                <a:gd name="T36" fmla="*/ 604 w 687"/>
                <a:gd name="T37" fmla="*/ 93 h 343"/>
                <a:gd name="T38" fmla="*/ 601 w 687"/>
                <a:gd name="T39" fmla="*/ 88 h 343"/>
                <a:gd name="T40" fmla="*/ 594 w 687"/>
                <a:gd name="T41" fmla="*/ 79 h 343"/>
                <a:gd name="T42" fmla="*/ 589 w 687"/>
                <a:gd name="T43" fmla="*/ 74 h 343"/>
                <a:gd name="T44" fmla="*/ 583 w 687"/>
                <a:gd name="T45" fmla="*/ 62 h 343"/>
                <a:gd name="T46" fmla="*/ 571 w 687"/>
                <a:gd name="T47" fmla="*/ 51 h 343"/>
                <a:gd name="T48" fmla="*/ 560 w 687"/>
                <a:gd name="T49" fmla="*/ 48 h 343"/>
                <a:gd name="T50" fmla="*/ 548 w 687"/>
                <a:gd name="T51" fmla="*/ 45 h 343"/>
                <a:gd name="T52" fmla="*/ 494 w 687"/>
                <a:gd name="T53" fmla="*/ 38 h 343"/>
                <a:gd name="T54" fmla="*/ 487 w 687"/>
                <a:gd name="T55" fmla="*/ 44 h 343"/>
                <a:gd name="T56" fmla="*/ 478 w 687"/>
                <a:gd name="T57" fmla="*/ 45 h 343"/>
                <a:gd name="T58" fmla="*/ 469 w 687"/>
                <a:gd name="T59" fmla="*/ 38 h 343"/>
                <a:gd name="T60" fmla="*/ 452 w 687"/>
                <a:gd name="T61" fmla="*/ 27 h 343"/>
                <a:gd name="T62" fmla="*/ 440 w 687"/>
                <a:gd name="T63" fmla="*/ 21 h 343"/>
                <a:gd name="T64" fmla="*/ 433 w 687"/>
                <a:gd name="T65" fmla="*/ 19 h 343"/>
                <a:gd name="T66" fmla="*/ 406 w 687"/>
                <a:gd name="T67" fmla="*/ 19 h 343"/>
                <a:gd name="T68" fmla="*/ 367 w 687"/>
                <a:gd name="T69" fmla="*/ 18 h 343"/>
                <a:gd name="T70" fmla="*/ 319 w 687"/>
                <a:gd name="T71" fmla="*/ 16 h 343"/>
                <a:gd name="T72" fmla="*/ 265 w 687"/>
                <a:gd name="T73" fmla="*/ 13 h 343"/>
                <a:gd name="T74" fmla="*/ 209 w 687"/>
                <a:gd name="T75" fmla="*/ 11 h 343"/>
                <a:gd name="T76" fmla="*/ 153 w 687"/>
                <a:gd name="T77" fmla="*/ 9 h 343"/>
                <a:gd name="T78" fmla="*/ 102 w 687"/>
                <a:gd name="T79" fmla="*/ 6 h 343"/>
                <a:gd name="T80" fmla="*/ 62 w 687"/>
                <a:gd name="T81" fmla="*/ 3 h 343"/>
                <a:gd name="T82" fmla="*/ 31 w 687"/>
                <a:gd name="T83" fmla="*/ 0 h 343"/>
                <a:gd name="T84" fmla="*/ 0 w 687"/>
                <a:gd name="T85" fmla="*/ 211 h 343"/>
                <a:gd name="T86" fmla="*/ 157 w 687"/>
                <a:gd name="T87" fmla="*/ 327 h 343"/>
                <a:gd name="T88" fmla="*/ 188 w 687"/>
                <a:gd name="T89" fmla="*/ 331 h 343"/>
                <a:gd name="T90" fmla="*/ 234 w 687"/>
                <a:gd name="T91" fmla="*/ 334 h 343"/>
                <a:gd name="T92" fmla="*/ 292 w 687"/>
                <a:gd name="T93" fmla="*/ 336 h 343"/>
                <a:gd name="T94" fmla="*/ 358 w 687"/>
                <a:gd name="T95" fmla="*/ 337 h 343"/>
                <a:gd name="T96" fmla="*/ 427 w 687"/>
                <a:gd name="T97" fmla="*/ 339 h 343"/>
                <a:gd name="T98" fmla="*/ 496 w 687"/>
                <a:gd name="T99" fmla="*/ 340 h 343"/>
                <a:gd name="T100" fmla="*/ 559 w 687"/>
                <a:gd name="T101" fmla="*/ 340 h 343"/>
                <a:gd name="T102" fmla="*/ 613 w 687"/>
                <a:gd name="T103" fmla="*/ 342 h 343"/>
                <a:gd name="T104" fmla="*/ 655 w 687"/>
                <a:gd name="T105" fmla="*/ 342 h 343"/>
                <a:gd name="T106" fmla="*/ 680 w 687"/>
                <a:gd name="T107" fmla="*/ 34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7" h="343">
                  <a:moveTo>
                    <a:pt x="686" y="342"/>
                  </a:moveTo>
                  <a:lnTo>
                    <a:pt x="676" y="317"/>
                  </a:lnTo>
                  <a:lnTo>
                    <a:pt x="664" y="307"/>
                  </a:lnTo>
                  <a:lnTo>
                    <a:pt x="661" y="297"/>
                  </a:lnTo>
                  <a:lnTo>
                    <a:pt x="661" y="296"/>
                  </a:lnTo>
                  <a:lnTo>
                    <a:pt x="660" y="294"/>
                  </a:lnTo>
                  <a:lnTo>
                    <a:pt x="658" y="291"/>
                  </a:lnTo>
                  <a:lnTo>
                    <a:pt x="657" y="288"/>
                  </a:lnTo>
                  <a:lnTo>
                    <a:pt x="655" y="284"/>
                  </a:lnTo>
                  <a:lnTo>
                    <a:pt x="654" y="281"/>
                  </a:lnTo>
                  <a:lnTo>
                    <a:pt x="653" y="279"/>
                  </a:lnTo>
                  <a:lnTo>
                    <a:pt x="653" y="279"/>
                  </a:lnTo>
                  <a:lnTo>
                    <a:pt x="650" y="276"/>
                  </a:lnTo>
                  <a:lnTo>
                    <a:pt x="649" y="273"/>
                  </a:lnTo>
                  <a:lnTo>
                    <a:pt x="647" y="268"/>
                  </a:lnTo>
                  <a:lnTo>
                    <a:pt x="647" y="264"/>
                  </a:lnTo>
                  <a:lnTo>
                    <a:pt x="646" y="260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46" y="246"/>
                  </a:lnTo>
                  <a:lnTo>
                    <a:pt x="647" y="241"/>
                  </a:lnTo>
                  <a:lnTo>
                    <a:pt x="647" y="237"/>
                  </a:lnTo>
                  <a:lnTo>
                    <a:pt x="647" y="233"/>
                  </a:lnTo>
                  <a:lnTo>
                    <a:pt x="647" y="230"/>
                  </a:lnTo>
                  <a:lnTo>
                    <a:pt x="649" y="227"/>
                  </a:lnTo>
                  <a:lnTo>
                    <a:pt x="649" y="224"/>
                  </a:lnTo>
                  <a:lnTo>
                    <a:pt x="649" y="222"/>
                  </a:lnTo>
                  <a:lnTo>
                    <a:pt x="649" y="222"/>
                  </a:lnTo>
                  <a:lnTo>
                    <a:pt x="643" y="216"/>
                  </a:lnTo>
                  <a:lnTo>
                    <a:pt x="642" y="188"/>
                  </a:lnTo>
                  <a:lnTo>
                    <a:pt x="639" y="184"/>
                  </a:lnTo>
                  <a:lnTo>
                    <a:pt x="634" y="181"/>
                  </a:lnTo>
                  <a:lnTo>
                    <a:pt x="631" y="177"/>
                  </a:lnTo>
                  <a:lnTo>
                    <a:pt x="628" y="172"/>
                  </a:lnTo>
                  <a:lnTo>
                    <a:pt x="628" y="168"/>
                  </a:lnTo>
                  <a:lnTo>
                    <a:pt x="628" y="164"/>
                  </a:lnTo>
                  <a:lnTo>
                    <a:pt x="628" y="161"/>
                  </a:lnTo>
                  <a:lnTo>
                    <a:pt x="628" y="158"/>
                  </a:lnTo>
                  <a:lnTo>
                    <a:pt x="630" y="156"/>
                  </a:lnTo>
                  <a:lnTo>
                    <a:pt x="628" y="150"/>
                  </a:lnTo>
                  <a:lnTo>
                    <a:pt x="628" y="142"/>
                  </a:lnTo>
                  <a:lnTo>
                    <a:pt x="627" y="138"/>
                  </a:lnTo>
                  <a:lnTo>
                    <a:pt x="624" y="134"/>
                  </a:lnTo>
                  <a:lnTo>
                    <a:pt x="623" y="131"/>
                  </a:lnTo>
                  <a:lnTo>
                    <a:pt x="622" y="129"/>
                  </a:lnTo>
                  <a:lnTo>
                    <a:pt x="620" y="128"/>
                  </a:lnTo>
                  <a:lnTo>
                    <a:pt x="619" y="126"/>
                  </a:lnTo>
                  <a:lnTo>
                    <a:pt x="614" y="124"/>
                  </a:lnTo>
                  <a:lnTo>
                    <a:pt x="613" y="121"/>
                  </a:lnTo>
                  <a:lnTo>
                    <a:pt x="610" y="117"/>
                  </a:lnTo>
                  <a:lnTo>
                    <a:pt x="610" y="112"/>
                  </a:lnTo>
                  <a:lnTo>
                    <a:pt x="609" y="109"/>
                  </a:lnTo>
                  <a:lnTo>
                    <a:pt x="609" y="105"/>
                  </a:lnTo>
                  <a:lnTo>
                    <a:pt x="609" y="104"/>
                  </a:lnTo>
                  <a:lnTo>
                    <a:pt x="609" y="104"/>
                  </a:lnTo>
                  <a:lnTo>
                    <a:pt x="604" y="93"/>
                  </a:lnTo>
                  <a:lnTo>
                    <a:pt x="604" y="93"/>
                  </a:lnTo>
                  <a:lnTo>
                    <a:pt x="604" y="93"/>
                  </a:lnTo>
                  <a:lnTo>
                    <a:pt x="603" y="91"/>
                  </a:lnTo>
                  <a:lnTo>
                    <a:pt x="601" y="88"/>
                  </a:lnTo>
                  <a:lnTo>
                    <a:pt x="598" y="87"/>
                  </a:lnTo>
                  <a:lnTo>
                    <a:pt x="597" y="84"/>
                  </a:lnTo>
                  <a:lnTo>
                    <a:pt x="594" y="79"/>
                  </a:lnTo>
                  <a:lnTo>
                    <a:pt x="592" y="78"/>
                  </a:lnTo>
                  <a:lnTo>
                    <a:pt x="590" y="75"/>
                  </a:lnTo>
                  <a:lnTo>
                    <a:pt x="589" y="74"/>
                  </a:lnTo>
                  <a:lnTo>
                    <a:pt x="587" y="71"/>
                  </a:lnTo>
                  <a:lnTo>
                    <a:pt x="586" y="66"/>
                  </a:lnTo>
                  <a:lnTo>
                    <a:pt x="583" y="62"/>
                  </a:lnTo>
                  <a:lnTo>
                    <a:pt x="580" y="58"/>
                  </a:lnTo>
                  <a:lnTo>
                    <a:pt x="575" y="54"/>
                  </a:lnTo>
                  <a:lnTo>
                    <a:pt x="571" y="51"/>
                  </a:lnTo>
                  <a:lnTo>
                    <a:pt x="564" y="49"/>
                  </a:lnTo>
                  <a:lnTo>
                    <a:pt x="562" y="49"/>
                  </a:lnTo>
                  <a:lnTo>
                    <a:pt x="560" y="48"/>
                  </a:lnTo>
                  <a:lnTo>
                    <a:pt x="557" y="46"/>
                  </a:lnTo>
                  <a:lnTo>
                    <a:pt x="557" y="45"/>
                  </a:lnTo>
                  <a:lnTo>
                    <a:pt x="548" y="45"/>
                  </a:lnTo>
                  <a:lnTo>
                    <a:pt x="538" y="36"/>
                  </a:lnTo>
                  <a:lnTo>
                    <a:pt x="494" y="36"/>
                  </a:lnTo>
                  <a:lnTo>
                    <a:pt x="494" y="38"/>
                  </a:lnTo>
                  <a:lnTo>
                    <a:pt x="493" y="39"/>
                  </a:lnTo>
                  <a:lnTo>
                    <a:pt x="490" y="42"/>
                  </a:lnTo>
                  <a:lnTo>
                    <a:pt x="487" y="44"/>
                  </a:lnTo>
                  <a:lnTo>
                    <a:pt x="484" y="46"/>
                  </a:lnTo>
                  <a:lnTo>
                    <a:pt x="481" y="46"/>
                  </a:lnTo>
                  <a:lnTo>
                    <a:pt x="478" y="45"/>
                  </a:lnTo>
                  <a:lnTo>
                    <a:pt x="475" y="42"/>
                  </a:lnTo>
                  <a:lnTo>
                    <a:pt x="473" y="41"/>
                  </a:lnTo>
                  <a:lnTo>
                    <a:pt x="469" y="38"/>
                  </a:lnTo>
                  <a:lnTo>
                    <a:pt x="464" y="35"/>
                  </a:lnTo>
                  <a:lnTo>
                    <a:pt x="458" y="31"/>
                  </a:lnTo>
                  <a:lnTo>
                    <a:pt x="452" y="27"/>
                  </a:lnTo>
                  <a:lnTo>
                    <a:pt x="446" y="24"/>
                  </a:lnTo>
                  <a:lnTo>
                    <a:pt x="442" y="21"/>
                  </a:lnTo>
                  <a:lnTo>
                    <a:pt x="440" y="21"/>
                  </a:lnTo>
                  <a:lnTo>
                    <a:pt x="439" y="21"/>
                  </a:lnTo>
                  <a:lnTo>
                    <a:pt x="436" y="21"/>
                  </a:lnTo>
                  <a:lnTo>
                    <a:pt x="433" y="19"/>
                  </a:lnTo>
                  <a:lnTo>
                    <a:pt x="425" y="19"/>
                  </a:lnTo>
                  <a:lnTo>
                    <a:pt x="416" y="19"/>
                  </a:lnTo>
                  <a:lnTo>
                    <a:pt x="406" y="19"/>
                  </a:lnTo>
                  <a:lnTo>
                    <a:pt x="395" y="19"/>
                  </a:lnTo>
                  <a:lnTo>
                    <a:pt x="380" y="18"/>
                  </a:lnTo>
                  <a:lnTo>
                    <a:pt x="367" y="18"/>
                  </a:lnTo>
                  <a:lnTo>
                    <a:pt x="352" y="16"/>
                  </a:lnTo>
                  <a:lnTo>
                    <a:pt x="336" y="16"/>
                  </a:lnTo>
                  <a:lnTo>
                    <a:pt x="319" y="16"/>
                  </a:lnTo>
                  <a:lnTo>
                    <a:pt x="302" y="15"/>
                  </a:lnTo>
                  <a:lnTo>
                    <a:pt x="283" y="15"/>
                  </a:lnTo>
                  <a:lnTo>
                    <a:pt x="265" y="13"/>
                  </a:lnTo>
                  <a:lnTo>
                    <a:pt x="246" y="12"/>
                  </a:lnTo>
                  <a:lnTo>
                    <a:pt x="227" y="12"/>
                  </a:lnTo>
                  <a:lnTo>
                    <a:pt x="209" y="11"/>
                  </a:lnTo>
                  <a:lnTo>
                    <a:pt x="190" y="11"/>
                  </a:lnTo>
                  <a:lnTo>
                    <a:pt x="171" y="9"/>
                  </a:lnTo>
                  <a:lnTo>
                    <a:pt x="153" y="9"/>
                  </a:lnTo>
                  <a:lnTo>
                    <a:pt x="135" y="8"/>
                  </a:lnTo>
                  <a:lnTo>
                    <a:pt x="120" y="6"/>
                  </a:lnTo>
                  <a:lnTo>
                    <a:pt x="102" y="6"/>
                  </a:lnTo>
                  <a:lnTo>
                    <a:pt x="89" y="5"/>
                  </a:lnTo>
                  <a:lnTo>
                    <a:pt x="74" y="5"/>
                  </a:lnTo>
                  <a:lnTo>
                    <a:pt x="62" y="3"/>
                  </a:lnTo>
                  <a:lnTo>
                    <a:pt x="50" y="2"/>
                  </a:lnTo>
                  <a:lnTo>
                    <a:pt x="39" y="2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63" y="221"/>
                  </a:lnTo>
                  <a:lnTo>
                    <a:pt x="157" y="327"/>
                  </a:lnTo>
                  <a:lnTo>
                    <a:pt x="165" y="328"/>
                  </a:lnTo>
                  <a:lnTo>
                    <a:pt x="176" y="330"/>
                  </a:lnTo>
                  <a:lnTo>
                    <a:pt x="188" y="331"/>
                  </a:lnTo>
                  <a:lnTo>
                    <a:pt x="201" y="331"/>
                  </a:lnTo>
                  <a:lnTo>
                    <a:pt x="218" y="333"/>
                  </a:lnTo>
                  <a:lnTo>
                    <a:pt x="234" y="334"/>
                  </a:lnTo>
                  <a:lnTo>
                    <a:pt x="251" y="334"/>
                  </a:lnTo>
                  <a:lnTo>
                    <a:pt x="272" y="336"/>
                  </a:lnTo>
                  <a:lnTo>
                    <a:pt x="292" y="336"/>
                  </a:lnTo>
                  <a:lnTo>
                    <a:pt x="313" y="337"/>
                  </a:lnTo>
                  <a:lnTo>
                    <a:pt x="335" y="337"/>
                  </a:lnTo>
                  <a:lnTo>
                    <a:pt x="358" y="337"/>
                  </a:lnTo>
                  <a:lnTo>
                    <a:pt x="380" y="339"/>
                  </a:lnTo>
                  <a:lnTo>
                    <a:pt x="404" y="339"/>
                  </a:lnTo>
                  <a:lnTo>
                    <a:pt x="427" y="339"/>
                  </a:lnTo>
                  <a:lnTo>
                    <a:pt x="449" y="339"/>
                  </a:lnTo>
                  <a:lnTo>
                    <a:pt x="472" y="340"/>
                  </a:lnTo>
                  <a:lnTo>
                    <a:pt x="496" y="340"/>
                  </a:lnTo>
                  <a:lnTo>
                    <a:pt x="517" y="340"/>
                  </a:lnTo>
                  <a:lnTo>
                    <a:pt x="538" y="340"/>
                  </a:lnTo>
                  <a:lnTo>
                    <a:pt x="559" y="340"/>
                  </a:lnTo>
                  <a:lnTo>
                    <a:pt x="578" y="340"/>
                  </a:lnTo>
                  <a:lnTo>
                    <a:pt x="595" y="342"/>
                  </a:lnTo>
                  <a:lnTo>
                    <a:pt x="613" y="342"/>
                  </a:lnTo>
                  <a:lnTo>
                    <a:pt x="628" y="342"/>
                  </a:lnTo>
                  <a:lnTo>
                    <a:pt x="643" y="342"/>
                  </a:lnTo>
                  <a:lnTo>
                    <a:pt x="655" y="342"/>
                  </a:lnTo>
                  <a:lnTo>
                    <a:pt x="666" y="342"/>
                  </a:lnTo>
                  <a:lnTo>
                    <a:pt x="675" y="342"/>
                  </a:lnTo>
                  <a:lnTo>
                    <a:pt x="680" y="342"/>
                  </a:lnTo>
                  <a:lnTo>
                    <a:pt x="685" y="342"/>
                  </a:lnTo>
                  <a:lnTo>
                    <a:pt x="686" y="342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6" name="Freeform 30"/>
            <p:cNvSpPr>
              <a:spLocks/>
            </p:cNvSpPr>
            <p:nvPr/>
          </p:nvSpPr>
          <p:spPr bwMode="auto">
            <a:xfrm>
              <a:off x="1809252" y="4487091"/>
              <a:ext cx="461153" cy="230377"/>
            </a:xfrm>
            <a:custGeom>
              <a:avLst/>
              <a:gdLst>
                <a:gd name="T0" fmla="*/ 664 w 687"/>
                <a:gd name="T1" fmla="*/ 307 h 343"/>
                <a:gd name="T2" fmla="*/ 661 w 687"/>
                <a:gd name="T3" fmla="*/ 296 h 343"/>
                <a:gd name="T4" fmla="*/ 657 w 687"/>
                <a:gd name="T5" fmla="*/ 288 h 343"/>
                <a:gd name="T6" fmla="*/ 653 w 687"/>
                <a:gd name="T7" fmla="*/ 279 h 343"/>
                <a:gd name="T8" fmla="*/ 650 w 687"/>
                <a:gd name="T9" fmla="*/ 276 h 343"/>
                <a:gd name="T10" fmla="*/ 647 w 687"/>
                <a:gd name="T11" fmla="*/ 264 h 343"/>
                <a:gd name="T12" fmla="*/ 646 w 687"/>
                <a:gd name="T13" fmla="*/ 251 h 343"/>
                <a:gd name="T14" fmla="*/ 647 w 687"/>
                <a:gd name="T15" fmla="*/ 237 h 343"/>
                <a:gd name="T16" fmla="*/ 649 w 687"/>
                <a:gd name="T17" fmla="*/ 227 h 343"/>
                <a:gd name="T18" fmla="*/ 649 w 687"/>
                <a:gd name="T19" fmla="*/ 222 h 343"/>
                <a:gd name="T20" fmla="*/ 639 w 687"/>
                <a:gd name="T21" fmla="*/ 184 h 343"/>
                <a:gd name="T22" fmla="*/ 631 w 687"/>
                <a:gd name="T23" fmla="*/ 177 h 343"/>
                <a:gd name="T24" fmla="*/ 628 w 687"/>
                <a:gd name="T25" fmla="*/ 164 h 343"/>
                <a:gd name="T26" fmla="*/ 630 w 687"/>
                <a:gd name="T27" fmla="*/ 156 h 343"/>
                <a:gd name="T28" fmla="*/ 628 w 687"/>
                <a:gd name="T29" fmla="*/ 142 h 343"/>
                <a:gd name="T30" fmla="*/ 623 w 687"/>
                <a:gd name="T31" fmla="*/ 131 h 343"/>
                <a:gd name="T32" fmla="*/ 619 w 687"/>
                <a:gd name="T33" fmla="*/ 126 h 343"/>
                <a:gd name="T34" fmla="*/ 613 w 687"/>
                <a:gd name="T35" fmla="*/ 121 h 343"/>
                <a:gd name="T36" fmla="*/ 609 w 687"/>
                <a:gd name="T37" fmla="*/ 109 h 343"/>
                <a:gd name="T38" fmla="*/ 609 w 687"/>
                <a:gd name="T39" fmla="*/ 104 h 343"/>
                <a:gd name="T40" fmla="*/ 604 w 687"/>
                <a:gd name="T41" fmla="*/ 93 h 343"/>
                <a:gd name="T42" fmla="*/ 601 w 687"/>
                <a:gd name="T43" fmla="*/ 88 h 343"/>
                <a:gd name="T44" fmla="*/ 594 w 687"/>
                <a:gd name="T45" fmla="*/ 79 h 343"/>
                <a:gd name="T46" fmla="*/ 590 w 687"/>
                <a:gd name="T47" fmla="*/ 75 h 343"/>
                <a:gd name="T48" fmla="*/ 586 w 687"/>
                <a:gd name="T49" fmla="*/ 66 h 343"/>
                <a:gd name="T50" fmla="*/ 575 w 687"/>
                <a:gd name="T51" fmla="*/ 54 h 343"/>
                <a:gd name="T52" fmla="*/ 564 w 687"/>
                <a:gd name="T53" fmla="*/ 49 h 343"/>
                <a:gd name="T54" fmla="*/ 557 w 687"/>
                <a:gd name="T55" fmla="*/ 46 h 343"/>
                <a:gd name="T56" fmla="*/ 538 w 687"/>
                <a:gd name="T57" fmla="*/ 36 h 343"/>
                <a:gd name="T58" fmla="*/ 494 w 687"/>
                <a:gd name="T59" fmla="*/ 38 h 343"/>
                <a:gd name="T60" fmla="*/ 487 w 687"/>
                <a:gd name="T61" fmla="*/ 44 h 343"/>
                <a:gd name="T62" fmla="*/ 478 w 687"/>
                <a:gd name="T63" fmla="*/ 45 h 343"/>
                <a:gd name="T64" fmla="*/ 473 w 687"/>
                <a:gd name="T65" fmla="*/ 41 h 343"/>
                <a:gd name="T66" fmla="*/ 458 w 687"/>
                <a:gd name="T67" fmla="*/ 31 h 343"/>
                <a:gd name="T68" fmla="*/ 442 w 687"/>
                <a:gd name="T69" fmla="*/ 21 h 343"/>
                <a:gd name="T70" fmla="*/ 439 w 687"/>
                <a:gd name="T71" fmla="*/ 21 h 343"/>
                <a:gd name="T72" fmla="*/ 425 w 687"/>
                <a:gd name="T73" fmla="*/ 19 h 343"/>
                <a:gd name="T74" fmla="*/ 395 w 687"/>
                <a:gd name="T75" fmla="*/ 19 h 343"/>
                <a:gd name="T76" fmla="*/ 352 w 687"/>
                <a:gd name="T77" fmla="*/ 16 h 343"/>
                <a:gd name="T78" fmla="*/ 302 w 687"/>
                <a:gd name="T79" fmla="*/ 15 h 343"/>
                <a:gd name="T80" fmla="*/ 246 w 687"/>
                <a:gd name="T81" fmla="*/ 12 h 343"/>
                <a:gd name="T82" fmla="*/ 190 w 687"/>
                <a:gd name="T83" fmla="*/ 11 h 343"/>
                <a:gd name="T84" fmla="*/ 135 w 687"/>
                <a:gd name="T85" fmla="*/ 8 h 343"/>
                <a:gd name="T86" fmla="*/ 89 w 687"/>
                <a:gd name="T87" fmla="*/ 5 h 343"/>
                <a:gd name="T88" fmla="*/ 50 w 687"/>
                <a:gd name="T89" fmla="*/ 2 h 343"/>
                <a:gd name="T90" fmla="*/ 26 w 687"/>
                <a:gd name="T91" fmla="*/ 0 h 343"/>
                <a:gd name="T92" fmla="*/ 0 w 687"/>
                <a:gd name="T93" fmla="*/ 211 h 343"/>
                <a:gd name="T94" fmla="*/ 157 w 687"/>
                <a:gd name="T95" fmla="*/ 327 h 343"/>
                <a:gd name="T96" fmla="*/ 188 w 687"/>
                <a:gd name="T97" fmla="*/ 331 h 343"/>
                <a:gd name="T98" fmla="*/ 234 w 687"/>
                <a:gd name="T99" fmla="*/ 334 h 343"/>
                <a:gd name="T100" fmla="*/ 292 w 687"/>
                <a:gd name="T101" fmla="*/ 336 h 343"/>
                <a:gd name="T102" fmla="*/ 358 w 687"/>
                <a:gd name="T103" fmla="*/ 337 h 343"/>
                <a:gd name="T104" fmla="*/ 427 w 687"/>
                <a:gd name="T105" fmla="*/ 339 h 343"/>
                <a:gd name="T106" fmla="*/ 496 w 687"/>
                <a:gd name="T107" fmla="*/ 340 h 343"/>
                <a:gd name="T108" fmla="*/ 559 w 687"/>
                <a:gd name="T109" fmla="*/ 340 h 343"/>
                <a:gd name="T110" fmla="*/ 613 w 687"/>
                <a:gd name="T111" fmla="*/ 342 h 343"/>
                <a:gd name="T112" fmla="*/ 655 w 687"/>
                <a:gd name="T113" fmla="*/ 342 h 343"/>
                <a:gd name="T114" fmla="*/ 680 w 687"/>
                <a:gd name="T115" fmla="*/ 34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87" h="343">
                  <a:moveTo>
                    <a:pt x="686" y="342"/>
                  </a:moveTo>
                  <a:lnTo>
                    <a:pt x="676" y="317"/>
                  </a:lnTo>
                  <a:lnTo>
                    <a:pt x="664" y="307"/>
                  </a:lnTo>
                  <a:lnTo>
                    <a:pt x="661" y="297"/>
                  </a:lnTo>
                  <a:lnTo>
                    <a:pt x="661" y="297"/>
                  </a:lnTo>
                  <a:lnTo>
                    <a:pt x="661" y="296"/>
                  </a:lnTo>
                  <a:lnTo>
                    <a:pt x="660" y="294"/>
                  </a:lnTo>
                  <a:lnTo>
                    <a:pt x="658" y="291"/>
                  </a:lnTo>
                  <a:lnTo>
                    <a:pt x="657" y="288"/>
                  </a:lnTo>
                  <a:lnTo>
                    <a:pt x="655" y="284"/>
                  </a:lnTo>
                  <a:lnTo>
                    <a:pt x="654" y="281"/>
                  </a:lnTo>
                  <a:lnTo>
                    <a:pt x="653" y="279"/>
                  </a:lnTo>
                  <a:lnTo>
                    <a:pt x="653" y="279"/>
                  </a:lnTo>
                  <a:lnTo>
                    <a:pt x="653" y="279"/>
                  </a:lnTo>
                  <a:lnTo>
                    <a:pt x="650" y="276"/>
                  </a:lnTo>
                  <a:lnTo>
                    <a:pt x="649" y="273"/>
                  </a:lnTo>
                  <a:lnTo>
                    <a:pt x="647" y="268"/>
                  </a:lnTo>
                  <a:lnTo>
                    <a:pt x="647" y="264"/>
                  </a:lnTo>
                  <a:lnTo>
                    <a:pt x="646" y="260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46" y="246"/>
                  </a:lnTo>
                  <a:lnTo>
                    <a:pt x="647" y="241"/>
                  </a:lnTo>
                  <a:lnTo>
                    <a:pt x="647" y="237"/>
                  </a:lnTo>
                  <a:lnTo>
                    <a:pt x="647" y="233"/>
                  </a:lnTo>
                  <a:lnTo>
                    <a:pt x="647" y="230"/>
                  </a:lnTo>
                  <a:lnTo>
                    <a:pt x="649" y="227"/>
                  </a:lnTo>
                  <a:lnTo>
                    <a:pt x="649" y="224"/>
                  </a:lnTo>
                  <a:lnTo>
                    <a:pt x="649" y="222"/>
                  </a:lnTo>
                  <a:lnTo>
                    <a:pt x="649" y="222"/>
                  </a:lnTo>
                  <a:lnTo>
                    <a:pt x="643" y="216"/>
                  </a:lnTo>
                  <a:lnTo>
                    <a:pt x="642" y="188"/>
                  </a:lnTo>
                  <a:lnTo>
                    <a:pt x="639" y="184"/>
                  </a:lnTo>
                  <a:lnTo>
                    <a:pt x="639" y="184"/>
                  </a:lnTo>
                  <a:lnTo>
                    <a:pt x="634" y="181"/>
                  </a:lnTo>
                  <a:lnTo>
                    <a:pt x="631" y="177"/>
                  </a:lnTo>
                  <a:lnTo>
                    <a:pt x="628" y="172"/>
                  </a:lnTo>
                  <a:lnTo>
                    <a:pt x="628" y="168"/>
                  </a:lnTo>
                  <a:lnTo>
                    <a:pt x="628" y="164"/>
                  </a:lnTo>
                  <a:lnTo>
                    <a:pt x="628" y="161"/>
                  </a:lnTo>
                  <a:lnTo>
                    <a:pt x="628" y="158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28" y="150"/>
                  </a:lnTo>
                  <a:lnTo>
                    <a:pt x="628" y="142"/>
                  </a:lnTo>
                  <a:lnTo>
                    <a:pt x="627" y="138"/>
                  </a:lnTo>
                  <a:lnTo>
                    <a:pt x="624" y="134"/>
                  </a:lnTo>
                  <a:lnTo>
                    <a:pt x="623" y="131"/>
                  </a:lnTo>
                  <a:lnTo>
                    <a:pt x="622" y="129"/>
                  </a:lnTo>
                  <a:lnTo>
                    <a:pt x="620" y="128"/>
                  </a:lnTo>
                  <a:lnTo>
                    <a:pt x="619" y="126"/>
                  </a:lnTo>
                  <a:lnTo>
                    <a:pt x="619" y="126"/>
                  </a:lnTo>
                  <a:lnTo>
                    <a:pt x="614" y="124"/>
                  </a:lnTo>
                  <a:lnTo>
                    <a:pt x="613" y="121"/>
                  </a:lnTo>
                  <a:lnTo>
                    <a:pt x="610" y="117"/>
                  </a:lnTo>
                  <a:lnTo>
                    <a:pt x="610" y="112"/>
                  </a:lnTo>
                  <a:lnTo>
                    <a:pt x="609" y="109"/>
                  </a:lnTo>
                  <a:lnTo>
                    <a:pt x="609" y="105"/>
                  </a:lnTo>
                  <a:lnTo>
                    <a:pt x="609" y="104"/>
                  </a:lnTo>
                  <a:lnTo>
                    <a:pt x="609" y="104"/>
                  </a:lnTo>
                  <a:lnTo>
                    <a:pt x="604" y="93"/>
                  </a:lnTo>
                  <a:lnTo>
                    <a:pt x="604" y="93"/>
                  </a:lnTo>
                  <a:lnTo>
                    <a:pt x="604" y="93"/>
                  </a:lnTo>
                  <a:lnTo>
                    <a:pt x="604" y="93"/>
                  </a:lnTo>
                  <a:lnTo>
                    <a:pt x="603" y="91"/>
                  </a:lnTo>
                  <a:lnTo>
                    <a:pt x="601" y="88"/>
                  </a:lnTo>
                  <a:lnTo>
                    <a:pt x="598" y="87"/>
                  </a:lnTo>
                  <a:lnTo>
                    <a:pt x="597" y="84"/>
                  </a:lnTo>
                  <a:lnTo>
                    <a:pt x="594" y="79"/>
                  </a:lnTo>
                  <a:lnTo>
                    <a:pt x="592" y="78"/>
                  </a:lnTo>
                  <a:lnTo>
                    <a:pt x="590" y="75"/>
                  </a:lnTo>
                  <a:lnTo>
                    <a:pt x="590" y="75"/>
                  </a:lnTo>
                  <a:lnTo>
                    <a:pt x="589" y="74"/>
                  </a:lnTo>
                  <a:lnTo>
                    <a:pt x="587" y="71"/>
                  </a:lnTo>
                  <a:lnTo>
                    <a:pt x="586" y="66"/>
                  </a:lnTo>
                  <a:lnTo>
                    <a:pt x="583" y="62"/>
                  </a:lnTo>
                  <a:lnTo>
                    <a:pt x="580" y="58"/>
                  </a:lnTo>
                  <a:lnTo>
                    <a:pt x="575" y="54"/>
                  </a:lnTo>
                  <a:lnTo>
                    <a:pt x="571" y="51"/>
                  </a:lnTo>
                  <a:lnTo>
                    <a:pt x="564" y="49"/>
                  </a:lnTo>
                  <a:lnTo>
                    <a:pt x="564" y="49"/>
                  </a:lnTo>
                  <a:lnTo>
                    <a:pt x="562" y="49"/>
                  </a:lnTo>
                  <a:lnTo>
                    <a:pt x="560" y="48"/>
                  </a:lnTo>
                  <a:lnTo>
                    <a:pt x="557" y="46"/>
                  </a:lnTo>
                  <a:lnTo>
                    <a:pt x="557" y="45"/>
                  </a:lnTo>
                  <a:lnTo>
                    <a:pt x="548" y="45"/>
                  </a:lnTo>
                  <a:lnTo>
                    <a:pt x="538" y="36"/>
                  </a:lnTo>
                  <a:lnTo>
                    <a:pt x="494" y="36"/>
                  </a:lnTo>
                  <a:lnTo>
                    <a:pt x="494" y="36"/>
                  </a:lnTo>
                  <a:lnTo>
                    <a:pt x="494" y="38"/>
                  </a:lnTo>
                  <a:lnTo>
                    <a:pt x="493" y="39"/>
                  </a:lnTo>
                  <a:lnTo>
                    <a:pt x="490" y="42"/>
                  </a:lnTo>
                  <a:lnTo>
                    <a:pt x="487" y="44"/>
                  </a:lnTo>
                  <a:lnTo>
                    <a:pt x="484" y="46"/>
                  </a:lnTo>
                  <a:lnTo>
                    <a:pt x="481" y="46"/>
                  </a:lnTo>
                  <a:lnTo>
                    <a:pt x="478" y="45"/>
                  </a:lnTo>
                  <a:lnTo>
                    <a:pt x="475" y="42"/>
                  </a:lnTo>
                  <a:lnTo>
                    <a:pt x="475" y="42"/>
                  </a:lnTo>
                  <a:lnTo>
                    <a:pt x="473" y="41"/>
                  </a:lnTo>
                  <a:lnTo>
                    <a:pt x="469" y="38"/>
                  </a:lnTo>
                  <a:lnTo>
                    <a:pt x="464" y="35"/>
                  </a:lnTo>
                  <a:lnTo>
                    <a:pt x="458" y="31"/>
                  </a:lnTo>
                  <a:lnTo>
                    <a:pt x="452" y="27"/>
                  </a:lnTo>
                  <a:lnTo>
                    <a:pt x="446" y="24"/>
                  </a:lnTo>
                  <a:lnTo>
                    <a:pt x="442" y="21"/>
                  </a:lnTo>
                  <a:lnTo>
                    <a:pt x="440" y="21"/>
                  </a:lnTo>
                  <a:lnTo>
                    <a:pt x="440" y="21"/>
                  </a:lnTo>
                  <a:lnTo>
                    <a:pt x="439" y="21"/>
                  </a:lnTo>
                  <a:lnTo>
                    <a:pt x="436" y="21"/>
                  </a:lnTo>
                  <a:lnTo>
                    <a:pt x="433" y="19"/>
                  </a:lnTo>
                  <a:lnTo>
                    <a:pt x="425" y="19"/>
                  </a:lnTo>
                  <a:lnTo>
                    <a:pt x="416" y="19"/>
                  </a:lnTo>
                  <a:lnTo>
                    <a:pt x="406" y="19"/>
                  </a:lnTo>
                  <a:lnTo>
                    <a:pt x="395" y="19"/>
                  </a:lnTo>
                  <a:lnTo>
                    <a:pt x="380" y="18"/>
                  </a:lnTo>
                  <a:lnTo>
                    <a:pt x="367" y="18"/>
                  </a:lnTo>
                  <a:lnTo>
                    <a:pt x="352" y="16"/>
                  </a:lnTo>
                  <a:lnTo>
                    <a:pt x="336" y="16"/>
                  </a:lnTo>
                  <a:lnTo>
                    <a:pt x="319" y="16"/>
                  </a:lnTo>
                  <a:lnTo>
                    <a:pt x="302" y="15"/>
                  </a:lnTo>
                  <a:lnTo>
                    <a:pt x="283" y="15"/>
                  </a:lnTo>
                  <a:lnTo>
                    <a:pt x="265" y="13"/>
                  </a:lnTo>
                  <a:lnTo>
                    <a:pt x="246" y="12"/>
                  </a:lnTo>
                  <a:lnTo>
                    <a:pt x="227" y="12"/>
                  </a:lnTo>
                  <a:lnTo>
                    <a:pt x="209" y="11"/>
                  </a:lnTo>
                  <a:lnTo>
                    <a:pt x="190" y="11"/>
                  </a:lnTo>
                  <a:lnTo>
                    <a:pt x="171" y="9"/>
                  </a:lnTo>
                  <a:lnTo>
                    <a:pt x="153" y="9"/>
                  </a:lnTo>
                  <a:lnTo>
                    <a:pt x="135" y="8"/>
                  </a:lnTo>
                  <a:lnTo>
                    <a:pt x="120" y="6"/>
                  </a:lnTo>
                  <a:lnTo>
                    <a:pt x="102" y="6"/>
                  </a:lnTo>
                  <a:lnTo>
                    <a:pt x="89" y="5"/>
                  </a:lnTo>
                  <a:lnTo>
                    <a:pt x="74" y="5"/>
                  </a:lnTo>
                  <a:lnTo>
                    <a:pt x="62" y="3"/>
                  </a:lnTo>
                  <a:lnTo>
                    <a:pt x="50" y="2"/>
                  </a:lnTo>
                  <a:lnTo>
                    <a:pt x="39" y="2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163" y="221"/>
                  </a:lnTo>
                  <a:lnTo>
                    <a:pt x="157" y="327"/>
                  </a:lnTo>
                  <a:lnTo>
                    <a:pt x="157" y="327"/>
                  </a:lnTo>
                  <a:lnTo>
                    <a:pt x="165" y="328"/>
                  </a:lnTo>
                  <a:lnTo>
                    <a:pt x="176" y="330"/>
                  </a:lnTo>
                  <a:lnTo>
                    <a:pt x="188" y="331"/>
                  </a:lnTo>
                  <a:lnTo>
                    <a:pt x="201" y="331"/>
                  </a:lnTo>
                  <a:lnTo>
                    <a:pt x="218" y="333"/>
                  </a:lnTo>
                  <a:lnTo>
                    <a:pt x="234" y="334"/>
                  </a:lnTo>
                  <a:lnTo>
                    <a:pt x="251" y="334"/>
                  </a:lnTo>
                  <a:lnTo>
                    <a:pt x="272" y="336"/>
                  </a:lnTo>
                  <a:lnTo>
                    <a:pt x="292" y="336"/>
                  </a:lnTo>
                  <a:lnTo>
                    <a:pt x="313" y="337"/>
                  </a:lnTo>
                  <a:lnTo>
                    <a:pt x="335" y="337"/>
                  </a:lnTo>
                  <a:lnTo>
                    <a:pt x="358" y="337"/>
                  </a:lnTo>
                  <a:lnTo>
                    <a:pt x="380" y="339"/>
                  </a:lnTo>
                  <a:lnTo>
                    <a:pt x="404" y="339"/>
                  </a:lnTo>
                  <a:lnTo>
                    <a:pt x="427" y="339"/>
                  </a:lnTo>
                  <a:lnTo>
                    <a:pt x="449" y="339"/>
                  </a:lnTo>
                  <a:lnTo>
                    <a:pt x="472" y="340"/>
                  </a:lnTo>
                  <a:lnTo>
                    <a:pt x="496" y="340"/>
                  </a:lnTo>
                  <a:lnTo>
                    <a:pt x="517" y="340"/>
                  </a:lnTo>
                  <a:lnTo>
                    <a:pt x="538" y="340"/>
                  </a:lnTo>
                  <a:lnTo>
                    <a:pt x="559" y="340"/>
                  </a:lnTo>
                  <a:lnTo>
                    <a:pt x="578" y="340"/>
                  </a:lnTo>
                  <a:lnTo>
                    <a:pt x="595" y="342"/>
                  </a:lnTo>
                  <a:lnTo>
                    <a:pt x="613" y="342"/>
                  </a:lnTo>
                  <a:lnTo>
                    <a:pt x="628" y="342"/>
                  </a:lnTo>
                  <a:lnTo>
                    <a:pt x="643" y="342"/>
                  </a:lnTo>
                  <a:lnTo>
                    <a:pt x="655" y="342"/>
                  </a:lnTo>
                  <a:lnTo>
                    <a:pt x="666" y="342"/>
                  </a:lnTo>
                  <a:lnTo>
                    <a:pt x="675" y="342"/>
                  </a:lnTo>
                  <a:lnTo>
                    <a:pt x="680" y="342"/>
                  </a:lnTo>
                  <a:lnTo>
                    <a:pt x="685" y="342"/>
                  </a:lnTo>
                  <a:lnTo>
                    <a:pt x="686" y="342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7" name="Freeform 31"/>
            <p:cNvSpPr>
              <a:spLocks/>
            </p:cNvSpPr>
            <p:nvPr/>
          </p:nvSpPr>
          <p:spPr bwMode="auto">
            <a:xfrm>
              <a:off x="1899674" y="4706911"/>
              <a:ext cx="414133" cy="223546"/>
            </a:xfrm>
            <a:custGeom>
              <a:avLst/>
              <a:gdLst>
                <a:gd name="T0" fmla="*/ 23 w 617"/>
                <a:gd name="T1" fmla="*/ 0 h 333"/>
                <a:gd name="T2" fmla="*/ 41 w 617"/>
                <a:gd name="T3" fmla="*/ 2 h 333"/>
                <a:gd name="T4" fmla="*/ 66 w 617"/>
                <a:gd name="T5" fmla="*/ 3 h 333"/>
                <a:gd name="T6" fmla="*/ 99 w 617"/>
                <a:gd name="T7" fmla="*/ 6 h 333"/>
                <a:gd name="T8" fmla="*/ 137 w 617"/>
                <a:gd name="T9" fmla="*/ 8 h 333"/>
                <a:gd name="T10" fmla="*/ 179 w 617"/>
                <a:gd name="T11" fmla="*/ 9 h 333"/>
                <a:gd name="T12" fmla="*/ 223 w 617"/>
                <a:gd name="T13" fmla="*/ 9 h 333"/>
                <a:gd name="T14" fmla="*/ 269 w 617"/>
                <a:gd name="T15" fmla="*/ 11 h 333"/>
                <a:gd name="T16" fmla="*/ 314 w 617"/>
                <a:gd name="T17" fmla="*/ 11 h 333"/>
                <a:gd name="T18" fmla="*/ 361 w 617"/>
                <a:gd name="T19" fmla="*/ 12 h 333"/>
                <a:gd name="T20" fmla="*/ 403 w 617"/>
                <a:gd name="T21" fmla="*/ 12 h 333"/>
                <a:gd name="T22" fmla="*/ 443 w 617"/>
                <a:gd name="T23" fmla="*/ 12 h 333"/>
                <a:gd name="T24" fmla="*/ 478 w 617"/>
                <a:gd name="T25" fmla="*/ 14 h 333"/>
                <a:gd name="T26" fmla="*/ 508 w 617"/>
                <a:gd name="T27" fmla="*/ 14 h 333"/>
                <a:gd name="T28" fmla="*/ 531 w 617"/>
                <a:gd name="T29" fmla="*/ 14 h 333"/>
                <a:gd name="T30" fmla="*/ 545 w 617"/>
                <a:gd name="T31" fmla="*/ 14 h 333"/>
                <a:gd name="T32" fmla="*/ 551 w 617"/>
                <a:gd name="T33" fmla="*/ 14 h 333"/>
                <a:gd name="T34" fmla="*/ 559 w 617"/>
                <a:gd name="T35" fmla="*/ 18 h 333"/>
                <a:gd name="T36" fmla="*/ 578 w 617"/>
                <a:gd name="T37" fmla="*/ 26 h 333"/>
                <a:gd name="T38" fmla="*/ 581 w 617"/>
                <a:gd name="T39" fmla="*/ 27 h 333"/>
                <a:gd name="T40" fmla="*/ 586 w 617"/>
                <a:gd name="T41" fmla="*/ 30 h 333"/>
                <a:gd name="T42" fmla="*/ 589 w 617"/>
                <a:gd name="T43" fmla="*/ 33 h 333"/>
                <a:gd name="T44" fmla="*/ 585 w 617"/>
                <a:gd name="T45" fmla="*/ 42 h 333"/>
                <a:gd name="T46" fmla="*/ 574 w 617"/>
                <a:gd name="T47" fmla="*/ 65 h 333"/>
                <a:gd name="T48" fmla="*/ 588 w 617"/>
                <a:gd name="T49" fmla="*/ 80 h 333"/>
                <a:gd name="T50" fmla="*/ 600 w 617"/>
                <a:gd name="T51" fmla="*/ 101 h 333"/>
                <a:gd name="T52" fmla="*/ 616 w 617"/>
                <a:gd name="T53" fmla="*/ 332 h 333"/>
                <a:gd name="T54" fmla="*/ 610 w 617"/>
                <a:gd name="T55" fmla="*/ 332 h 333"/>
                <a:gd name="T56" fmla="*/ 594 w 617"/>
                <a:gd name="T57" fmla="*/ 332 h 333"/>
                <a:gd name="T58" fmla="*/ 568 w 617"/>
                <a:gd name="T59" fmla="*/ 332 h 333"/>
                <a:gd name="T60" fmla="*/ 537 w 617"/>
                <a:gd name="T61" fmla="*/ 332 h 333"/>
                <a:gd name="T62" fmla="*/ 496 w 617"/>
                <a:gd name="T63" fmla="*/ 332 h 333"/>
                <a:gd name="T64" fmla="*/ 452 w 617"/>
                <a:gd name="T65" fmla="*/ 332 h 333"/>
                <a:gd name="T66" fmla="*/ 403 w 617"/>
                <a:gd name="T67" fmla="*/ 330 h 333"/>
                <a:gd name="T68" fmla="*/ 353 w 617"/>
                <a:gd name="T69" fmla="*/ 330 h 333"/>
                <a:gd name="T70" fmla="*/ 301 w 617"/>
                <a:gd name="T71" fmla="*/ 329 h 333"/>
                <a:gd name="T72" fmla="*/ 248 w 617"/>
                <a:gd name="T73" fmla="*/ 329 h 333"/>
                <a:gd name="T74" fmla="*/ 197 w 617"/>
                <a:gd name="T75" fmla="*/ 327 h 333"/>
                <a:gd name="T76" fmla="*/ 147 w 617"/>
                <a:gd name="T77" fmla="*/ 326 h 333"/>
                <a:gd name="T78" fmla="*/ 101 w 617"/>
                <a:gd name="T79" fmla="*/ 324 h 333"/>
                <a:gd name="T80" fmla="*/ 61 w 617"/>
                <a:gd name="T81" fmla="*/ 323 h 333"/>
                <a:gd name="T82" fmla="*/ 27 w 617"/>
                <a:gd name="T83" fmla="*/ 321 h 333"/>
                <a:gd name="T84" fmla="*/ 0 w 617"/>
                <a:gd name="T85" fmla="*/ 32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17" h="333">
                  <a:moveTo>
                    <a:pt x="0" y="320"/>
                  </a:moveTo>
                  <a:lnTo>
                    <a:pt x="23" y="0"/>
                  </a:lnTo>
                  <a:lnTo>
                    <a:pt x="30" y="0"/>
                  </a:lnTo>
                  <a:lnTo>
                    <a:pt x="41" y="2"/>
                  </a:lnTo>
                  <a:lnTo>
                    <a:pt x="54" y="3"/>
                  </a:lnTo>
                  <a:lnTo>
                    <a:pt x="66" y="3"/>
                  </a:lnTo>
                  <a:lnTo>
                    <a:pt x="83" y="5"/>
                  </a:lnTo>
                  <a:lnTo>
                    <a:pt x="99" y="6"/>
                  </a:lnTo>
                  <a:lnTo>
                    <a:pt x="117" y="6"/>
                  </a:lnTo>
                  <a:lnTo>
                    <a:pt x="137" y="8"/>
                  </a:lnTo>
                  <a:lnTo>
                    <a:pt x="157" y="8"/>
                  </a:lnTo>
                  <a:lnTo>
                    <a:pt x="179" y="9"/>
                  </a:lnTo>
                  <a:lnTo>
                    <a:pt x="200" y="9"/>
                  </a:lnTo>
                  <a:lnTo>
                    <a:pt x="223" y="9"/>
                  </a:lnTo>
                  <a:lnTo>
                    <a:pt x="246" y="11"/>
                  </a:lnTo>
                  <a:lnTo>
                    <a:pt x="269" y="11"/>
                  </a:lnTo>
                  <a:lnTo>
                    <a:pt x="292" y="11"/>
                  </a:lnTo>
                  <a:lnTo>
                    <a:pt x="314" y="11"/>
                  </a:lnTo>
                  <a:lnTo>
                    <a:pt x="338" y="12"/>
                  </a:lnTo>
                  <a:lnTo>
                    <a:pt x="361" y="12"/>
                  </a:lnTo>
                  <a:lnTo>
                    <a:pt x="382" y="12"/>
                  </a:lnTo>
                  <a:lnTo>
                    <a:pt x="403" y="12"/>
                  </a:lnTo>
                  <a:lnTo>
                    <a:pt x="424" y="12"/>
                  </a:lnTo>
                  <a:lnTo>
                    <a:pt x="443" y="12"/>
                  </a:lnTo>
                  <a:lnTo>
                    <a:pt x="461" y="14"/>
                  </a:lnTo>
                  <a:lnTo>
                    <a:pt x="478" y="14"/>
                  </a:lnTo>
                  <a:lnTo>
                    <a:pt x="493" y="14"/>
                  </a:lnTo>
                  <a:lnTo>
                    <a:pt x="508" y="14"/>
                  </a:lnTo>
                  <a:lnTo>
                    <a:pt x="521" y="14"/>
                  </a:lnTo>
                  <a:lnTo>
                    <a:pt x="531" y="14"/>
                  </a:lnTo>
                  <a:lnTo>
                    <a:pt x="540" y="14"/>
                  </a:lnTo>
                  <a:lnTo>
                    <a:pt x="545" y="14"/>
                  </a:lnTo>
                  <a:lnTo>
                    <a:pt x="550" y="14"/>
                  </a:lnTo>
                  <a:lnTo>
                    <a:pt x="551" y="14"/>
                  </a:lnTo>
                  <a:lnTo>
                    <a:pt x="550" y="12"/>
                  </a:lnTo>
                  <a:lnTo>
                    <a:pt x="559" y="18"/>
                  </a:lnTo>
                  <a:lnTo>
                    <a:pt x="570" y="27"/>
                  </a:lnTo>
                  <a:lnTo>
                    <a:pt x="578" y="26"/>
                  </a:lnTo>
                  <a:lnTo>
                    <a:pt x="580" y="27"/>
                  </a:lnTo>
                  <a:lnTo>
                    <a:pt x="581" y="27"/>
                  </a:lnTo>
                  <a:lnTo>
                    <a:pt x="584" y="29"/>
                  </a:lnTo>
                  <a:lnTo>
                    <a:pt x="586" y="30"/>
                  </a:lnTo>
                  <a:lnTo>
                    <a:pt x="588" y="30"/>
                  </a:lnTo>
                  <a:lnTo>
                    <a:pt x="589" y="33"/>
                  </a:lnTo>
                  <a:lnTo>
                    <a:pt x="588" y="38"/>
                  </a:lnTo>
                  <a:lnTo>
                    <a:pt x="585" y="42"/>
                  </a:lnTo>
                  <a:lnTo>
                    <a:pt x="574" y="59"/>
                  </a:lnTo>
                  <a:lnTo>
                    <a:pt x="574" y="65"/>
                  </a:lnTo>
                  <a:lnTo>
                    <a:pt x="585" y="74"/>
                  </a:lnTo>
                  <a:lnTo>
                    <a:pt x="588" y="80"/>
                  </a:lnTo>
                  <a:lnTo>
                    <a:pt x="589" y="90"/>
                  </a:lnTo>
                  <a:lnTo>
                    <a:pt x="600" y="101"/>
                  </a:lnTo>
                  <a:lnTo>
                    <a:pt x="614" y="101"/>
                  </a:lnTo>
                  <a:lnTo>
                    <a:pt x="616" y="332"/>
                  </a:lnTo>
                  <a:lnTo>
                    <a:pt x="614" y="332"/>
                  </a:lnTo>
                  <a:lnTo>
                    <a:pt x="610" y="332"/>
                  </a:lnTo>
                  <a:lnTo>
                    <a:pt x="603" y="332"/>
                  </a:lnTo>
                  <a:lnTo>
                    <a:pt x="594" y="332"/>
                  </a:lnTo>
                  <a:lnTo>
                    <a:pt x="583" y="332"/>
                  </a:lnTo>
                  <a:lnTo>
                    <a:pt x="568" y="332"/>
                  </a:lnTo>
                  <a:lnTo>
                    <a:pt x="553" y="332"/>
                  </a:lnTo>
                  <a:lnTo>
                    <a:pt x="537" y="332"/>
                  </a:lnTo>
                  <a:lnTo>
                    <a:pt x="517" y="332"/>
                  </a:lnTo>
                  <a:lnTo>
                    <a:pt x="496" y="332"/>
                  </a:lnTo>
                  <a:lnTo>
                    <a:pt x="475" y="332"/>
                  </a:lnTo>
                  <a:lnTo>
                    <a:pt x="452" y="332"/>
                  </a:lnTo>
                  <a:lnTo>
                    <a:pt x="430" y="332"/>
                  </a:lnTo>
                  <a:lnTo>
                    <a:pt x="403" y="330"/>
                  </a:lnTo>
                  <a:lnTo>
                    <a:pt x="379" y="330"/>
                  </a:lnTo>
                  <a:lnTo>
                    <a:pt x="353" y="330"/>
                  </a:lnTo>
                  <a:lnTo>
                    <a:pt x="328" y="330"/>
                  </a:lnTo>
                  <a:lnTo>
                    <a:pt x="301" y="329"/>
                  </a:lnTo>
                  <a:lnTo>
                    <a:pt x="275" y="329"/>
                  </a:lnTo>
                  <a:lnTo>
                    <a:pt x="248" y="329"/>
                  </a:lnTo>
                  <a:lnTo>
                    <a:pt x="221" y="327"/>
                  </a:lnTo>
                  <a:lnTo>
                    <a:pt x="197" y="327"/>
                  </a:lnTo>
                  <a:lnTo>
                    <a:pt x="171" y="327"/>
                  </a:lnTo>
                  <a:lnTo>
                    <a:pt x="147" y="326"/>
                  </a:lnTo>
                  <a:lnTo>
                    <a:pt x="124" y="326"/>
                  </a:lnTo>
                  <a:lnTo>
                    <a:pt x="101" y="324"/>
                  </a:lnTo>
                  <a:lnTo>
                    <a:pt x="81" y="324"/>
                  </a:lnTo>
                  <a:lnTo>
                    <a:pt x="61" y="323"/>
                  </a:lnTo>
                  <a:lnTo>
                    <a:pt x="42" y="323"/>
                  </a:lnTo>
                  <a:lnTo>
                    <a:pt x="27" y="321"/>
                  </a:lnTo>
                  <a:lnTo>
                    <a:pt x="12" y="320"/>
                  </a:lnTo>
                  <a:lnTo>
                    <a:pt x="0" y="32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8" name="Freeform 32"/>
            <p:cNvSpPr>
              <a:spLocks/>
            </p:cNvSpPr>
            <p:nvPr/>
          </p:nvSpPr>
          <p:spPr bwMode="auto">
            <a:xfrm>
              <a:off x="1899674" y="4706911"/>
              <a:ext cx="414133" cy="223546"/>
            </a:xfrm>
            <a:custGeom>
              <a:avLst/>
              <a:gdLst>
                <a:gd name="T0" fmla="*/ 23 w 617"/>
                <a:gd name="T1" fmla="*/ 0 h 333"/>
                <a:gd name="T2" fmla="*/ 30 w 617"/>
                <a:gd name="T3" fmla="*/ 0 h 333"/>
                <a:gd name="T4" fmla="*/ 54 w 617"/>
                <a:gd name="T5" fmla="*/ 3 h 333"/>
                <a:gd name="T6" fmla="*/ 83 w 617"/>
                <a:gd name="T7" fmla="*/ 5 h 333"/>
                <a:gd name="T8" fmla="*/ 117 w 617"/>
                <a:gd name="T9" fmla="*/ 6 h 333"/>
                <a:gd name="T10" fmla="*/ 157 w 617"/>
                <a:gd name="T11" fmla="*/ 8 h 333"/>
                <a:gd name="T12" fmla="*/ 200 w 617"/>
                <a:gd name="T13" fmla="*/ 9 h 333"/>
                <a:gd name="T14" fmla="*/ 246 w 617"/>
                <a:gd name="T15" fmla="*/ 11 h 333"/>
                <a:gd name="T16" fmla="*/ 292 w 617"/>
                <a:gd name="T17" fmla="*/ 11 h 333"/>
                <a:gd name="T18" fmla="*/ 338 w 617"/>
                <a:gd name="T19" fmla="*/ 12 h 333"/>
                <a:gd name="T20" fmla="*/ 382 w 617"/>
                <a:gd name="T21" fmla="*/ 12 h 333"/>
                <a:gd name="T22" fmla="*/ 424 w 617"/>
                <a:gd name="T23" fmla="*/ 12 h 333"/>
                <a:gd name="T24" fmla="*/ 461 w 617"/>
                <a:gd name="T25" fmla="*/ 14 h 333"/>
                <a:gd name="T26" fmla="*/ 493 w 617"/>
                <a:gd name="T27" fmla="*/ 14 h 333"/>
                <a:gd name="T28" fmla="*/ 521 w 617"/>
                <a:gd name="T29" fmla="*/ 14 h 333"/>
                <a:gd name="T30" fmla="*/ 540 w 617"/>
                <a:gd name="T31" fmla="*/ 14 h 333"/>
                <a:gd name="T32" fmla="*/ 550 w 617"/>
                <a:gd name="T33" fmla="*/ 14 h 333"/>
                <a:gd name="T34" fmla="*/ 550 w 617"/>
                <a:gd name="T35" fmla="*/ 12 h 333"/>
                <a:gd name="T36" fmla="*/ 570 w 617"/>
                <a:gd name="T37" fmla="*/ 27 h 333"/>
                <a:gd name="T38" fmla="*/ 578 w 617"/>
                <a:gd name="T39" fmla="*/ 26 h 333"/>
                <a:gd name="T40" fmla="*/ 581 w 617"/>
                <a:gd name="T41" fmla="*/ 27 h 333"/>
                <a:gd name="T42" fmla="*/ 586 w 617"/>
                <a:gd name="T43" fmla="*/ 30 h 333"/>
                <a:gd name="T44" fmla="*/ 589 w 617"/>
                <a:gd name="T45" fmla="*/ 33 h 333"/>
                <a:gd name="T46" fmla="*/ 585 w 617"/>
                <a:gd name="T47" fmla="*/ 42 h 333"/>
                <a:gd name="T48" fmla="*/ 574 w 617"/>
                <a:gd name="T49" fmla="*/ 65 h 333"/>
                <a:gd name="T50" fmla="*/ 588 w 617"/>
                <a:gd name="T51" fmla="*/ 80 h 333"/>
                <a:gd name="T52" fmla="*/ 600 w 617"/>
                <a:gd name="T53" fmla="*/ 101 h 333"/>
                <a:gd name="T54" fmla="*/ 616 w 617"/>
                <a:gd name="T55" fmla="*/ 332 h 333"/>
                <a:gd name="T56" fmla="*/ 614 w 617"/>
                <a:gd name="T57" fmla="*/ 332 h 333"/>
                <a:gd name="T58" fmla="*/ 603 w 617"/>
                <a:gd name="T59" fmla="*/ 332 h 333"/>
                <a:gd name="T60" fmla="*/ 583 w 617"/>
                <a:gd name="T61" fmla="*/ 332 h 333"/>
                <a:gd name="T62" fmla="*/ 553 w 617"/>
                <a:gd name="T63" fmla="*/ 332 h 333"/>
                <a:gd name="T64" fmla="*/ 517 w 617"/>
                <a:gd name="T65" fmla="*/ 332 h 333"/>
                <a:gd name="T66" fmla="*/ 475 w 617"/>
                <a:gd name="T67" fmla="*/ 332 h 333"/>
                <a:gd name="T68" fmla="*/ 430 w 617"/>
                <a:gd name="T69" fmla="*/ 332 h 333"/>
                <a:gd name="T70" fmla="*/ 379 w 617"/>
                <a:gd name="T71" fmla="*/ 330 h 333"/>
                <a:gd name="T72" fmla="*/ 328 w 617"/>
                <a:gd name="T73" fmla="*/ 330 h 333"/>
                <a:gd name="T74" fmla="*/ 275 w 617"/>
                <a:gd name="T75" fmla="*/ 329 h 333"/>
                <a:gd name="T76" fmla="*/ 221 w 617"/>
                <a:gd name="T77" fmla="*/ 327 h 333"/>
                <a:gd name="T78" fmla="*/ 171 w 617"/>
                <a:gd name="T79" fmla="*/ 327 h 333"/>
                <a:gd name="T80" fmla="*/ 124 w 617"/>
                <a:gd name="T81" fmla="*/ 326 h 333"/>
                <a:gd name="T82" fmla="*/ 81 w 617"/>
                <a:gd name="T83" fmla="*/ 324 h 333"/>
                <a:gd name="T84" fmla="*/ 42 w 617"/>
                <a:gd name="T85" fmla="*/ 323 h 333"/>
                <a:gd name="T86" fmla="*/ 12 w 617"/>
                <a:gd name="T87" fmla="*/ 32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17" h="333">
                  <a:moveTo>
                    <a:pt x="0" y="320"/>
                  </a:moveTo>
                  <a:lnTo>
                    <a:pt x="23" y="0"/>
                  </a:lnTo>
                  <a:lnTo>
                    <a:pt x="23" y="0"/>
                  </a:lnTo>
                  <a:lnTo>
                    <a:pt x="30" y="0"/>
                  </a:lnTo>
                  <a:lnTo>
                    <a:pt x="41" y="2"/>
                  </a:lnTo>
                  <a:lnTo>
                    <a:pt x="54" y="3"/>
                  </a:lnTo>
                  <a:lnTo>
                    <a:pt x="66" y="3"/>
                  </a:lnTo>
                  <a:lnTo>
                    <a:pt x="83" y="5"/>
                  </a:lnTo>
                  <a:lnTo>
                    <a:pt x="99" y="6"/>
                  </a:lnTo>
                  <a:lnTo>
                    <a:pt x="117" y="6"/>
                  </a:lnTo>
                  <a:lnTo>
                    <a:pt x="137" y="8"/>
                  </a:lnTo>
                  <a:lnTo>
                    <a:pt x="157" y="8"/>
                  </a:lnTo>
                  <a:lnTo>
                    <a:pt x="179" y="9"/>
                  </a:lnTo>
                  <a:lnTo>
                    <a:pt x="200" y="9"/>
                  </a:lnTo>
                  <a:lnTo>
                    <a:pt x="223" y="9"/>
                  </a:lnTo>
                  <a:lnTo>
                    <a:pt x="246" y="11"/>
                  </a:lnTo>
                  <a:lnTo>
                    <a:pt x="269" y="11"/>
                  </a:lnTo>
                  <a:lnTo>
                    <a:pt x="292" y="11"/>
                  </a:lnTo>
                  <a:lnTo>
                    <a:pt x="314" y="11"/>
                  </a:lnTo>
                  <a:lnTo>
                    <a:pt x="338" y="12"/>
                  </a:lnTo>
                  <a:lnTo>
                    <a:pt x="361" y="12"/>
                  </a:lnTo>
                  <a:lnTo>
                    <a:pt x="382" y="12"/>
                  </a:lnTo>
                  <a:lnTo>
                    <a:pt x="403" y="12"/>
                  </a:lnTo>
                  <a:lnTo>
                    <a:pt x="424" y="12"/>
                  </a:lnTo>
                  <a:lnTo>
                    <a:pt x="443" y="12"/>
                  </a:lnTo>
                  <a:lnTo>
                    <a:pt x="461" y="14"/>
                  </a:lnTo>
                  <a:lnTo>
                    <a:pt x="478" y="14"/>
                  </a:lnTo>
                  <a:lnTo>
                    <a:pt x="493" y="14"/>
                  </a:lnTo>
                  <a:lnTo>
                    <a:pt x="508" y="14"/>
                  </a:lnTo>
                  <a:lnTo>
                    <a:pt x="521" y="14"/>
                  </a:lnTo>
                  <a:lnTo>
                    <a:pt x="531" y="14"/>
                  </a:lnTo>
                  <a:lnTo>
                    <a:pt x="540" y="14"/>
                  </a:lnTo>
                  <a:lnTo>
                    <a:pt x="545" y="14"/>
                  </a:lnTo>
                  <a:lnTo>
                    <a:pt x="550" y="14"/>
                  </a:lnTo>
                  <a:lnTo>
                    <a:pt x="551" y="14"/>
                  </a:lnTo>
                  <a:lnTo>
                    <a:pt x="550" y="12"/>
                  </a:lnTo>
                  <a:lnTo>
                    <a:pt x="559" y="18"/>
                  </a:lnTo>
                  <a:lnTo>
                    <a:pt x="570" y="27"/>
                  </a:lnTo>
                  <a:lnTo>
                    <a:pt x="578" y="26"/>
                  </a:lnTo>
                  <a:lnTo>
                    <a:pt x="578" y="26"/>
                  </a:lnTo>
                  <a:lnTo>
                    <a:pt x="580" y="27"/>
                  </a:lnTo>
                  <a:lnTo>
                    <a:pt x="581" y="27"/>
                  </a:lnTo>
                  <a:lnTo>
                    <a:pt x="584" y="29"/>
                  </a:lnTo>
                  <a:lnTo>
                    <a:pt x="586" y="30"/>
                  </a:lnTo>
                  <a:lnTo>
                    <a:pt x="588" y="30"/>
                  </a:lnTo>
                  <a:lnTo>
                    <a:pt x="589" y="33"/>
                  </a:lnTo>
                  <a:lnTo>
                    <a:pt x="588" y="38"/>
                  </a:lnTo>
                  <a:lnTo>
                    <a:pt x="585" y="42"/>
                  </a:lnTo>
                  <a:lnTo>
                    <a:pt x="574" y="59"/>
                  </a:lnTo>
                  <a:lnTo>
                    <a:pt x="574" y="65"/>
                  </a:lnTo>
                  <a:lnTo>
                    <a:pt x="585" y="74"/>
                  </a:lnTo>
                  <a:lnTo>
                    <a:pt x="588" y="80"/>
                  </a:lnTo>
                  <a:lnTo>
                    <a:pt x="589" y="90"/>
                  </a:lnTo>
                  <a:lnTo>
                    <a:pt x="600" y="101"/>
                  </a:lnTo>
                  <a:lnTo>
                    <a:pt x="614" y="101"/>
                  </a:lnTo>
                  <a:lnTo>
                    <a:pt x="616" y="332"/>
                  </a:lnTo>
                  <a:lnTo>
                    <a:pt x="616" y="332"/>
                  </a:lnTo>
                  <a:lnTo>
                    <a:pt x="614" y="332"/>
                  </a:lnTo>
                  <a:lnTo>
                    <a:pt x="610" y="332"/>
                  </a:lnTo>
                  <a:lnTo>
                    <a:pt x="603" y="332"/>
                  </a:lnTo>
                  <a:lnTo>
                    <a:pt x="594" y="332"/>
                  </a:lnTo>
                  <a:lnTo>
                    <a:pt x="583" y="332"/>
                  </a:lnTo>
                  <a:lnTo>
                    <a:pt x="568" y="332"/>
                  </a:lnTo>
                  <a:lnTo>
                    <a:pt x="553" y="332"/>
                  </a:lnTo>
                  <a:lnTo>
                    <a:pt x="537" y="332"/>
                  </a:lnTo>
                  <a:lnTo>
                    <a:pt x="517" y="332"/>
                  </a:lnTo>
                  <a:lnTo>
                    <a:pt x="496" y="332"/>
                  </a:lnTo>
                  <a:lnTo>
                    <a:pt x="475" y="332"/>
                  </a:lnTo>
                  <a:lnTo>
                    <a:pt x="452" y="332"/>
                  </a:lnTo>
                  <a:lnTo>
                    <a:pt x="430" y="332"/>
                  </a:lnTo>
                  <a:lnTo>
                    <a:pt x="403" y="330"/>
                  </a:lnTo>
                  <a:lnTo>
                    <a:pt x="379" y="330"/>
                  </a:lnTo>
                  <a:lnTo>
                    <a:pt x="353" y="330"/>
                  </a:lnTo>
                  <a:lnTo>
                    <a:pt x="328" y="330"/>
                  </a:lnTo>
                  <a:lnTo>
                    <a:pt x="301" y="329"/>
                  </a:lnTo>
                  <a:lnTo>
                    <a:pt x="275" y="329"/>
                  </a:lnTo>
                  <a:lnTo>
                    <a:pt x="248" y="329"/>
                  </a:lnTo>
                  <a:lnTo>
                    <a:pt x="221" y="327"/>
                  </a:lnTo>
                  <a:lnTo>
                    <a:pt x="197" y="327"/>
                  </a:lnTo>
                  <a:lnTo>
                    <a:pt x="171" y="327"/>
                  </a:lnTo>
                  <a:lnTo>
                    <a:pt x="147" y="326"/>
                  </a:lnTo>
                  <a:lnTo>
                    <a:pt x="124" y="326"/>
                  </a:lnTo>
                  <a:lnTo>
                    <a:pt x="101" y="324"/>
                  </a:lnTo>
                  <a:lnTo>
                    <a:pt x="81" y="324"/>
                  </a:lnTo>
                  <a:lnTo>
                    <a:pt x="61" y="323"/>
                  </a:lnTo>
                  <a:lnTo>
                    <a:pt x="42" y="323"/>
                  </a:lnTo>
                  <a:lnTo>
                    <a:pt x="27" y="321"/>
                  </a:lnTo>
                  <a:lnTo>
                    <a:pt x="12" y="320"/>
                  </a:lnTo>
                  <a:lnTo>
                    <a:pt x="0" y="32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9" name="Freeform 33"/>
            <p:cNvSpPr>
              <a:spLocks/>
            </p:cNvSpPr>
            <p:nvPr/>
          </p:nvSpPr>
          <p:spPr bwMode="auto">
            <a:xfrm>
              <a:off x="1841201" y="4918658"/>
              <a:ext cx="485266" cy="251489"/>
            </a:xfrm>
            <a:custGeom>
              <a:avLst/>
              <a:gdLst>
                <a:gd name="T0" fmla="*/ 257 w 723"/>
                <a:gd name="T1" fmla="*/ 272 h 375"/>
                <a:gd name="T2" fmla="*/ 296 w 723"/>
                <a:gd name="T3" fmla="*/ 293 h 375"/>
                <a:gd name="T4" fmla="*/ 337 w 723"/>
                <a:gd name="T5" fmla="*/ 311 h 375"/>
                <a:gd name="T6" fmla="*/ 343 w 723"/>
                <a:gd name="T7" fmla="*/ 314 h 375"/>
                <a:gd name="T8" fmla="*/ 352 w 723"/>
                <a:gd name="T9" fmla="*/ 318 h 375"/>
                <a:gd name="T10" fmla="*/ 361 w 723"/>
                <a:gd name="T11" fmla="*/ 315 h 375"/>
                <a:gd name="T12" fmla="*/ 376 w 723"/>
                <a:gd name="T13" fmla="*/ 318 h 375"/>
                <a:gd name="T14" fmla="*/ 383 w 723"/>
                <a:gd name="T15" fmla="*/ 327 h 375"/>
                <a:gd name="T16" fmla="*/ 397 w 723"/>
                <a:gd name="T17" fmla="*/ 323 h 375"/>
                <a:gd name="T18" fmla="*/ 421 w 723"/>
                <a:gd name="T19" fmla="*/ 332 h 375"/>
                <a:gd name="T20" fmla="*/ 439 w 723"/>
                <a:gd name="T21" fmla="*/ 339 h 375"/>
                <a:gd name="T22" fmla="*/ 464 w 723"/>
                <a:gd name="T23" fmla="*/ 347 h 375"/>
                <a:gd name="T24" fmla="*/ 464 w 723"/>
                <a:gd name="T25" fmla="*/ 351 h 375"/>
                <a:gd name="T26" fmla="*/ 467 w 723"/>
                <a:gd name="T27" fmla="*/ 356 h 375"/>
                <a:gd name="T28" fmla="*/ 481 w 723"/>
                <a:gd name="T29" fmla="*/ 347 h 375"/>
                <a:gd name="T30" fmla="*/ 485 w 723"/>
                <a:gd name="T31" fmla="*/ 342 h 375"/>
                <a:gd name="T32" fmla="*/ 487 w 723"/>
                <a:gd name="T33" fmla="*/ 348 h 375"/>
                <a:gd name="T34" fmla="*/ 492 w 723"/>
                <a:gd name="T35" fmla="*/ 365 h 375"/>
                <a:gd name="T36" fmla="*/ 496 w 723"/>
                <a:gd name="T37" fmla="*/ 360 h 375"/>
                <a:gd name="T38" fmla="*/ 496 w 723"/>
                <a:gd name="T39" fmla="*/ 354 h 375"/>
                <a:gd name="T40" fmla="*/ 536 w 723"/>
                <a:gd name="T41" fmla="*/ 344 h 375"/>
                <a:gd name="T42" fmla="*/ 535 w 723"/>
                <a:gd name="T43" fmla="*/ 345 h 375"/>
                <a:gd name="T44" fmla="*/ 538 w 723"/>
                <a:gd name="T45" fmla="*/ 353 h 375"/>
                <a:gd name="T46" fmla="*/ 554 w 723"/>
                <a:gd name="T47" fmla="*/ 362 h 375"/>
                <a:gd name="T48" fmla="*/ 563 w 723"/>
                <a:gd name="T49" fmla="*/ 368 h 375"/>
                <a:gd name="T50" fmla="*/ 572 w 723"/>
                <a:gd name="T51" fmla="*/ 363 h 375"/>
                <a:gd name="T52" fmla="*/ 591 w 723"/>
                <a:gd name="T53" fmla="*/ 348 h 375"/>
                <a:gd name="T54" fmla="*/ 601 w 723"/>
                <a:gd name="T55" fmla="*/ 351 h 375"/>
                <a:gd name="T56" fmla="*/ 605 w 723"/>
                <a:gd name="T57" fmla="*/ 357 h 375"/>
                <a:gd name="T58" fmla="*/ 605 w 723"/>
                <a:gd name="T59" fmla="*/ 357 h 375"/>
                <a:gd name="T60" fmla="*/ 608 w 723"/>
                <a:gd name="T61" fmla="*/ 354 h 375"/>
                <a:gd name="T62" fmla="*/ 617 w 723"/>
                <a:gd name="T63" fmla="*/ 344 h 375"/>
                <a:gd name="T64" fmla="*/ 619 w 723"/>
                <a:gd name="T65" fmla="*/ 339 h 375"/>
                <a:gd name="T66" fmla="*/ 623 w 723"/>
                <a:gd name="T67" fmla="*/ 344 h 375"/>
                <a:gd name="T68" fmla="*/ 637 w 723"/>
                <a:gd name="T69" fmla="*/ 356 h 375"/>
                <a:gd name="T70" fmla="*/ 640 w 723"/>
                <a:gd name="T71" fmla="*/ 359 h 375"/>
                <a:gd name="T72" fmla="*/ 646 w 723"/>
                <a:gd name="T73" fmla="*/ 350 h 375"/>
                <a:gd name="T74" fmla="*/ 657 w 723"/>
                <a:gd name="T75" fmla="*/ 343 h 375"/>
                <a:gd name="T76" fmla="*/ 667 w 723"/>
                <a:gd name="T77" fmla="*/ 344 h 375"/>
                <a:gd name="T78" fmla="*/ 691 w 723"/>
                <a:gd name="T79" fmla="*/ 366 h 375"/>
                <a:gd name="T80" fmla="*/ 722 w 723"/>
                <a:gd name="T81" fmla="*/ 188 h 375"/>
                <a:gd name="T82" fmla="*/ 703 w 723"/>
                <a:gd name="T83" fmla="*/ 17 h 375"/>
                <a:gd name="T84" fmla="*/ 690 w 723"/>
                <a:gd name="T85" fmla="*/ 17 h 375"/>
                <a:gd name="T86" fmla="*/ 656 w 723"/>
                <a:gd name="T87" fmla="*/ 17 h 375"/>
                <a:gd name="T88" fmla="*/ 604 w 723"/>
                <a:gd name="T89" fmla="*/ 17 h 375"/>
                <a:gd name="T90" fmla="*/ 539 w 723"/>
                <a:gd name="T91" fmla="*/ 17 h 375"/>
                <a:gd name="T92" fmla="*/ 466 w 723"/>
                <a:gd name="T93" fmla="*/ 15 h 375"/>
                <a:gd name="T94" fmla="*/ 388 w 723"/>
                <a:gd name="T95" fmla="*/ 14 h 375"/>
                <a:gd name="T96" fmla="*/ 308 w 723"/>
                <a:gd name="T97" fmla="*/ 12 h 375"/>
                <a:gd name="T98" fmla="*/ 233 w 723"/>
                <a:gd name="T99" fmla="*/ 11 h 375"/>
                <a:gd name="T100" fmla="*/ 167 w 723"/>
                <a:gd name="T101" fmla="*/ 9 h 375"/>
                <a:gd name="T102" fmla="*/ 113 w 723"/>
                <a:gd name="T103" fmla="*/ 6 h 375"/>
                <a:gd name="T104" fmla="*/ 4 w 723"/>
                <a:gd name="T105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23" h="375">
                  <a:moveTo>
                    <a:pt x="257" y="66"/>
                  </a:moveTo>
                  <a:lnTo>
                    <a:pt x="250" y="270"/>
                  </a:lnTo>
                  <a:lnTo>
                    <a:pt x="257" y="272"/>
                  </a:lnTo>
                  <a:lnTo>
                    <a:pt x="277" y="291"/>
                  </a:lnTo>
                  <a:lnTo>
                    <a:pt x="284" y="285"/>
                  </a:lnTo>
                  <a:lnTo>
                    <a:pt x="296" y="293"/>
                  </a:lnTo>
                  <a:lnTo>
                    <a:pt x="304" y="282"/>
                  </a:lnTo>
                  <a:lnTo>
                    <a:pt x="322" y="311"/>
                  </a:lnTo>
                  <a:lnTo>
                    <a:pt x="337" y="311"/>
                  </a:lnTo>
                  <a:lnTo>
                    <a:pt x="338" y="311"/>
                  </a:lnTo>
                  <a:lnTo>
                    <a:pt x="340" y="312"/>
                  </a:lnTo>
                  <a:lnTo>
                    <a:pt x="343" y="314"/>
                  </a:lnTo>
                  <a:lnTo>
                    <a:pt x="346" y="315"/>
                  </a:lnTo>
                  <a:lnTo>
                    <a:pt x="349" y="317"/>
                  </a:lnTo>
                  <a:lnTo>
                    <a:pt x="352" y="318"/>
                  </a:lnTo>
                  <a:lnTo>
                    <a:pt x="355" y="320"/>
                  </a:lnTo>
                  <a:lnTo>
                    <a:pt x="356" y="320"/>
                  </a:lnTo>
                  <a:lnTo>
                    <a:pt x="361" y="315"/>
                  </a:lnTo>
                  <a:lnTo>
                    <a:pt x="365" y="314"/>
                  </a:lnTo>
                  <a:lnTo>
                    <a:pt x="371" y="315"/>
                  </a:lnTo>
                  <a:lnTo>
                    <a:pt x="376" y="318"/>
                  </a:lnTo>
                  <a:lnTo>
                    <a:pt x="379" y="321"/>
                  </a:lnTo>
                  <a:lnTo>
                    <a:pt x="382" y="326"/>
                  </a:lnTo>
                  <a:lnTo>
                    <a:pt x="383" y="327"/>
                  </a:lnTo>
                  <a:lnTo>
                    <a:pt x="385" y="329"/>
                  </a:lnTo>
                  <a:lnTo>
                    <a:pt x="389" y="320"/>
                  </a:lnTo>
                  <a:lnTo>
                    <a:pt x="397" y="323"/>
                  </a:lnTo>
                  <a:lnTo>
                    <a:pt x="410" y="318"/>
                  </a:lnTo>
                  <a:lnTo>
                    <a:pt x="410" y="330"/>
                  </a:lnTo>
                  <a:lnTo>
                    <a:pt x="421" y="332"/>
                  </a:lnTo>
                  <a:lnTo>
                    <a:pt x="424" y="343"/>
                  </a:lnTo>
                  <a:lnTo>
                    <a:pt x="433" y="347"/>
                  </a:lnTo>
                  <a:lnTo>
                    <a:pt x="439" y="339"/>
                  </a:lnTo>
                  <a:lnTo>
                    <a:pt x="449" y="336"/>
                  </a:lnTo>
                  <a:lnTo>
                    <a:pt x="458" y="344"/>
                  </a:lnTo>
                  <a:lnTo>
                    <a:pt x="464" y="347"/>
                  </a:lnTo>
                  <a:lnTo>
                    <a:pt x="464" y="348"/>
                  </a:lnTo>
                  <a:lnTo>
                    <a:pt x="464" y="350"/>
                  </a:lnTo>
                  <a:lnTo>
                    <a:pt x="464" y="351"/>
                  </a:lnTo>
                  <a:lnTo>
                    <a:pt x="464" y="353"/>
                  </a:lnTo>
                  <a:lnTo>
                    <a:pt x="466" y="354"/>
                  </a:lnTo>
                  <a:lnTo>
                    <a:pt x="467" y="356"/>
                  </a:lnTo>
                  <a:lnTo>
                    <a:pt x="470" y="354"/>
                  </a:lnTo>
                  <a:lnTo>
                    <a:pt x="476" y="351"/>
                  </a:lnTo>
                  <a:lnTo>
                    <a:pt x="481" y="347"/>
                  </a:lnTo>
                  <a:lnTo>
                    <a:pt x="484" y="344"/>
                  </a:lnTo>
                  <a:lnTo>
                    <a:pt x="485" y="343"/>
                  </a:lnTo>
                  <a:lnTo>
                    <a:pt x="485" y="342"/>
                  </a:lnTo>
                  <a:lnTo>
                    <a:pt x="485" y="342"/>
                  </a:lnTo>
                  <a:lnTo>
                    <a:pt x="485" y="344"/>
                  </a:lnTo>
                  <a:lnTo>
                    <a:pt x="487" y="348"/>
                  </a:lnTo>
                  <a:lnTo>
                    <a:pt x="488" y="354"/>
                  </a:lnTo>
                  <a:lnTo>
                    <a:pt x="491" y="362"/>
                  </a:lnTo>
                  <a:lnTo>
                    <a:pt x="492" y="365"/>
                  </a:lnTo>
                  <a:lnTo>
                    <a:pt x="494" y="365"/>
                  </a:lnTo>
                  <a:lnTo>
                    <a:pt x="494" y="363"/>
                  </a:lnTo>
                  <a:lnTo>
                    <a:pt x="496" y="360"/>
                  </a:lnTo>
                  <a:lnTo>
                    <a:pt x="496" y="359"/>
                  </a:lnTo>
                  <a:lnTo>
                    <a:pt x="496" y="356"/>
                  </a:lnTo>
                  <a:lnTo>
                    <a:pt x="496" y="354"/>
                  </a:lnTo>
                  <a:lnTo>
                    <a:pt x="511" y="343"/>
                  </a:lnTo>
                  <a:lnTo>
                    <a:pt x="523" y="351"/>
                  </a:lnTo>
                  <a:lnTo>
                    <a:pt x="536" y="344"/>
                  </a:lnTo>
                  <a:lnTo>
                    <a:pt x="536" y="344"/>
                  </a:lnTo>
                  <a:lnTo>
                    <a:pt x="535" y="345"/>
                  </a:lnTo>
                  <a:lnTo>
                    <a:pt x="535" y="345"/>
                  </a:lnTo>
                  <a:lnTo>
                    <a:pt x="535" y="348"/>
                  </a:lnTo>
                  <a:lnTo>
                    <a:pt x="536" y="350"/>
                  </a:lnTo>
                  <a:lnTo>
                    <a:pt x="538" y="353"/>
                  </a:lnTo>
                  <a:lnTo>
                    <a:pt x="542" y="356"/>
                  </a:lnTo>
                  <a:lnTo>
                    <a:pt x="548" y="359"/>
                  </a:lnTo>
                  <a:lnTo>
                    <a:pt x="554" y="362"/>
                  </a:lnTo>
                  <a:lnTo>
                    <a:pt x="558" y="365"/>
                  </a:lnTo>
                  <a:lnTo>
                    <a:pt x="561" y="366"/>
                  </a:lnTo>
                  <a:lnTo>
                    <a:pt x="563" y="368"/>
                  </a:lnTo>
                  <a:lnTo>
                    <a:pt x="565" y="368"/>
                  </a:lnTo>
                  <a:lnTo>
                    <a:pt x="568" y="366"/>
                  </a:lnTo>
                  <a:lnTo>
                    <a:pt x="572" y="363"/>
                  </a:lnTo>
                  <a:lnTo>
                    <a:pt x="578" y="357"/>
                  </a:lnTo>
                  <a:lnTo>
                    <a:pt x="586" y="351"/>
                  </a:lnTo>
                  <a:lnTo>
                    <a:pt x="591" y="348"/>
                  </a:lnTo>
                  <a:lnTo>
                    <a:pt x="595" y="348"/>
                  </a:lnTo>
                  <a:lnTo>
                    <a:pt x="599" y="350"/>
                  </a:lnTo>
                  <a:lnTo>
                    <a:pt x="601" y="351"/>
                  </a:lnTo>
                  <a:lnTo>
                    <a:pt x="604" y="354"/>
                  </a:lnTo>
                  <a:lnTo>
                    <a:pt x="605" y="356"/>
                  </a:lnTo>
                  <a:lnTo>
                    <a:pt x="605" y="357"/>
                  </a:lnTo>
                  <a:lnTo>
                    <a:pt x="605" y="357"/>
                  </a:lnTo>
                  <a:lnTo>
                    <a:pt x="605" y="357"/>
                  </a:lnTo>
                  <a:lnTo>
                    <a:pt x="605" y="357"/>
                  </a:lnTo>
                  <a:lnTo>
                    <a:pt x="607" y="357"/>
                  </a:lnTo>
                  <a:lnTo>
                    <a:pt x="607" y="356"/>
                  </a:lnTo>
                  <a:lnTo>
                    <a:pt x="608" y="354"/>
                  </a:lnTo>
                  <a:lnTo>
                    <a:pt x="611" y="351"/>
                  </a:lnTo>
                  <a:lnTo>
                    <a:pt x="614" y="347"/>
                  </a:lnTo>
                  <a:lnTo>
                    <a:pt x="617" y="344"/>
                  </a:lnTo>
                  <a:lnTo>
                    <a:pt x="617" y="342"/>
                  </a:lnTo>
                  <a:lnTo>
                    <a:pt x="617" y="339"/>
                  </a:lnTo>
                  <a:lnTo>
                    <a:pt x="619" y="339"/>
                  </a:lnTo>
                  <a:lnTo>
                    <a:pt x="619" y="339"/>
                  </a:lnTo>
                  <a:lnTo>
                    <a:pt x="620" y="342"/>
                  </a:lnTo>
                  <a:lnTo>
                    <a:pt x="623" y="344"/>
                  </a:lnTo>
                  <a:lnTo>
                    <a:pt x="628" y="347"/>
                  </a:lnTo>
                  <a:lnTo>
                    <a:pt x="632" y="351"/>
                  </a:lnTo>
                  <a:lnTo>
                    <a:pt x="637" y="356"/>
                  </a:lnTo>
                  <a:lnTo>
                    <a:pt x="638" y="357"/>
                  </a:lnTo>
                  <a:lnTo>
                    <a:pt x="640" y="359"/>
                  </a:lnTo>
                  <a:lnTo>
                    <a:pt x="640" y="359"/>
                  </a:lnTo>
                  <a:lnTo>
                    <a:pt x="641" y="357"/>
                  </a:lnTo>
                  <a:lnTo>
                    <a:pt x="643" y="354"/>
                  </a:lnTo>
                  <a:lnTo>
                    <a:pt x="646" y="350"/>
                  </a:lnTo>
                  <a:lnTo>
                    <a:pt x="650" y="345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61" y="343"/>
                  </a:lnTo>
                  <a:lnTo>
                    <a:pt x="664" y="344"/>
                  </a:lnTo>
                  <a:lnTo>
                    <a:pt x="667" y="344"/>
                  </a:lnTo>
                  <a:lnTo>
                    <a:pt x="668" y="345"/>
                  </a:lnTo>
                  <a:lnTo>
                    <a:pt x="668" y="345"/>
                  </a:lnTo>
                  <a:lnTo>
                    <a:pt x="691" y="366"/>
                  </a:lnTo>
                  <a:lnTo>
                    <a:pt x="704" y="368"/>
                  </a:lnTo>
                  <a:lnTo>
                    <a:pt x="721" y="374"/>
                  </a:lnTo>
                  <a:lnTo>
                    <a:pt x="722" y="188"/>
                  </a:lnTo>
                  <a:lnTo>
                    <a:pt x="704" y="71"/>
                  </a:lnTo>
                  <a:lnTo>
                    <a:pt x="703" y="17"/>
                  </a:lnTo>
                  <a:lnTo>
                    <a:pt x="703" y="17"/>
                  </a:lnTo>
                  <a:lnTo>
                    <a:pt x="701" y="17"/>
                  </a:lnTo>
                  <a:lnTo>
                    <a:pt x="697" y="17"/>
                  </a:lnTo>
                  <a:lnTo>
                    <a:pt x="690" y="17"/>
                  </a:lnTo>
                  <a:lnTo>
                    <a:pt x="682" y="17"/>
                  </a:lnTo>
                  <a:lnTo>
                    <a:pt x="670" y="17"/>
                  </a:lnTo>
                  <a:lnTo>
                    <a:pt x="656" y="17"/>
                  </a:lnTo>
                  <a:lnTo>
                    <a:pt x="640" y="17"/>
                  </a:lnTo>
                  <a:lnTo>
                    <a:pt x="624" y="17"/>
                  </a:lnTo>
                  <a:lnTo>
                    <a:pt x="604" y="17"/>
                  </a:lnTo>
                  <a:lnTo>
                    <a:pt x="584" y="17"/>
                  </a:lnTo>
                  <a:lnTo>
                    <a:pt x="562" y="17"/>
                  </a:lnTo>
                  <a:lnTo>
                    <a:pt x="539" y="17"/>
                  </a:lnTo>
                  <a:lnTo>
                    <a:pt x="517" y="17"/>
                  </a:lnTo>
                  <a:lnTo>
                    <a:pt x="491" y="15"/>
                  </a:lnTo>
                  <a:lnTo>
                    <a:pt x="466" y="15"/>
                  </a:lnTo>
                  <a:lnTo>
                    <a:pt x="440" y="15"/>
                  </a:lnTo>
                  <a:lnTo>
                    <a:pt x="415" y="15"/>
                  </a:lnTo>
                  <a:lnTo>
                    <a:pt x="388" y="14"/>
                  </a:lnTo>
                  <a:lnTo>
                    <a:pt x="361" y="14"/>
                  </a:lnTo>
                  <a:lnTo>
                    <a:pt x="335" y="14"/>
                  </a:lnTo>
                  <a:lnTo>
                    <a:pt x="308" y="12"/>
                  </a:lnTo>
                  <a:lnTo>
                    <a:pt x="284" y="12"/>
                  </a:lnTo>
                  <a:lnTo>
                    <a:pt x="258" y="12"/>
                  </a:lnTo>
                  <a:lnTo>
                    <a:pt x="233" y="11"/>
                  </a:lnTo>
                  <a:lnTo>
                    <a:pt x="211" y="11"/>
                  </a:lnTo>
                  <a:lnTo>
                    <a:pt x="188" y="9"/>
                  </a:lnTo>
                  <a:lnTo>
                    <a:pt x="167" y="9"/>
                  </a:lnTo>
                  <a:lnTo>
                    <a:pt x="148" y="8"/>
                  </a:lnTo>
                  <a:lnTo>
                    <a:pt x="129" y="8"/>
                  </a:lnTo>
                  <a:lnTo>
                    <a:pt x="113" y="6"/>
                  </a:lnTo>
                  <a:lnTo>
                    <a:pt x="98" y="5"/>
                  </a:lnTo>
                  <a:lnTo>
                    <a:pt x="86" y="5"/>
                  </a:lnTo>
                  <a:lnTo>
                    <a:pt x="4" y="0"/>
                  </a:lnTo>
                  <a:lnTo>
                    <a:pt x="0" y="51"/>
                  </a:lnTo>
                  <a:lnTo>
                    <a:pt x="257" y="6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" name="Freeform 34"/>
            <p:cNvSpPr>
              <a:spLocks/>
            </p:cNvSpPr>
            <p:nvPr/>
          </p:nvSpPr>
          <p:spPr bwMode="auto">
            <a:xfrm>
              <a:off x="1841201" y="4918658"/>
              <a:ext cx="485266" cy="251489"/>
            </a:xfrm>
            <a:custGeom>
              <a:avLst/>
              <a:gdLst>
                <a:gd name="T0" fmla="*/ 257 w 723"/>
                <a:gd name="T1" fmla="*/ 272 h 375"/>
                <a:gd name="T2" fmla="*/ 296 w 723"/>
                <a:gd name="T3" fmla="*/ 293 h 375"/>
                <a:gd name="T4" fmla="*/ 337 w 723"/>
                <a:gd name="T5" fmla="*/ 311 h 375"/>
                <a:gd name="T6" fmla="*/ 340 w 723"/>
                <a:gd name="T7" fmla="*/ 312 h 375"/>
                <a:gd name="T8" fmla="*/ 349 w 723"/>
                <a:gd name="T9" fmla="*/ 317 h 375"/>
                <a:gd name="T10" fmla="*/ 356 w 723"/>
                <a:gd name="T11" fmla="*/ 320 h 375"/>
                <a:gd name="T12" fmla="*/ 365 w 723"/>
                <a:gd name="T13" fmla="*/ 314 h 375"/>
                <a:gd name="T14" fmla="*/ 379 w 723"/>
                <a:gd name="T15" fmla="*/ 321 h 375"/>
                <a:gd name="T16" fmla="*/ 385 w 723"/>
                <a:gd name="T17" fmla="*/ 329 h 375"/>
                <a:gd name="T18" fmla="*/ 410 w 723"/>
                <a:gd name="T19" fmla="*/ 318 h 375"/>
                <a:gd name="T20" fmla="*/ 424 w 723"/>
                <a:gd name="T21" fmla="*/ 343 h 375"/>
                <a:gd name="T22" fmla="*/ 449 w 723"/>
                <a:gd name="T23" fmla="*/ 336 h 375"/>
                <a:gd name="T24" fmla="*/ 464 w 723"/>
                <a:gd name="T25" fmla="*/ 347 h 375"/>
                <a:gd name="T26" fmla="*/ 464 w 723"/>
                <a:gd name="T27" fmla="*/ 351 h 375"/>
                <a:gd name="T28" fmla="*/ 467 w 723"/>
                <a:gd name="T29" fmla="*/ 356 h 375"/>
                <a:gd name="T30" fmla="*/ 476 w 723"/>
                <a:gd name="T31" fmla="*/ 351 h 375"/>
                <a:gd name="T32" fmla="*/ 485 w 723"/>
                <a:gd name="T33" fmla="*/ 343 h 375"/>
                <a:gd name="T34" fmla="*/ 485 w 723"/>
                <a:gd name="T35" fmla="*/ 344 h 375"/>
                <a:gd name="T36" fmla="*/ 488 w 723"/>
                <a:gd name="T37" fmla="*/ 354 h 375"/>
                <a:gd name="T38" fmla="*/ 494 w 723"/>
                <a:gd name="T39" fmla="*/ 365 h 375"/>
                <a:gd name="T40" fmla="*/ 496 w 723"/>
                <a:gd name="T41" fmla="*/ 359 h 375"/>
                <a:gd name="T42" fmla="*/ 511 w 723"/>
                <a:gd name="T43" fmla="*/ 343 h 375"/>
                <a:gd name="T44" fmla="*/ 536 w 723"/>
                <a:gd name="T45" fmla="*/ 344 h 375"/>
                <a:gd name="T46" fmla="*/ 535 w 723"/>
                <a:gd name="T47" fmla="*/ 345 h 375"/>
                <a:gd name="T48" fmla="*/ 538 w 723"/>
                <a:gd name="T49" fmla="*/ 353 h 375"/>
                <a:gd name="T50" fmla="*/ 548 w 723"/>
                <a:gd name="T51" fmla="*/ 359 h 375"/>
                <a:gd name="T52" fmla="*/ 561 w 723"/>
                <a:gd name="T53" fmla="*/ 366 h 375"/>
                <a:gd name="T54" fmla="*/ 568 w 723"/>
                <a:gd name="T55" fmla="*/ 366 h 375"/>
                <a:gd name="T56" fmla="*/ 578 w 723"/>
                <a:gd name="T57" fmla="*/ 357 h 375"/>
                <a:gd name="T58" fmla="*/ 595 w 723"/>
                <a:gd name="T59" fmla="*/ 348 h 375"/>
                <a:gd name="T60" fmla="*/ 604 w 723"/>
                <a:gd name="T61" fmla="*/ 354 h 375"/>
                <a:gd name="T62" fmla="*/ 605 w 723"/>
                <a:gd name="T63" fmla="*/ 357 h 375"/>
                <a:gd name="T64" fmla="*/ 605 w 723"/>
                <a:gd name="T65" fmla="*/ 357 h 375"/>
                <a:gd name="T66" fmla="*/ 608 w 723"/>
                <a:gd name="T67" fmla="*/ 354 h 375"/>
                <a:gd name="T68" fmla="*/ 614 w 723"/>
                <a:gd name="T69" fmla="*/ 347 h 375"/>
                <a:gd name="T70" fmla="*/ 617 w 723"/>
                <a:gd name="T71" fmla="*/ 339 h 375"/>
                <a:gd name="T72" fmla="*/ 620 w 723"/>
                <a:gd name="T73" fmla="*/ 342 h 375"/>
                <a:gd name="T74" fmla="*/ 628 w 723"/>
                <a:gd name="T75" fmla="*/ 347 h 375"/>
                <a:gd name="T76" fmla="*/ 638 w 723"/>
                <a:gd name="T77" fmla="*/ 357 h 375"/>
                <a:gd name="T78" fmla="*/ 641 w 723"/>
                <a:gd name="T79" fmla="*/ 357 h 375"/>
                <a:gd name="T80" fmla="*/ 646 w 723"/>
                <a:gd name="T81" fmla="*/ 350 h 375"/>
                <a:gd name="T82" fmla="*/ 657 w 723"/>
                <a:gd name="T83" fmla="*/ 343 h 375"/>
                <a:gd name="T84" fmla="*/ 667 w 723"/>
                <a:gd name="T85" fmla="*/ 344 h 375"/>
                <a:gd name="T86" fmla="*/ 691 w 723"/>
                <a:gd name="T87" fmla="*/ 366 h 375"/>
                <a:gd name="T88" fmla="*/ 722 w 723"/>
                <a:gd name="T89" fmla="*/ 188 h 375"/>
                <a:gd name="T90" fmla="*/ 703 w 723"/>
                <a:gd name="T91" fmla="*/ 17 h 375"/>
                <a:gd name="T92" fmla="*/ 697 w 723"/>
                <a:gd name="T93" fmla="*/ 17 h 375"/>
                <a:gd name="T94" fmla="*/ 670 w 723"/>
                <a:gd name="T95" fmla="*/ 17 h 375"/>
                <a:gd name="T96" fmla="*/ 624 w 723"/>
                <a:gd name="T97" fmla="*/ 17 h 375"/>
                <a:gd name="T98" fmla="*/ 562 w 723"/>
                <a:gd name="T99" fmla="*/ 17 h 375"/>
                <a:gd name="T100" fmla="*/ 491 w 723"/>
                <a:gd name="T101" fmla="*/ 15 h 375"/>
                <a:gd name="T102" fmla="*/ 415 w 723"/>
                <a:gd name="T103" fmla="*/ 15 h 375"/>
                <a:gd name="T104" fmla="*/ 335 w 723"/>
                <a:gd name="T105" fmla="*/ 14 h 375"/>
                <a:gd name="T106" fmla="*/ 258 w 723"/>
                <a:gd name="T107" fmla="*/ 12 h 375"/>
                <a:gd name="T108" fmla="*/ 188 w 723"/>
                <a:gd name="T109" fmla="*/ 9 h 375"/>
                <a:gd name="T110" fmla="*/ 129 w 723"/>
                <a:gd name="T111" fmla="*/ 8 h 375"/>
                <a:gd name="T112" fmla="*/ 86 w 723"/>
                <a:gd name="T113" fmla="*/ 5 h 375"/>
                <a:gd name="T114" fmla="*/ 257 w 723"/>
                <a:gd name="T115" fmla="*/ 66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23" h="375">
                  <a:moveTo>
                    <a:pt x="257" y="66"/>
                  </a:moveTo>
                  <a:lnTo>
                    <a:pt x="250" y="270"/>
                  </a:lnTo>
                  <a:lnTo>
                    <a:pt x="257" y="272"/>
                  </a:lnTo>
                  <a:lnTo>
                    <a:pt x="277" y="291"/>
                  </a:lnTo>
                  <a:lnTo>
                    <a:pt x="284" y="285"/>
                  </a:lnTo>
                  <a:lnTo>
                    <a:pt x="296" y="293"/>
                  </a:lnTo>
                  <a:lnTo>
                    <a:pt x="304" y="282"/>
                  </a:lnTo>
                  <a:lnTo>
                    <a:pt x="322" y="311"/>
                  </a:lnTo>
                  <a:lnTo>
                    <a:pt x="337" y="311"/>
                  </a:lnTo>
                  <a:lnTo>
                    <a:pt x="337" y="311"/>
                  </a:lnTo>
                  <a:lnTo>
                    <a:pt x="338" y="311"/>
                  </a:lnTo>
                  <a:lnTo>
                    <a:pt x="340" y="312"/>
                  </a:lnTo>
                  <a:lnTo>
                    <a:pt x="343" y="314"/>
                  </a:lnTo>
                  <a:lnTo>
                    <a:pt x="346" y="315"/>
                  </a:lnTo>
                  <a:lnTo>
                    <a:pt x="349" y="317"/>
                  </a:lnTo>
                  <a:lnTo>
                    <a:pt x="352" y="318"/>
                  </a:lnTo>
                  <a:lnTo>
                    <a:pt x="355" y="320"/>
                  </a:lnTo>
                  <a:lnTo>
                    <a:pt x="356" y="320"/>
                  </a:lnTo>
                  <a:lnTo>
                    <a:pt x="356" y="320"/>
                  </a:lnTo>
                  <a:lnTo>
                    <a:pt x="361" y="315"/>
                  </a:lnTo>
                  <a:lnTo>
                    <a:pt x="365" y="314"/>
                  </a:lnTo>
                  <a:lnTo>
                    <a:pt x="371" y="315"/>
                  </a:lnTo>
                  <a:lnTo>
                    <a:pt x="376" y="318"/>
                  </a:lnTo>
                  <a:lnTo>
                    <a:pt x="379" y="321"/>
                  </a:lnTo>
                  <a:lnTo>
                    <a:pt x="382" y="326"/>
                  </a:lnTo>
                  <a:lnTo>
                    <a:pt x="383" y="327"/>
                  </a:lnTo>
                  <a:lnTo>
                    <a:pt x="385" y="329"/>
                  </a:lnTo>
                  <a:lnTo>
                    <a:pt x="389" y="320"/>
                  </a:lnTo>
                  <a:lnTo>
                    <a:pt x="397" y="323"/>
                  </a:lnTo>
                  <a:lnTo>
                    <a:pt x="410" y="318"/>
                  </a:lnTo>
                  <a:lnTo>
                    <a:pt x="410" y="330"/>
                  </a:lnTo>
                  <a:lnTo>
                    <a:pt x="421" y="332"/>
                  </a:lnTo>
                  <a:lnTo>
                    <a:pt x="424" y="343"/>
                  </a:lnTo>
                  <a:lnTo>
                    <a:pt x="433" y="347"/>
                  </a:lnTo>
                  <a:lnTo>
                    <a:pt x="439" y="339"/>
                  </a:lnTo>
                  <a:lnTo>
                    <a:pt x="449" y="336"/>
                  </a:lnTo>
                  <a:lnTo>
                    <a:pt x="458" y="344"/>
                  </a:lnTo>
                  <a:lnTo>
                    <a:pt x="464" y="347"/>
                  </a:lnTo>
                  <a:lnTo>
                    <a:pt x="464" y="347"/>
                  </a:lnTo>
                  <a:lnTo>
                    <a:pt x="464" y="348"/>
                  </a:lnTo>
                  <a:lnTo>
                    <a:pt x="464" y="350"/>
                  </a:lnTo>
                  <a:lnTo>
                    <a:pt x="464" y="351"/>
                  </a:lnTo>
                  <a:lnTo>
                    <a:pt x="464" y="353"/>
                  </a:lnTo>
                  <a:lnTo>
                    <a:pt x="466" y="354"/>
                  </a:lnTo>
                  <a:lnTo>
                    <a:pt x="467" y="356"/>
                  </a:lnTo>
                  <a:lnTo>
                    <a:pt x="470" y="354"/>
                  </a:lnTo>
                  <a:lnTo>
                    <a:pt x="476" y="351"/>
                  </a:lnTo>
                  <a:lnTo>
                    <a:pt x="476" y="351"/>
                  </a:lnTo>
                  <a:lnTo>
                    <a:pt x="481" y="347"/>
                  </a:lnTo>
                  <a:lnTo>
                    <a:pt x="484" y="344"/>
                  </a:lnTo>
                  <a:lnTo>
                    <a:pt x="485" y="343"/>
                  </a:lnTo>
                  <a:lnTo>
                    <a:pt x="485" y="342"/>
                  </a:lnTo>
                  <a:lnTo>
                    <a:pt x="485" y="342"/>
                  </a:lnTo>
                  <a:lnTo>
                    <a:pt x="485" y="344"/>
                  </a:lnTo>
                  <a:lnTo>
                    <a:pt x="487" y="348"/>
                  </a:lnTo>
                  <a:lnTo>
                    <a:pt x="488" y="354"/>
                  </a:lnTo>
                  <a:lnTo>
                    <a:pt x="488" y="354"/>
                  </a:lnTo>
                  <a:lnTo>
                    <a:pt x="491" y="362"/>
                  </a:lnTo>
                  <a:lnTo>
                    <a:pt x="492" y="365"/>
                  </a:lnTo>
                  <a:lnTo>
                    <a:pt x="494" y="365"/>
                  </a:lnTo>
                  <a:lnTo>
                    <a:pt x="494" y="363"/>
                  </a:lnTo>
                  <a:lnTo>
                    <a:pt x="496" y="360"/>
                  </a:lnTo>
                  <a:lnTo>
                    <a:pt x="496" y="359"/>
                  </a:lnTo>
                  <a:lnTo>
                    <a:pt x="496" y="356"/>
                  </a:lnTo>
                  <a:lnTo>
                    <a:pt x="496" y="354"/>
                  </a:lnTo>
                  <a:lnTo>
                    <a:pt x="511" y="343"/>
                  </a:lnTo>
                  <a:lnTo>
                    <a:pt x="523" y="351"/>
                  </a:lnTo>
                  <a:lnTo>
                    <a:pt x="536" y="344"/>
                  </a:lnTo>
                  <a:lnTo>
                    <a:pt x="536" y="344"/>
                  </a:lnTo>
                  <a:lnTo>
                    <a:pt x="536" y="344"/>
                  </a:lnTo>
                  <a:lnTo>
                    <a:pt x="535" y="345"/>
                  </a:lnTo>
                  <a:lnTo>
                    <a:pt x="535" y="345"/>
                  </a:lnTo>
                  <a:lnTo>
                    <a:pt x="535" y="348"/>
                  </a:lnTo>
                  <a:lnTo>
                    <a:pt x="536" y="350"/>
                  </a:lnTo>
                  <a:lnTo>
                    <a:pt x="538" y="353"/>
                  </a:lnTo>
                  <a:lnTo>
                    <a:pt x="542" y="356"/>
                  </a:lnTo>
                  <a:lnTo>
                    <a:pt x="548" y="359"/>
                  </a:lnTo>
                  <a:lnTo>
                    <a:pt x="548" y="359"/>
                  </a:lnTo>
                  <a:lnTo>
                    <a:pt x="554" y="362"/>
                  </a:lnTo>
                  <a:lnTo>
                    <a:pt x="558" y="365"/>
                  </a:lnTo>
                  <a:lnTo>
                    <a:pt x="561" y="366"/>
                  </a:lnTo>
                  <a:lnTo>
                    <a:pt x="563" y="368"/>
                  </a:lnTo>
                  <a:lnTo>
                    <a:pt x="565" y="368"/>
                  </a:lnTo>
                  <a:lnTo>
                    <a:pt x="568" y="366"/>
                  </a:lnTo>
                  <a:lnTo>
                    <a:pt x="572" y="363"/>
                  </a:lnTo>
                  <a:lnTo>
                    <a:pt x="578" y="357"/>
                  </a:lnTo>
                  <a:lnTo>
                    <a:pt x="578" y="357"/>
                  </a:lnTo>
                  <a:lnTo>
                    <a:pt x="586" y="351"/>
                  </a:lnTo>
                  <a:lnTo>
                    <a:pt x="591" y="348"/>
                  </a:lnTo>
                  <a:lnTo>
                    <a:pt x="595" y="348"/>
                  </a:lnTo>
                  <a:lnTo>
                    <a:pt x="599" y="350"/>
                  </a:lnTo>
                  <a:lnTo>
                    <a:pt x="601" y="351"/>
                  </a:lnTo>
                  <a:lnTo>
                    <a:pt x="604" y="354"/>
                  </a:lnTo>
                  <a:lnTo>
                    <a:pt x="605" y="356"/>
                  </a:lnTo>
                  <a:lnTo>
                    <a:pt x="605" y="357"/>
                  </a:lnTo>
                  <a:lnTo>
                    <a:pt x="605" y="357"/>
                  </a:lnTo>
                  <a:lnTo>
                    <a:pt x="605" y="357"/>
                  </a:lnTo>
                  <a:lnTo>
                    <a:pt x="605" y="357"/>
                  </a:lnTo>
                  <a:lnTo>
                    <a:pt x="605" y="357"/>
                  </a:lnTo>
                  <a:lnTo>
                    <a:pt x="607" y="357"/>
                  </a:lnTo>
                  <a:lnTo>
                    <a:pt x="607" y="356"/>
                  </a:lnTo>
                  <a:lnTo>
                    <a:pt x="608" y="354"/>
                  </a:lnTo>
                  <a:lnTo>
                    <a:pt x="611" y="351"/>
                  </a:lnTo>
                  <a:lnTo>
                    <a:pt x="614" y="347"/>
                  </a:lnTo>
                  <a:lnTo>
                    <a:pt x="614" y="347"/>
                  </a:lnTo>
                  <a:lnTo>
                    <a:pt x="617" y="344"/>
                  </a:lnTo>
                  <a:lnTo>
                    <a:pt x="617" y="342"/>
                  </a:lnTo>
                  <a:lnTo>
                    <a:pt x="617" y="339"/>
                  </a:lnTo>
                  <a:lnTo>
                    <a:pt x="619" y="339"/>
                  </a:lnTo>
                  <a:lnTo>
                    <a:pt x="619" y="339"/>
                  </a:lnTo>
                  <a:lnTo>
                    <a:pt x="620" y="342"/>
                  </a:lnTo>
                  <a:lnTo>
                    <a:pt x="623" y="344"/>
                  </a:lnTo>
                  <a:lnTo>
                    <a:pt x="628" y="347"/>
                  </a:lnTo>
                  <a:lnTo>
                    <a:pt x="628" y="347"/>
                  </a:lnTo>
                  <a:lnTo>
                    <a:pt x="632" y="351"/>
                  </a:lnTo>
                  <a:lnTo>
                    <a:pt x="637" y="356"/>
                  </a:lnTo>
                  <a:lnTo>
                    <a:pt x="638" y="357"/>
                  </a:lnTo>
                  <a:lnTo>
                    <a:pt x="640" y="359"/>
                  </a:lnTo>
                  <a:lnTo>
                    <a:pt x="640" y="359"/>
                  </a:lnTo>
                  <a:lnTo>
                    <a:pt x="641" y="357"/>
                  </a:lnTo>
                  <a:lnTo>
                    <a:pt x="643" y="354"/>
                  </a:lnTo>
                  <a:lnTo>
                    <a:pt x="646" y="350"/>
                  </a:lnTo>
                  <a:lnTo>
                    <a:pt x="646" y="350"/>
                  </a:lnTo>
                  <a:lnTo>
                    <a:pt x="650" y="345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61" y="343"/>
                  </a:lnTo>
                  <a:lnTo>
                    <a:pt x="664" y="344"/>
                  </a:lnTo>
                  <a:lnTo>
                    <a:pt x="667" y="344"/>
                  </a:lnTo>
                  <a:lnTo>
                    <a:pt x="668" y="345"/>
                  </a:lnTo>
                  <a:lnTo>
                    <a:pt x="668" y="345"/>
                  </a:lnTo>
                  <a:lnTo>
                    <a:pt x="691" y="366"/>
                  </a:lnTo>
                  <a:lnTo>
                    <a:pt x="704" y="368"/>
                  </a:lnTo>
                  <a:lnTo>
                    <a:pt x="721" y="374"/>
                  </a:lnTo>
                  <a:lnTo>
                    <a:pt x="722" y="188"/>
                  </a:lnTo>
                  <a:lnTo>
                    <a:pt x="704" y="71"/>
                  </a:lnTo>
                  <a:lnTo>
                    <a:pt x="703" y="17"/>
                  </a:lnTo>
                  <a:lnTo>
                    <a:pt x="703" y="17"/>
                  </a:lnTo>
                  <a:lnTo>
                    <a:pt x="703" y="17"/>
                  </a:lnTo>
                  <a:lnTo>
                    <a:pt x="701" y="17"/>
                  </a:lnTo>
                  <a:lnTo>
                    <a:pt x="697" y="17"/>
                  </a:lnTo>
                  <a:lnTo>
                    <a:pt x="690" y="17"/>
                  </a:lnTo>
                  <a:lnTo>
                    <a:pt x="682" y="17"/>
                  </a:lnTo>
                  <a:lnTo>
                    <a:pt x="670" y="17"/>
                  </a:lnTo>
                  <a:lnTo>
                    <a:pt x="656" y="17"/>
                  </a:lnTo>
                  <a:lnTo>
                    <a:pt x="640" y="17"/>
                  </a:lnTo>
                  <a:lnTo>
                    <a:pt x="624" y="17"/>
                  </a:lnTo>
                  <a:lnTo>
                    <a:pt x="604" y="17"/>
                  </a:lnTo>
                  <a:lnTo>
                    <a:pt x="584" y="17"/>
                  </a:lnTo>
                  <a:lnTo>
                    <a:pt x="562" y="17"/>
                  </a:lnTo>
                  <a:lnTo>
                    <a:pt x="539" y="17"/>
                  </a:lnTo>
                  <a:lnTo>
                    <a:pt x="517" y="17"/>
                  </a:lnTo>
                  <a:lnTo>
                    <a:pt x="491" y="15"/>
                  </a:lnTo>
                  <a:lnTo>
                    <a:pt x="466" y="15"/>
                  </a:lnTo>
                  <a:lnTo>
                    <a:pt x="440" y="15"/>
                  </a:lnTo>
                  <a:lnTo>
                    <a:pt x="415" y="15"/>
                  </a:lnTo>
                  <a:lnTo>
                    <a:pt x="388" y="14"/>
                  </a:lnTo>
                  <a:lnTo>
                    <a:pt x="361" y="14"/>
                  </a:lnTo>
                  <a:lnTo>
                    <a:pt x="335" y="14"/>
                  </a:lnTo>
                  <a:lnTo>
                    <a:pt x="308" y="12"/>
                  </a:lnTo>
                  <a:lnTo>
                    <a:pt x="284" y="12"/>
                  </a:lnTo>
                  <a:lnTo>
                    <a:pt x="258" y="12"/>
                  </a:lnTo>
                  <a:lnTo>
                    <a:pt x="233" y="11"/>
                  </a:lnTo>
                  <a:lnTo>
                    <a:pt x="211" y="11"/>
                  </a:lnTo>
                  <a:lnTo>
                    <a:pt x="188" y="9"/>
                  </a:lnTo>
                  <a:lnTo>
                    <a:pt x="167" y="9"/>
                  </a:lnTo>
                  <a:lnTo>
                    <a:pt x="148" y="8"/>
                  </a:lnTo>
                  <a:lnTo>
                    <a:pt x="129" y="8"/>
                  </a:lnTo>
                  <a:lnTo>
                    <a:pt x="113" y="6"/>
                  </a:lnTo>
                  <a:lnTo>
                    <a:pt x="98" y="5"/>
                  </a:lnTo>
                  <a:lnTo>
                    <a:pt x="86" y="5"/>
                  </a:lnTo>
                  <a:lnTo>
                    <a:pt x="4" y="0"/>
                  </a:lnTo>
                  <a:lnTo>
                    <a:pt x="0" y="51"/>
                  </a:lnTo>
                  <a:lnTo>
                    <a:pt x="257" y="66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" name="Freeform 35"/>
            <p:cNvSpPr>
              <a:spLocks/>
            </p:cNvSpPr>
            <p:nvPr/>
          </p:nvSpPr>
          <p:spPr bwMode="auto">
            <a:xfrm>
              <a:off x="1604295" y="4952812"/>
              <a:ext cx="780644" cy="771233"/>
            </a:xfrm>
            <a:custGeom>
              <a:avLst/>
              <a:gdLst>
                <a:gd name="T0" fmla="*/ 649 w 1163"/>
                <a:gd name="T1" fmla="*/ 242 h 1149"/>
                <a:gd name="T2" fmla="*/ 709 w 1163"/>
                <a:gd name="T3" fmla="*/ 269 h 1149"/>
                <a:gd name="T4" fmla="*/ 763 w 1163"/>
                <a:gd name="T5" fmla="*/ 267 h 1149"/>
                <a:gd name="T6" fmla="*/ 817 w 1163"/>
                <a:gd name="T7" fmla="*/ 300 h 1149"/>
                <a:gd name="T8" fmla="*/ 838 w 1163"/>
                <a:gd name="T9" fmla="*/ 294 h 1149"/>
                <a:gd name="T10" fmla="*/ 864 w 1163"/>
                <a:gd name="T11" fmla="*/ 293 h 1149"/>
                <a:gd name="T12" fmla="*/ 906 w 1163"/>
                <a:gd name="T13" fmla="*/ 311 h 1149"/>
                <a:gd name="T14" fmla="*/ 952 w 1163"/>
                <a:gd name="T15" fmla="*/ 299 h 1149"/>
                <a:gd name="T16" fmla="*/ 964 w 1163"/>
                <a:gd name="T17" fmla="*/ 300 h 1149"/>
                <a:gd name="T18" fmla="*/ 990 w 1163"/>
                <a:gd name="T19" fmla="*/ 305 h 1149"/>
                <a:gd name="T20" fmla="*/ 1017 w 1163"/>
                <a:gd name="T21" fmla="*/ 294 h 1149"/>
                <a:gd name="T22" fmla="*/ 1112 w 1163"/>
                <a:gd name="T23" fmla="*/ 386 h 1149"/>
                <a:gd name="T24" fmla="*/ 1158 w 1163"/>
                <a:gd name="T25" fmla="*/ 585 h 1149"/>
                <a:gd name="T26" fmla="*/ 1149 w 1163"/>
                <a:gd name="T27" fmla="*/ 638 h 1149"/>
                <a:gd name="T28" fmla="*/ 1151 w 1163"/>
                <a:gd name="T29" fmla="*/ 679 h 1149"/>
                <a:gd name="T30" fmla="*/ 1133 w 1163"/>
                <a:gd name="T31" fmla="*/ 734 h 1149"/>
                <a:gd name="T32" fmla="*/ 1112 w 1163"/>
                <a:gd name="T33" fmla="*/ 745 h 1149"/>
                <a:gd name="T34" fmla="*/ 1077 w 1163"/>
                <a:gd name="T35" fmla="*/ 756 h 1149"/>
                <a:gd name="T36" fmla="*/ 1060 w 1163"/>
                <a:gd name="T37" fmla="*/ 758 h 1149"/>
                <a:gd name="T38" fmla="*/ 1060 w 1163"/>
                <a:gd name="T39" fmla="*/ 742 h 1149"/>
                <a:gd name="T40" fmla="*/ 1046 w 1163"/>
                <a:gd name="T41" fmla="*/ 738 h 1149"/>
                <a:gd name="T42" fmla="*/ 1035 w 1163"/>
                <a:gd name="T43" fmla="*/ 741 h 1149"/>
                <a:gd name="T44" fmla="*/ 1030 w 1163"/>
                <a:gd name="T45" fmla="*/ 754 h 1149"/>
                <a:gd name="T46" fmla="*/ 1043 w 1163"/>
                <a:gd name="T47" fmla="*/ 778 h 1149"/>
                <a:gd name="T48" fmla="*/ 1008 w 1163"/>
                <a:gd name="T49" fmla="*/ 821 h 1149"/>
                <a:gd name="T50" fmla="*/ 961 w 1163"/>
                <a:gd name="T51" fmla="*/ 850 h 1149"/>
                <a:gd name="T52" fmla="*/ 918 w 1163"/>
                <a:gd name="T53" fmla="*/ 876 h 1149"/>
                <a:gd name="T54" fmla="*/ 958 w 1163"/>
                <a:gd name="T55" fmla="*/ 849 h 1149"/>
                <a:gd name="T56" fmla="*/ 934 w 1163"/>
                <a:gd name="T57" fmla="*/ 855 h 1149"/>
                <a:gd name="T58" fmla="*/ 930 w 1163"/>
                <a:gd name="T59" fmla="*/ 846 h 1149"/>
                <a:gd name="T60" fmla="*/ 895 w 1163"/>
                <a:gd name="T61" fmla="*/ 850 h 1149"/>
                <a:gd name="T62" fmla="*/ 906 w 1163"/>
                <a:gd name="T63" fmla="*/ 871 h 1149"/>
                <a:gd name="T64" fmla="*/ 889 w 1163"/>
                <a:gd name="T65" fmla="*/ 885 h 1149"/>
                <a:gd name="T66" fmla="*/ 875 w 1163"/>
                <a:gd name="T67" fmla="*/ 870 h 1149"/>
                <a:gd name="T68" fmla="*/ 862 w 1163"/>
                <a:gd name="T69" fmla="*/ 895 h 1149"/>
                <a:gd name="T70" fmla="*/ 850 w 1163"/>
                <a:gd name="T71" fmla="*/ 916 h 1149"/>
                <a:gd name="T72" fmla="*/ 832 w 1163"/>
                <a:gd name="T73" fmla="*/ 934 h 1149"/>
                <a:gd name="T74" fmla="*/ 813 w 1163"/>
                <a:gd name="T75" fmla="*/ 993 h 1149"/>
                <a:gd name="T76" fmla="*/ 804 w 1163"/>
                <a:gd name="T77" fmla="*/ 981 h 1149"/>
                <a:gd name="T78" fmla="*/ 811 w 1163"/>
                <a:gd name="T79" fmla="*/ 1015 h 1149"/>
                <a:gd name="T80" fmla="*/ 813 w 1163"/>
                <a:gd name="T81" fmla="*/ 1147 h 1149"/>
                <a:gd name="T82" fmla="*/ 774 w 1163"/>
                <a:gd name="T83" fmla="*/ 1122 h 1149"/>
                <a:gd name="T84" fmla="*/ 739 w 1163"/>
                <a:gd name="T85" fmla="*/ 1123 h 1149"/>
                <a:gd name="T86" fmla="*/ 666 w 1163"/>
                <a:gd name="T87" fmla="*/ 1087 h 1149"/>
                <a:gd name="T88" fmla="*/ 649 w 1163"/>
                <a:gd name="T89" fmla="*/ 1072 h 1149"/>
                <a:gd name="T90" fmla="*/ 634 w 1163"/>
                <a:gd name="T91" fmla="*/ 1027 h 1149"/>
                <a:gd name="T92" fmla="*/ 625 w 1163"/>
                <a:gd name="T93" fmla="*/ 996 h 1149"/>
                <a:gd name="T94" fmla="*/ 606 w 1163"/>
                <a:gd name="T95" fmla="*/ 953 h 1149"/>
                <a:gd name="T96" fmla="*/ 575 w 1163"/>
                <a:gd name="T97" fmla="*/ 916 h 1149"/>
                <a:gd name="T98" fmla="*/ 552 w 1163"/>
                <a:gd name="T99" fmla="*/ 883 h 1149"/>
                <a:gd name="T100" fmla="*/ 448 w 1163"/>
                <a:gd name="T101" fmla="*/ 725 h 1149"/>
                <a:gd name="T102" fmla="*/ 400 w 1163"/>
                <a:gd name="T103" fmla="*/ 718 h 1149"/>
                <a:gd name="T104" fmla="*/ 367 w 1163"/>
                <a:gd name="T105" fmla="*/ 709 h 1149"/>
                <a:gd name="T106" fmla="*/ 350 w 1163"/>
                <a:gd name="T107" fmla="*/ 717 h 1149"/>
                <a:gd name="T108" fmla="*/ 311 w 1163"/>
                <a:gd name="T109" fmla="*/ 764 h 1149"/>
                <a:gd name="T110" fmla="*/ 295 w 1163"/>
                <a:gd name="T111" fmla="*/ 783 h 1149"/>
                <a:gd name="T112" fmla="*/ 265 w 1163"/>
                <a:gd name="T113" fmla="*/ 789 h 1149"/>
                <a:gd name="T114" fmla="*/ 220 w 1163"/>
                <a:gd name="T115" fmla="*/ 758 h 1149"/>
                <a:gd name="T116" fmla="*/ 176 w 1163"/>
                <a:gd name="T117" fmla="*/ 723 h 1149"/>
                <a:gd name="T118" fmla="*/ 155 w 1163"/>
                <a:gd name="T119" fmla="*/ 652 h 1149"/>
                <a:gd name="T120" fmla="*/ 109 w 1163"/>
                <a:gd name="T121" fmla="*/ 585 h 1149"/>
                <a:gd name="T122" fmla="*/ 4 w 1163"/>
                <a:gd name="T123" fmla="*/ 474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63" h="1149">
                  <a:moveTo>
                    <a:pt x="4" y="474"/>
                  </a:moveTo>
                  <a:lnTo>
                    <a:pt x="0" y="461"/>
                  </a:lnTo>
                  <a:lnTo>
                    <a:pt x="0" y="447"/>
                  </a:lnTo>
                  <a:lnTo>
                    <a:pt x="314" y="479"/>
                  </a:lnTo>
                  <a:lnTo>
                    <a:pt x="353" y="0"/>
                  </a:lnTo>
                  <a:lnTo>
                    <a:pt x="610" y="15"/>
                  </a:lnTo>
                  <a:lnTo>
                    <a:pt x="603" y="219"/>
                  </a:lnTo>
                  <a:lnTo>
                    <a:pt x="610" y="221"/>
                  </a:lnTo>
                  <a:lnTo>
                    <a:pt x="630" y="240"/>
                  </a:lnTo>
                  <a:lnTo>
                    <a:pt x="637" y="234"/>
                  </a:lnTo>
                  <a:lnTo>
                    <a:pt x="649" y="242"/>
                  </a:lnTo>
                  <a:lnTo>
                    <a:pt x="657" y="231"/>
                  </a:lnTo>
                  <a:lnTo>
                    <a:pt x="675" y="261"/>
                  </a:lnTo>
                  <a:lnTo>
                    <a:pt x="690" y="261"/>
                  </a:lnTo>
                  <a:lnTo>
                    <a:pt x="691" y="261"/>
                  </a:lnTo>
                  <a:lnTo>
                    <a:pt x="693" y="262"/>
                  </a:lnTo>
                  <a:lnTo>
                    <a:pt x="696" y="263"/>
                  </a:lnTo>
                  <a:lnTo>
                    <a:pt x="699" y="264"/>
                  </a:lnTo>
                  <a:lnTo>
                    <a:pt x="702" y="266"/>
                  </a:lnTo>
                  <a:lnTo>
                    <a:pt x="705" y="267"/>
                  </a:lnTo>
                  <a:lnTo>
                    <a:pt x="708" y="269"/>
                  </a:lnTo>
                  <a:lnTo>
                    <a:pt x="709" y="269"/>
                  </a:lnTo>
                  <a:lnTo>
                    <a:pt x="714" y="264"/>
                  </a:lnTo>
                  <a:lnTo>
                    <a:pt x="718" y="263"/>
                  </a:lnTo>
                  <a:lnTo>
                    <a:pt x="724" y="264"/>
                  </a:lnTo>
                  <a:lnTo>
                    <a:pt x="729" y="267"/>
                  </a:lnTo>
                  <a:lnTo>
                    <a:pt x="732" y="270"/>
                  </a:lnTo>
                  <a:lnTo>
                    <a:pt x="735" y="275"/>
                  </a:lnTo>
                  <a:lnTo>
                    <a:pt x="736" y="276"/>
                  </a:lnTo>
                  <a:lnTo>
                    <a:pt x="738" y="278"/>
                  </a:lnTo>
                  <a:lnTo>
                    <a:pt x="742" y="269"/>
                  </a:lnTo>
                  <a:lnTo>
                    <a:pt x="750" y="272"/>
                  </a:lnTo>
                  <a:lnTo>
                    <a:pt x="763" y="267"/>
                  </a:lnTo>
                  <a:lnTo>
                    <a:pt x="763" y="279"/>
                  </a:lnTo>
                  <a:lnTo>
                    <a:pt x="774" y="281"/>
                  </a:lnTo>
                  <a:lnTo>
                    <a:pt x="776" y="293"/>
                  </a:lnTo>
                  <a:lnTo>
                    <a:pt x="786" y="296"/>
                  </a:lnTo>
                  <a:lnTo>
                    <a:pt x="792" y="288"/>
                  </a:lnTo>
                  <a:lnTo>
                    <a:pt x="802" y="285"/>
                  </a:lnTo>
                  <a:lnTo>
                    <a:pt x="810" y="294"/>
                  </a:lnTo>
                  <a:lnTo>
                    <a:pt x="817" y="296"/>
                  </a:lnTo>
                  <a:lnTo>
                    <a:pt x="817" y="297"/>
                  </a:lnTo>
                  <a:lnTo>
                    <a:pt x="817" y="299"/>
                  </a:lnTo>
                  <a:lnTo>
                    <a:pt x="817" y="300"/>
                  </a:lnTo>
                  <a:lnTo>
                    <a:pt x="817" y="302"/>
                  </a:lnTo>
                  <a:lnTo>
                    <a:pt x="819" y="303"/>
                  </a:lnTo>
                  <a:lnTo>
                    <a:pt x="820" y="305"/>
                  </a:lnTo>
                  <a:lnTo>
                    <a:pt x="823" y="303"/>
                  </a:lnTo>
                  <a:lnTo>
                    <a:pt x="829" y="300"/>
                  </a:lnTo>
                  <a:lnTo>
                    <a:pt x="834" y="296"/>
                  </a:lnTo>
                  <a:lnTo>
                    <a:pt x="837" y="294"/>
                  </a:lnTo>
                  <a:lnTo>
                    <a:pt x="838" y="293"/>
                  </a:lnTo>
                  <a:lnTo>
                    <a:pt x="838" y="291"/>
                  </a:lnTo>
                  <a:lnTo>
                    <a:pt x="838" y="291"/>
                  </a:lnTo>
                  <a:lnTo>
                    <a:pt x="838" y="294"/>
                  </a:lnTo>
                  <a:lnTo>
                    <a:pt x="839" y="297"/>
                  </a:lnTo>
                  <a:lnTo>
                    <a:pt x="840" y="303"/>
                  </a:lnTo>
                  <a:lnTo>
                    <a:pt x="843" y="311"/>
                  </a:lnTo>
                  <a:lnTo>
                    <a:pt x="845" y="314"/>
                  </a:lnTo>
                  <a:lnTo>
                    <a:pt x="847" y="314"/>
                  </a:lnTo>
                  <a:lnTo>
                    <a:pt x="847" y="312"/>
                  </a:lnTo>
                  <a:lnTo>
                    <a:pt x="849" y="309"/>
                  </a:lnTo>
                  <a:lnTo>
                    <a:pt x="849" y="308"/>
                  </a:lnTo>
                  <a:lnTo>
                    <a:pt x="849" y="305"/>
                  </a:lnTo>
                  <a:lnTo>
                    <a:pt x="849" y="303"/>
                  </a:lnTo>
                  <a:lnTo>
                    <a:pt x="864" y="293"/>
                  </a:lnTo>
                  <a:lnTo>
                    <a:pt x="875" y="300"/>
                  </a:lnTo>
                  <a:lnTo>
                    <a:pt x="889" y="294"/>
                  </a:lnTo>
                  <a:lnTo>
                    <a:pt x="889" y="294"/>
                  </a:lnTo>
                  <a:lnTo>
                    <a:pt x="888" y="295"/>
                  </a:lnTo>
                  <a:lnTo>
                    <a:pt x="888" y="295"/>
                  </a:lnTo>
                  <a:lnTo>
                    <a:pt x="888" y="297"/>
                  </a:lnTo>
                  <a:lnTo>
                    <a:pt x="889" y="299"/>
                  </a:lnTo>
                  <a:lnTo>
                    <a:pt x="891" y="302"/>
                  </a:lnTo>
                  <a:lnTo>
                    <a:pt x="895" y="305"/>
                  </a:lnTo>
                  <a:lnTo>
                    <a:pt x="901" y="308"/>
                  </a:lnTo>
                  <a:lnTo>
                    <a:pt x="906" y="311"/>
                  </a:lnTo>
                  <a:lnTo>
                    <a:pt x="911" y="314"/>
                  </a:lnTo>
                  <a:lnTo>
                    <a:pt x="914" y="315"/>
                  </a:lnTo>
                  <a:lnTo>
                    <a:pt x="916" y="317"/>
                  </a:lnTo>
                  <a:lnTo>
                    <a:pt x="918" y="317"/>
                  </a:lnTo>
                  <a:lnTo>
                    <a:pt x="921" y="315"/>
                  </a:lnTo>
                  <a:lnTo>
                    <a:pt x="925" y="312"/>
                  </a:lnTo>
                  <a:lnTo>
                    <a:pt x="931" y="306"/>
                  </a:lnTo>
                  <a:lnTo>
                    <a:pt x="938" y="300"/>
                  </a:lnTo>
                  <a:lnTo>
                    <a:pt x="944" y="297"/>
                  </a:lnTo>
                  <a:lnTo>
                    <a:pt x="948" y="297"/>
                  </a:lnTo>
                  <a:lnTo>
                    <a:pt x="952" y="299"/>
                  </a:lnTo>
                  <a:lnTo>
                    <a:pt x="954" y="300"/>
                  </a:lnTo>
                  <a:lnTo>
                    <a:pt x="957" y="303"/>
                  </a:lnTo>
                  <a:lnTo>
                    <a:pt x="958" y="305"/>
                  </a:lnTo>
                  <a:lnTo>
                    <a:pt x="958" y="306"/>
                  </a:lnTo>
                  <a:lnTo>
                    <a:pt x="958" y="306"/>
                  </a:lnTo>
                  <a:lnTo>
                    <a:pt x="958" y="306"/>
                  </a:lnTo>
                  <a:lnTo>
                    <a:pt x="958" y="306"/>
                  </a:lnTo>
                  <a:lnTo>
                    <a:pt x="960" y="306"/>
                  </a:lnTo>
                  <a:lnTo>
                    <a:pt x="960" y="305"/>
                  </a:lnTo>
                  <a:lnTo>
                    <a:pt x="961" y="303"/>
                  </a:lnTo>
                  <a:lnTo>
                    <a:pt x="964" y="300"/>
                  </a:lnTo>
                  <a:lnTo>
                    <a:pt x="967" y="296"/>
                  </a:lnTo>
                  <a:lnTo>
                    <a:pt x="969" y="294"/>
                  </a:lnTo>
                  <a:lnTo>
                    <a:pt x="969" y="291"/>
                  </a:lnTo>
                  <a:lnTo>
                    <a:pt x="969" y="288"/>
                  </a:lnTo>
                  <a:lnTo>
                    <a:pt x="971" y="288"/>
                  </a:lnTo>
                  <a:lnTo>
                    <a:pt x="971" y="288"/>
                  </a:lnTo>
                  <a:lnTo>
                    <a:pt x="972" y="291"/>
                  </a:lnTo>
                  <a:lnTo>
                    <a:pt x="975" y="294"/>
                  </a:lnTo>
                  <a:lnTo>
                    <a:pt x="981" y="296"/>
                  </a:lnTo>
                  <a:lnTo>
                    <a:pt x="985" y="300"/>
                  </a:lnTo>
                  <a:lnTo>
                    <a:pt x="990" y="305"/>
                  </a:lnTo>
                  <a:lnTo>
                    <a:pt x="991" y="306"/>
                  </a:lnTo>
                  <a:lnTo>
                    <a:pt x="993" y="308"/>
                  </a:lnTo>
                  <a:lnTo>
                    <a:pt x="993" y="308"/>
                  </a:lnTo>
                  <a:lnTo>
                    <a:pt x="994" y="306"/>
                  </a:lnTo>
                  <a:lnTo>
                    <a:pt x="996" y="303"/>
                  </a:lnTo>
                  <a:lnTo>
                    <a:pt x="999" y="299"/>
                  </a:lnTo>
                  <a:lnTo>
                    <a:pt x="1002" y="295"/>
                  </a:lnTo>
                  <a:lnTo>
                    <a:pt x="1007" y="293"/>
                  </a:lnTo>
                  <a:lnTo>
                    <a:pt x="1010" y="293"/>
                  </a:lnTo>
                  <a:lnTo>
                    <a:pt x="1014" y="293"/>
                  </a:lnTo>
                  <a:lnTo>
                    <a:pt x="1017" y="294"/>
                  </a:lnTo>
                  <a:lnTo>
                    <a:pt x="1020" y="294"/>
                  </a:lnTo>
                  <a:lnTo>
                    <a:pt x="1021" y="295"/>
                  </a:lnTo>
                  <a:lnTo>
                    <a:pt x="1021" y="295"/>
                  </a:lnTo>
                  <a:lnTo>
                    <a:pt x="1044" y="315"/>
                  </a:lnTo>
                  <a:lnTo>
                    <a:pt x="1057" y="317"/>
                  </a:lnTo>
                  <a:lnTo>
                    <a:pt x="1073" y="323"/>
                  </a:lnTo>
                  <a:lnTo>
                    <a:pt x="1071" y="320"/>
                  </a:lnTo>
                  <a:lnTo>
                    <a:pt x="1082" y="332"/>
                  </a:lnTo>
                  <a:lnTo>
                    <a:pt x="1103" y="329"/>
                  </a:lnTo>
                  <a:lnTo>
                    <a:pt x="1112" y="330"/>
                  </a:lnTo>
                  <a:lnTo>
                    <a:pt x="1112" y="386"/>
                  </a:lnTo>
                  <a:lnTo>
                    <a:pt x="1116" y="492"/>
                  </a:lnTo>
                  <a:lnTo>
                    <a:pt x="1136" y="517"/>
                  </a:lnTo>
                  <a:lnTo>
                    <a:pt x="1136" y="543"/>
                  </a:lnTo>
                  <a:lnTo>
                    <a:pt x="1148" y="555"/>
                  </a:lnTo>
                  <a:lnTo>
                    <a:pt x="1154" y="572"/>
                  </a:lnTo>
                  <a:lnTo>
                    <a:pt x="1154" y="572"/>
                  </a:lnTo>
                  <a:lnTo>
                    <a:pt x="1154" y="573"/>
                  </a:lnTo>
                  <a:lnTo>
                    <a:pt x="1155" y="575"/>
                  </a:lnTo>
                  <a:lnTo>
                    <a:pt x="1156" y="577"/>
                  </a:lnTo>
                  <a:lnTo>
                    <a:pt x="1158" y="582"/>
                  </a:lnTo>
                  <a:lnTo>
                    <a:pt x="1158" y="585"/>
                  </a:lnTo>
                  <a:lnTo>
                    <a:pt x="1159" y="589"/>
                  </a:lnTo>
                  <a:lnTo>
                    <a:pt x="1161" y="593"/>
                  </a:lnTo>
                  <a:lnTo>
                    <a:pt x="1162" y="597"/>
                  </a:lnTo>
                  <a:lnTo>
                    <a:pt x="1162" y="602"/>
                  </a:lnTo>
                  <a:lnTo>
                    <a:pt x="1162" y="608"/>
                  </a:lnTo>
                  <a:lnTo>
                    <a:pt x="1162" y="612"/>
                  </a:lnTo>
                  <a:lnTo>
                    <a:pt x="1161" y="616"/>
                  </a:lnTo>
                  <a:lnTo>
                    <a:pt x="1159" y="622"/>
                  </a:lnTo>
                  <a:lnTo>
                    <a:pt x="1158" y="626"/>
                  </a:lnTo>
                  <a:lnTo>
                    <a:pt x="1155" y="630"/>
                  </a:lnTo>
                  <a:lnTo>
                    <a:pt x="1149" y="638"/>
                  </a:lnTo>
                  <a:lnTo>
                    <a:pt x="1146" y="643"/>
                  </a:lnTo>
                  <a:lnTo>
                    <a:pt x="1145" y="648"/>
                  </a:lnTo>
                  <a:lnTo>
                    <a:pt x="1145" y="651"/>
                  </a:lnTo>
                  <a:lnTo>
                    <a:pt x="1146" y="654"/>
                  </a:lnTo>
                  <a:lnTo>
                    <a:pt x="1148" y="655"/>
                  </a:lnTo>
                  <a:lnTo>
                    <a:pt x="1149" y="656"/>
                  </a:lnTo>
                  <a:lnTo>
                    <a:pt x="1149" y="656"/>
                  </a:lnTo>
                  <a:lnTo>
                    <a:pt x="1146" y="675"/>
                  </a:lnTo>
                  <a:lnTo>
                    <a:pt x="1146" y="675"/>
                  </a:lnTo>
                  <a:lnTo>
                    <a:pt x="1149" y="676"/>
                  </a:lnTo>
                  <a:lnTo>
                    <a:pt x="1151" y="679"/>
                  </a:lnTo>
                  <a:lnTo>
                    <a:pt x="1154" y="684"/>
                  </a:lnTo>
                  <a:lnTo>
                    <a:pt x="1155" y="688"/>
                  </a:lnTo>
                  <a:lnTo>
                    <a:pt x="1155" y="693"/>
                  </a:lnTo>
                  <a:lnTo>
                    <a:pt x="1152" y="701"/>
                  </a:lnTo>
                  <a:lnTo>
                    <a:pt x="1146" y="708"/>
                  </a:lnTo>
                  <a:lnTo>
                    <a:pt x="1145" y="709"/>
                  </a:lnTo>
                  <a:lnTo>
                    <a:pt x="1142" y="708"/>
                  </a:lnTo>
                  <a:lnTo>
                    <a:pt x="1140" y="708"/>
                  </a:lnTo>
                  <a:lnTo>
                    <a:pt x="1140" y="708"/>
                  </a:lnTo>
                  <a:lnTo>
                    <a:pt x="1126" y="723"/>
                  </a:lnTo>
                  <a:lnTo>
                    <a:pt x="1133" y="734"/>
                  </a:lnTo>
                  <a:lnTo>
                    <a:pt x="1134" y="741"/>
                  </a:lnTo>
                  <a:lnTo>
                    <a:pt x="1134" y="741"/>
                  </a:lnTo>
                  <a:lnTo>
                    <a:pt x="1134" y="741"/>
                  </a:lnTo>
                  <a:lnTo>
                    <a:pt x="1133" y="741"/>
                  </a:lnTo>
                  <a:lnTo>
                    <a:pt x="1133" y="741"/>
                  </a:lnTo>
                  <a:lnTo>
                    <a:pt x="1130" y="741"/>
                  </a:lnTo>
                  <a:lnTo>
                    <a:pt x="1129" y="741"/>
                  </a:lnTo>
                  <a:lnTo>
                    <a:pt x="1126" y="741"/>
                  </a:lnTo>
                  <a:lnTo>
                    <a:pt x="1122" y="742"/>
                  </a:lnTo>
                  <a:lnTo>
                    <a:pt x="1118" y="744"/>
                  </a:lnTo>
                  <a:lnTo>
                    <a:pt x="1112" y="745"/>
                  </a:lnTo>
                  <a:lnTo>
                    <a:pt x="1106" y="748"/>
                  </a:lnTo>
                  <a:lnTo>
                    <a:pt x="1097" y="753"/>
                  </a:lnTo>
                  <a:lnTo>
                    <a:pt x="1089" y="756"/>
                  </a:lnTo>
                  <a:lnTo>
                    <a:pt x="1079" y="761"/>
                  </a:lnTo>
                  <a:lnTo>
                    <a:pt x="1067" y="766"/>
                  </a:lnTo>
                  <a:lnTo>
                    <a:pt x="1056" y="774"/>
                  </a:lnTo>
                  <a:lnTo>
                    <a:pt x="1060" y="766"/>
                  </a:lnTo>
                  <a:lnTo>
                    <a:pt x="1065" y="764"/>
                  </a:lnTo>
                  <a:lnTo>
                    <a:pt x="1074" y="758"/>
                  </a:lnTo>
                  <a:lnTo>
                    <a:pt x="1076" y="758"/>
                  </a:lnTo>
                  <a:lnTo>
                    <a:pt x="1077" y="756"/>
                  </a:lnTo>
                  <a:lnTo>
                    <a:pt x="1077" y="755"/>
                  </a:lnTo>
                  <a:lnTo>
                    <a:pt x="1074" y="754"/>
                  </a:lnTo>
                  <a:lnTo>
                    <a:pt x="1073" y="754"/>
                  </a:lnTo>
                  <a:lnTo>
                    <a:pt x="1070" y="754"/>
                  </a:lnTo>
                  <a:lnTo>
                    <a:pt x="1068" y="754"/>
                  </a:lnTo>
                  <a:lnTo>
                    <a:pt x="1067" y="754"/>
                  </a:lnTo>
                  <a:lnTo>
                    <a:pt x="1065" y="755"/>
                  </a:lnTo>
                  <a:lnTo>
                    <a:pt x="1065" y="755"/>
                  </a:lnTo>
                  <a:lnTo>
                    <a:pt x="1065" y="755"/>
                  </a:lnTo>
                  <a:lnTo>
                    <a:pt x="1065" y="755"/>
                  </a:lnTo>
                  <a:lnTo>
                    <a:pt x="1060" y="758"/>
                  </a:lnTo>
                  <a:lnTo>
                    <a:pt x="1060" y="758"/>
                  </a:lnTo>
                  <a:lnTo>
                    <a:pt x="1059" y="758"/>
                  </a:lnTo>
                  <a:lnTo>
                    <a:pt x="1057" y="758"/>
                  </a:lnTo>
                  <a:lnTo>
                    <a:pt x="1056" y="758"/>
                  </a:lnTo>
                  <a:lnTo>
                    <a:pt x="1054" y="758"/>
                  </a:lnTo>
                  <a:lnTo>
                    <a:pt x="1053" y="756"/>
                  </a:lnTo>
                  <a:lnTo>
                    <a:pt x="1054" y="754"/>
                  </a:lnTo>
                  <a:lnTo>
                    <a:pt x="1056" y="751"/>
                  </a:lnTo>
                  <a:lnTo>
                    <a:pt x="1057" y="747"/>
                  </a:lnTo>
                  <a:lnTo>
                    <a:pt x="1059" y="744"/>
                  </a:lnTo>
                  <a:lnTo>
                    <a:pt x="1060" y="742"/>
                  </a:lnTo>
                  <a:lnTo>
                    <a:pt x="1062" y="741"/>
                  </a:lnTo>
                  <a:lnTo>
                    <a:pt x="1063" y="739"/>
                  </a:lnTo>
                  <a:lnTo>
                    <a:pt x="1063" y="738"/>
                  </a:lnTo>
                  <a:lnTo>
                    <a:pt x="1063" y="736"/>
                  </a:lnTo>
                  <a:lnTo>
                    <a:pt x="1062" y="735"/>
                  </a:lnTo>
                  <a:lnTo>
                    <a:pt x="1060" y="732"/>
                  </a:lnTo>
                  <a:lnTo>
                    <a:pt x="1059" y="732"/>
                  </a:lnTo>
                  <a:lnTo>
                    <a:pt x="1057" y="732"/>
                  </a:lnTo>
                  <a:lnTo>
                    <a:pt x="1053" y="735"/>
                  </a:lnTo>
                  <a:lnTo>
                    <a:pt x="1049" y="736"/>
                  </a:lnTo>
                  <a:lnTo>
                    <a:pt x="1046" y="738"/>
                  </a:lnTo>
                  <a:lnTo>
                    <a:pt x="1044" y="739"/>
                  </a:lnTo>
                  <a:lnTo>
                    <a:pt x="1044" y="739"/>
                  </a:lnTo>
                  <a:lnTo>
                    <a:pt x="1044" y="741"/>
                  </a:lnTo>
                  <a:lnTo>
                    <a:pt x="1044" y="741"/>
                  </a:lnTo>
                  <a:lnTo>
                    <a:pt x="1044" y="742"/>
                  </a:lnTo>
                  <a:lnTo>
                    <a:pt x="1044" y="744"/>
                  </a:lnTo>
                  <a:lnTo>
                    <a:pt x="1043" y="745"/>
                  </a:lnTo>
                  <a:lnTo>
                    <a:pt x="1041" y="745"/>
                  </a:lnTo>
                  <a:lnTo>
                    <a:pt x="1040" y="745"/>
                  </a:lnTo>
                  <a:lnTo>
                    <a:pt x="1037" y="744"/>
                  </a:lnTo>
                  <a:lnTo>
                    <a:pt x="1035" y="741"/>
                  </a:lnTo>
                  <a:lnTo>
                    <a:pt x="1032" y="739"/>
                  </a:lnTo>
                  <a:lnTo>
                    <a:pt x="1032" y="738"/>
                  </a:lnTo>
                  <a:lnTo>
                    <a:pt x="1030" y="736"/>
                  </a:lnTo>
                  <a:lnTo>
                    <a:pt x="1030" y="736"/>
                  </a:lnTo>
                  <a:lnTo>
                    <a:pt x="1030" y="738"/>
                  </a:lnTo>
                  <a:lnTo>
                    <a:pt x="1032" y="741"/>
                  </a:lnTo>
                  <a:lnTo>
                    <a:pt x="1032" y="744"/>
                  </a:lnTo>
                  <a:lnTo>
                    <a:pt x="1032" y="747"/>
                  </a:lnTo>
                  <a:lnTo>
                    <a:pt x="1032" y="750"/>
                  </a:lnTo>
                  <a:lnTo>
                    <a:pt x="1032" y="751"/>
                  </a:lnTo>
                  <a:lnTo>
                    <a:pt x="1030" y="754"/>
                  </a:lnTo>
                  <a:lnTo>
                    <a:pt x="1030" y="755"/>
                  </a:lnTo>
                  <a:lnTo>
                    <a:pt x="1032" y="758"/>
                  </a:lnTo>
                  <a:lnTo>
                    <a:pt x="1034" y="761"/>
                  </a:lnTo>
                  <a:lnTo>
                    <a:pt x="1038" y="765"/>
                  </a:lnTo>
                  <a:lnTo>
                    <a:pt x="1043" y="768"/>
                  </a:lnTo>
                  <a:lnTo>
                    <a:pt x="1046" y="771"/>
                  </a:lnTo>
                  <a:lnTo>
                    <a:pt x="1047" y="774"/>
                  </a:lnTo>
                  <a:lnTo>
                    <a:pt x="1046" y="775"/>
                  </a:lnTo>
                  <a:lnTo>
                    <a:pt x="1046" y="777"/>
                  </a:lnTo>
                  <a:lnTo>
                    <a:pt x="1044" y="778"/>
                  </a:lnTo>
                  <a:lnTo>
                    <a:pt x="1043" y="778"/>
                  </a:lnTo>
                  <a:lnTo>
                    <a:pt x="1043" y="778"/>
                  </a:lnTo>
                  <a:lnTo>
                    <a:pt x="1027" y="795"/>
                  </a:lnTo>
                  <a:lnTo>
                    <a:pt x="1018" y="794"/>
                  </a:lnTo>
                  <a:lnTo>
                    <a:pt x="1010" y="813"/>
                  </a:lnTo>
                  <a:lnTo>
                    <a:pt x="1018" y="811"/>
                  </a:lnTo>
                  <a:lnTo>
                    <a:pt x="1018" y="811"/>
                  </a:lnTo>
                  <a:lnTo>
                    <a:pt x="1017" y="813"/>
                  </a:lnTo>
                  <a:lnTo>
                    <a:pt x="1016" y="814"/>
                  </a:lnTo>
                  <a:lnTo>
                    <a:pt x="1014" y="817"/>
                  </a:lnTo>
                  <a:lnTo>
                    <a:pt x="1011" y="819"/>
                  </a:lnTo>
                  <a:lnTo>
                    <a:pt x="1008" y="821"/>
                  </a:lnTo>
                  <a:lnTo>
                    <a:pt x="1004" y="824"/>
                  </a:lnTo>
                  <a:lnTo>
                    <a:pt x="1000" y="827"/>
                  </a:lnTo>
                  <a:lnTo>
                    <a:pt x="997" y="831"/>
                  </a:lnTo>
                  <a:lnTo>
                    <a:pt x="993" y="834"/>
                  </a:lnTo>
                  <a:lnTo>
                    <a:pt x="987" y="837"/>
                  </a:lnTo>
                  <a:lnTo>
                    <a:pt x="983" y="840"/>
                  </a:lnTo>
                  <a:lnTo>
                    <a:pt x="978" y="843"/>
                  </a:lnTo>
                  <a:lnTo>
                    <a:pt x="972" y="846"/>
                  </a:lnTo>
                  <a:lnTo>
                    <a:pt x="968" y="847"/>
                  </a:lnTo>
                  <a:lnTo>
                    <a:pt x="963" y="849"/>
                  </a:lnTo>
                  <a:lnTo>
                    <a:pt x="961" y="850"/>
                  </a:lnTo>
                  <a:lnTo>
                    <a:pt x="957" y="852"/>
                  </a:lnTo>
                  <a:lnTo>
                    <a:pt x="952" y="855"/>
                  </a:lnTo>
                  <a:lnTo>
                    <a:pt x="947" y="858"/>
                  </a:lnTo>
                  <a:lnTo>
                    <a:pt x="941" y="862"/>
                  </a:lnTo>
                  <a:lnTo>
                    <a:pt x="936" y="865"/>
                  </a:lnTo>
                  <a:lnTo>
                    <a:pt x="934" y="867"/>
                  </a:lnTo>
                  <a:lnTo>
                    <a:pt x="933" y="868"/>
                  </a:lnTo>
                  <a:lnTo>
                    <a:pt x="931" y="868"/>
                  </a:lnTo>
                  <a:lnTo>
                    <a:pt x="927" y="871"/>
                  </a:lnTo>
                  <a:lnTo>
                    <a:pt x="922" y="874"/>
                  </a:lnTo>
                  <a:lnTo>
                    <a:pt x="918" y="876"/>
                  </a:lnTo>
                  <a:lnTo>
                    <a:pt x="914" y="876"/>
                  </a:lnTo>
                  <a:lnTo>
                    <a:pt x="915" y="876"/>
                  </a:lnTo>
                  <a:lnTo>
                    <a:pt x="919" y="871"/>
                  </a:lnTo>
                  <a:lnTo>
                    <a:pt x="931" y="864"/>
                  </a:lnTo>
                  <a:lnTo>
                    <a:pt x="933" y="862"/>
                  </a:lnTo>
                  <a:lnTo>
                    <a:pt x="934" y="861"/>
                  </a:lnTo>
                  <a:lnTo>
                    <a:pt x="938" y="859"/>
                  </a:lnTo>
                  <a:lnTo>
                    <a:pt x="942" y="857"/>
                  </a:lnTo>
                  <a:lnTo>
                    <a:pt x="948" y="854"/>
                  </a:lnTo>
                  <a:lnTo>
                    <a:pt x="952" y="852"/>
                  </a:lnTo>
                  <a:lnTo>
                    <a:pt x="958" y="849"/>
                  </a:lnTo>
                  <a:lnTo>
                    <a:pt x="963" y="846"/>
                  </a:lnTo>
                  <a:lnTo>
                    <a:pt x="966" y="843"/>
                  </a:lnTo>
                  <a:lnTo>
                    <a:pt x="967" y="841"/>
                  </a:lnTo>
                  <a:lnTo>
                    <a:pt x="968" y="841"/>
                  </a:lnTo>
                  <a:lnTo>
                    <a:pt x="967" y="841"/>
                  </a:lnTo>
                  <a:lnTo>
                    <a:pt x="964" y="841"/>
                  </a:lnTo>
                  <a:lnTo>
                    <a:pt x="958" y="844"/>
                  </a:lnTo>
                  <a:lnTo>
                    <a:pt x="948" y="849"/>
                  </a:lnTo>
                  <a:lnTo>
                    <a:pt x="936" y="854"/>
                  </a:lnTo>
                  <a:lnTo>
                    <a:pt x="936" y="854"/>
                  </a:lnTo>
                  <a:lnTo>
                    <a:pt x="934" y="855"/>
                  </a:lnTo>
                  <a:lnTo>
                    <a:pt x="931" y="857"/>
                  </a:lnTo>
                  <a:lnTo>
                    <a:pt x="930" y="858"/>
                  </a:lnTo>
                  <a:lnTo>
                    <a:pt x="927" y="859"/>
                  </a:lnTo>
                  <a:lnTo>
                    <a:pt x="925" y="859"/>
                  </a:lnTo>
                  <a:lnTo>
                    <a:pt x="925" y="857"/>
                  </a:lnTo>
                  <a:lnTo>
                    <a:pt x="927" y="854"/>
                  </a:lnTo>
                  <a:lnTo>
                    <a:pt x="927" y="852"/>
                  </a:lnTo>
                  <a:lnTo>
                    <a:pt x="928" y="852"/>
                  </a:lnTo>
                  <a:lnTo>
                    <a:pt x="928" y="850"/>
                  </a:lnTo>
                  <a:lnTo>
                    <a:pt x="930" y="847"/>
                  </a:lnTo>
                  <a:lnTo>
                    <a:pt x="930" y="846"/>
                  </a:lnTo>
                  <a:lnTo>
                    <a:pt x="931" y="843"/>
                  </a:lnTo>
                  <a:lnTo>
                    <a:pt x="931" y="843"/>
                  </a:lnTo>
                  <a:lnTo>
                    <a:pt x="931" y="841"/>
                  </a:lnTo>
                  <a:lnTo>
                    <a:pt x="921" y="852"/>
                  </a:lnTo>
                  <a:lnTo>
                    <a:pt x="914" y="852"/>
                  </a:lnTo>
                  <a:lnTo>
                    <a:pt x="911" y="849"/>
                  </a:lnTo>
                  <a:lnTo>
                    <a:pt x="912" y="857"/>
                  </a:lnTo>
                  <a:lnTo>
                    <a:pt x="903" y="859"/>
                  </a:lnTo>
                  <a:lnTo>
                    <a:pt x="903" y="858"/>
                  </a:lnTo>
                  <a:lnTo>
                    <a:pt x="900" y="854"/>
                  </a:lnTo>
                  <a:lnTo>
                    <a:pt x="895" y="850"/>
                  </a:lnTo>
                  <a:lnTo>
                    <a:pt x="891" y="847"/>
                  </a:lnTo>
                  <a:lnTo>
                    <a:pt x="888" y="846"/>
                  </a:lnTo>
                  <a:lnTo>
                    <a:pt x="888" y="847"/>
                  </a:lnTo>
                  <a:lnTo>
                    <a:pt x="889" y="852"/>
                  </a:lnTo>
                  <a:lnTo>
                    <a:pt x="897" y="864"/>
                  </a:lnTo>
                  <a:lnTo>
                    <a:pt x="898" y="864"/>
                  </a:lnTo>
                  <a:lnTo>
                    <a:pt x="901" y="867"/>
                  </a:lnTo>
                  <a:lnTo>
                    <a:pt x="903" y="867"/>
                  </a:lnTo>
                  <a:lnTo>
                    <a:pt x="905" y="868"/>
                  </a:lnTo>
                  <a:lnTo>
                    <a:pt x="905" y="868"/>
                  </a:lnTo>
                  <a:lnTo>
                    <a:pt x="906" y="871"/>
                  </a:lnTo>
                  <a:lnTo>
                    <a:pt x="906" y="874"/>
                  </a:lnTo>
                  <a:lnTo>
                    <a:pt x="903" y="877"/>
                  </a:lnTo>
                  <a:lnTo>
                    <a:pt x="901" y="879"/>
                  </a:lnTo>
                  <a:lnTo>
                    <a:pt x="900" y="880"/>
                  </a:lnTo>
                  <a:lnTo>
                    <a:pt x="897" y="882"/>
                  </a:lnTo>
                  <a:lnTo>
                    <a:pt x="895" y="883"/>
                  </a:lnTo>
                  <a:lnTo>
                    <a:pt x="892" y="885"/>
                  </a:lnTo>
                  <a:lnTo>
                    <a:pt x="891" y="885"/>
                  </a:lnTo>
                  <a:lnTo>
                    <a:pt x="891" y="885"/>
                  </a:lnTo>
                  <a:lnTo>
                    <a:pt x="889" y="885"/>
                  </a:lnTo>
                  <a:lnTo>
                    <a:pt x="889" y="885"/>
                  </a:lnTo>
                  <a:lnTo>
                    <a:pt x="889" y="887"/>
                  </a:lnTo>
                  <a:lnTo>
                    <a:pt x="888" y="887"/>
                  </a:lnTo>
                  <a:lnTo>
                    <a:pt x="886" y="887"/>
                  </a:lnTo>
                  <a:lnTo>
                    <a:pt x="885" y="887"/>
                  </a:lnTo>
                  <a:lnTo>
                    <a:pt x="883" y="885"/>
                  </a:lnTo>
                  <a:lnTo>
                    <a:pt x="882" y="885"/>
                  </a:lnTo>
                  <a:lnTo>
                    <a:pt x="880" y="880"/>
                  </a:lnTo>
                  <a:lnTo>
                    <a:pt x="880" y="876"/>
                  </a:lnTo>
                  <a:lnTo>
                    <a:pt x="878" y="873"/>
                  </a:lnTo>
                  <a:lnTo>
                    <a:pt x="878" y="870"/>
                  </a:lnTo>
                  <a:lnTo>
                    <a:pt x="875" y="870"/>
                  </a:lnTo>
                  <a:lnTo>
                    <a:pt x="875" y="868"/>
                  </a:lnTo>
                  <a:lnTo>
                    <a:pt x="873" y="868"/>
                  </a:lnTo>
                  <a:lnTo>
                    <a:pt x="872" y="868"/>
                  </a:lnTo>
                  <a:lnTo>
                    <a:pt x="872" y="868"/>
                  </a:lnTo>
                  <a:lnTo>
                    <a:pt x="864" y="858"/>
                  </a:lnTo>
                  <a:lnTo>
                    <a:pt x="867" y="870"/>
                  </a:lnTo>
                  <a:lnTo>
                    <a:pt x="873" y="879"/>
                  </a:lnTo>
                  <a:lnTo>
                    <a:pt x="871" y="882"/>
                  </a:lnTo>
                  <a:lnTo>
                    <a:pt x="873" y="894"/>
                  </a:lnTo>
                  <a:lnTo>
                    <a:pt x="864" y="906"/>
                  </a:lnTo>
                  <a:lnTo>
                    <a:pt x="862" y="895"/>
                  </a:lnTo>
                  <a:lnTo>
                    <a:pt x="856" y="904"/>
                  </a:lnTo>
                  <a:lnTo>
                    <a:pt x="852" y="901"/>
                  </a:lnTo>
                  <a:lnTo>
                    <a:pt x="834" y="913"/>
                  </a:lnTo>
                  <a:lnTo>
                    <a:pt x="840" y="920"/>
                  </a:lnTo>
                  <a:lnTo>
                    <a:pt x="840" y="920"/>
                  </a:lnTo>
                  <a:lnTo>
                    <a:pt x="843" y="918"/>
                  </a:lnTo>
                  <a:lnTo>
                    <a:pt x="845" y="916"/>
                  </a:lnTo>
                  <a:lnTo>
                    <a:pt x="847" y="913"/>
                  </a:lnTo>
                  <a:lnTo>
                    <a:pt x="849" y="912"/>
                  </a:lnTo>
                  <a:lnTo>
                    <a:pt x="850" y="913"/>
                  </a:lnTo>
                  <a:lnTo>
                    <a:pt x="850" y="916"/>
                  </a:lnTo>
                  <a:lnTo>
                    <a:pt x="847" y="922"/>
                  </a:lnTo>
                  <a:lnTo>
                    <a:pt x="847" y="922"/>
                  </a:lnTo>
                  <a:lnTo>
                    <a:pt x="846" y="924"/>
                  </a:lnTo>
                  <a:lnTo>
                    <a:pt x="845" y="927"/>
                  </a:lnTo>
                  <a:lnTo>
                    <a:pt x="843" y="930"/>
                  </a:lnTo>
                  <a:lnTo>
                    <a:pt x="842" y="931"/>
                  </a:lnTo>
                  <a:lnTo>
                    <a:pt x="840" y="934"/>
                  </a:lnTo>
                  <a:lnTo>
                    <a:pt x="840" y="936"/>
                  </a:lnTo>
                  <a:lnTo>
                    <a:pt x="840" y="936"/>
                  </a:lnTo>
                  <a:lnTo>
                    <a:pt x="835" y="940"/>
                  </a:lnTo>
                  <a:lnTo>
                    <a:pt x="832" y="934"/>
                  </a:lnTo>
                  <a:lnTo>
                    <a:pt x="806" y="934"/>
                  </a:lnTo>
                  <a:lnTo>
                    <a:pt x="810" y="940"/>
                  </a:lnTo>
                  <a:lnTo>
                    <a:pt x="814" y="942"/>
                  </a:lnTo>
                  <a:lnTo>
                    <a:pt x="817" y="949"/>
                  </a:lnTo>
                  <a:lnTo>
                    <a:pt x="823" y="953"/>
                  </a:lnTo>
                  <a:lnTo>
                    <a:pt x="828" y="951"/>
                  </a:lnTo>
                  <a:lnTo>
                    <a:pt x="816" y="988"/>
                  </a:lnTo>
                  <a:lnTo>
                    <a:pt x="816" y="990"/>
                  </a:lnTo>
                  <a:lnTo>
                    <a:pt x="814" y="991"/>
                  </a:lnTo>
                  <a:lnTo>
                    <a:pt x="814" y="993"/>
                  </a:lnTo>
                  <a:lnTo>
                    <a:pt x="813" y="993"/>
                  </a:lnTo>
                  <a:lnTo>
                    <a:pt x="811" y="994"/>
                  </a:lnTo>
                  <a:lnTo>
                    <a:pt x="810" y="993"/>
                  </a:lnTo>
                  <a:lnTo>
                    <a:pt x="809" y="990"/>
                  </a:lnTo>
                  <a:lnTo>
                    <a:pt x="809" y="984"/>
                  </a:lnTo>
                  <a:lnTo>
                    <a:pt x="809" y="984"/>
                  </a:lnTo>
                  <a:lnTo>
                    <a:pt x="807" y="982"/>
                  </a:lnTo>
                  <a:lnTo>
                    <a:pt x="807" y="979"/>
                  </a:lnTo>
                  <a:lnTo>
                    <a:pt x="806" y="978"/>
                  </a:lnTo>
                  <a:lnTo>
                    <a:pt x="805" y="976"/>
                  </a:lnTo>
                  <a:lnTo>
                    <a:pt x="804" y="978"/>
                  </a:lnTo>
                  <a:lnTo>
                    <a:pt x="804" y="981"/>
                  </a:lnTo>
                  <a:lnTo>
                    <a:pt x="804" y="985"/>
                  </a:lnTo>
                  <a:lnTo>
                    <a:pt x="802" y="987"/>
                  </a:lnTo>
                  <a:lnTo>
                    <a:pt x="801" y="990"/>
                  </a:lnTo>
                  <a:lnTo>
                    <a:pt x="798" y="993"/>
                  </a:lnTo>
                  <a:lnTo>
                    <a:pt x="796" y="993"/>
                  </a:lnTo>
                  <a:lnTo>
                    <a:pt x="787" y="987"/>
                  </a:lnTo>
                  <a:lnTo>
                    <a:pt x="789" y="994"/>
                  </a:lnTo>
                  <a:lnTo>
                    <a:pt x="786" y="999"/>
                  </a:lnTo>
                  <a:lnTo>
                    <a:pt x="795" y="1003"/>
                  </a:lnTo>
                  <a:lnTo>
                    <a:pt x="810" y="1000"/>
                  </a:lnTo>
                  <a:lnTo>
                    <a:pt x="811" y="1015"/>
                  </a:lnTo>
                  <a:lnTo>
                    <a:pt x="804" y="1036"/>
                  </a:lnTo>
                  <a:lnTo>
                    <a:pt x="804" y="1045"/>
                  </a:lnTo>
                  <a:lnTo>
                    <a:pt x="814" y="1075"/>
                  </a:lnTo>
                  <a:lnTo>
                    <a:pt x="813" y="1093"/>
                  </a:lnTo>
                  <a:lnTo>
                    <a:pt x="822" y="1105"/>
                  </a:lnTo>
                  <a:lnTo>
                    <a:pt x="826" y="1122"/>
                  </a:lnTo>
                  <a:lnTo>
                    <a:pt x="832" y="1132"/>
                  </a:lnTo>
                  <a:lnTo>
                    <a:pt x="820" y="1141"/>
                  </a:lnTo>
                  <a:lnTo>
                    <a:pt x="814" y="1148"/>
                  </a:lnTo>
                  <a:lnTo>
                    <a:pt x="814" y="1148"/>
                  </a:lnTo>
                  <a:lnTo>
                    <a:pt x="813" y="1147"/>
                  </a:lnTo>
                  <a:lnTo>
                    <a:pt x="811" y="1145"/>
                  </a:lnTo>
                  <a:lnTo>
                    <a:pt x="810" y="1144"/>
                  </a:lnTo>
                  <a:lnTo>
                    <a:pt x="807" y="1141"/>
                  </a:lnTo>
                  <a:lnTo>
                    <a:pt x="805" y="1138"/>
                  </a:lnTo>
                  <a:lnTo>
                    <a:pt x="802" y="1135"/>
                  </a:lnTo>
                  <a:lnTo>
                    <a:pt x="799" y="1134"/>
                  </a:lnTo>
                  <a:lnTo>
                    <a:pt x="795" y="1131"/>
                  </a:lnTo>
                  <a:lnTo>
                    <a:pt x="790" y="1128"/>
                  </a:lnTo>
                  <a:lnTo>
                    <a:pt x="784" y="1126"/>
                  </a:lnTo>
                  <a:lnTo>
                    <a:pt x="778" y="1123"/>
                  </a:lnTo>
                  <a:lnTo>
                    <a:pt x="774" y="1122"/>
                  </a:lnTo>
                  <a:lnTo>
                    <a:pt x="766" y="1122"/>
                  </a:lnTo>
                  <a:lnTo>
                    <a:pt x="759" y="1122"/>
                  </a:lnTo>
                  <a:lnTo>
                    <a:pt x="751" y="1122"/>
                  </a:lnTo>
                  <a:lnTo>
                    <a:pt x="750" y="1122"/>
                  </a:lnTo>
                  <a:lnTo>
                    <a:pt x="748" y="1122"/>
                  </a:lnTo>
                  <a:lnTo>
                    <a:pt x="747" y="1122"/>
                  </a:lnTo>
                  <a:lnTo>
                    <a:pt x="744" y="1122"/>
                  </a:lnTo>
                  <a:lnTo>
                    <a:pt x="742" y="1122"/>
                  </a:lnTo>
                  <a:lnTo>
                    <a:pt x="742" y="1123"/>
                  </a:lnTo>
                  <a:lnTo>
                    <a:pt x="741" y="1123"/>
                  </a:lnTo>
                  <a:lnTo>
                    <a:pt x="739" y="1123"/>
                  </a:lnTo>
                  <a:lnTo>
                    <a:pt x="709" y="1105"/>
                  </a:lnTo>
                  <a:lnTo>
                    <a:pt x="696" y="1105"/>
                  </a:lnTo>
                  <a:lnTo>
                    <a:pt x="696" y="1104"/>
                  </a:lnTo>
                  <a:lnTo>
                    <a:pt x="694" y="1102"/>
                  </a:lnTo>
                  <a:lnTo>
                    <a:pt x="694" y="1099"/>
                  </a:lnTo>
                  <a:lnTo>
                    <a:pt x="691" y="1096"/>
                  </a:lnTo>
                  <a:lnTo>
                    <a:pt x="687" y="1093"/>
                  </a:lnTo>
                  <a:lnTo>
                    <a:pt x="682" y="1090"/>
                  </a:lnTo>
                  <a:lnTo>
                    <a:pt x="676" y="1087"/>
                  </a:lnTo>
                  <a:lnTo>
                    <a:pt x="667" y="1087"/>
                  </a:lnTo>
                  <a:lnTo>
                    <a:pt x="666" y="1087"/>
                  </a:lnTo>
                  <a:lnTo>
                    <a:pt x="664" y="1087"/>
                  </a:lnTo>
                  <a:lnTo>
                    <a:pt x="661" y="1087"/>
                  </a:lnTo>
                  <a:lnTo>
                    <a:pt x="660" y="1087"/>
                  </a:lnTo>
                  <a:lnTo>
                    <a:pt x="658" y="1087"/>
                  </a:lnTo>
                  <a:lnTo>
                    <a:pt x="657" y="1087"/>
                  </a:lnTo>
                  <a:lnTo>
                    <a:pt x="655" y="1087"/>
                  </a:lnTo>
                  <a:lnTo>
                    <a:pt x="655" y="1087"/>
                  </a:lnTo>
                  <a:lnTo>
                    <a:pt x="655" y="1075"/>
                  </a:lnTo>
                  <a:lnTo>
                    <a:pt x="649" y="1074"/>
                  </a:lnTo>
                  <a:lnTo>
                    <a:pt x="649" y="1074"/>
                  </a:lnTo>
                  <a:lnTo>
                    <a:pt x="649" y="1072"/>
                  </a:lnTo>
                  <a:lnTo>
                    <a:pt x="649" y="1069"/>
                  </a:lnTo>
                  <a:lnTo>
                    <a:pt x="648" y="1065"/>
                  </a:lnTo>
                  <a:lnTo>
                    <a:pt x="646" y="1060"/>
                  </a:lnTo>
                  <a:lnTo>
                    <a:pt x="646" y="1056"/>
                  </a:lnTo>
                  <a:lnTo>
                    <a:pt x="645" y="1051"/>
                  </a:lnTo>
                  <a:lnTo>
                    <a:pt x="643" y="1048"/>
                  </a:lnTo>
                  <a:lnTo>
                    <a:pt x="641" y="1042"/>
                  </a:lnTo>
                  <a:lnTo>
                    <a:pt x="640" y="1038"/>
                  </a:lnTo>
                  <a:lnTo>
                    <a:pt x="639" y="1033"/>
                  </a:lnTo>
                  <a:lnTo>
                    <a:pt x="636" y="1030"/>
                  </a:lnTo>
                  <a:lnTo>
                    <a:pt x="634" y="1027"/>
                  </a:lnTo>
                  <a:lnTo>
                    <a:pt x="631" y="1024"/>
                  </a:lnTo>
                  <a:lnTo>
                    <a:pt x="630" y="1023"/>
                  </a:lnTo>
                  <a:lnTo>
                    <a:pt x="627" y="1023"/>
                  </a:lnTo>
                  <a:lnTo>
                    <a:pt x="625" y="1023"/>
                  </a:lnTo>
                  <a:lnTo>
                    <a:pt x="625" y="1020"/>
                  </a:lnTo>
                  <a:lnTo>
                    <a:pt x="625" y="1016"/>
                  </a:lnTo>
                  <a:lnTo>
                    <a:pt x="625" y="1011"/>
                  </a:lnTo>
                  <a:lnTo>
                    <a:pt x="625" y="1006"/>
                  </a:lnTo>
                  <a:lnTo>
                    <a:pt x="625" y="1000"/>
                  </a:lnTo>
                  <a:lnTo>
                    <a:pt x="625" y="997"/>
                  </a:lnTo>
                  <a:lnTo>
                    <a:pt x="625" y="996"/>
                  </a:lnTo>
                  <a:lnTo>
                    <a:pt x="616" y="987"/>
                  </a:lnTo>
                  <a:lnTo>
                    <a:pt x="616" y="985"/>
                  </a:lnTo>
                  <a:lnTo>
                    <a:pt x="616" y="984"/>
                  </a:lnTo>
                  <a:lnTo>
                    <a:pt x="618" y="978"/>
                  </a:lnTo>
                  <a:lnTo>
                    <a:pt x="618" y="972"/>
                  </a:lnTo>
                  <a:lnTo>
                    <a:pt x="616" y="966"/>
                  </a:lnTo>
                  <a:lnTo>
                    <a:pt x="615" y="960"/>
                  </a:lnTo>
                  <a:lnTo>
                    <a:pt x="613" y="955"/>
                  </a:lnTo>
                  <a:lnTo>
                    <a:pt x="610" y="954"/>
                  </a:lnTo>
                  <a:lnTo>
                    <a:pt x="608" y="954"/>
                  </a:lnTo>
                  <a:lnTo>
                    <a:pt x="606" y="953"/>
                  </a:lnTo>
                  <a:lnTo>
                    <a:pt x="603" y="951"/>
                  </a:lnTo>
                  <a:lnTo>
                    <a:pt x="600" y="951"/>
                  </a:lnTo>
                  <a:lnTo>
                    <a:pt x="598" y="948"/>
                  </a:lnTo>
                  <a:lnTo>
                    <a:pt x="595" y="945"/>
                  </a:lnTo>
                  <a:lnTo>
                    <a:pt x="592" y="942"/>
                  </a:lnTo>
                  <a:lnTo>
                    <a:pt x="589" y="937"/>
                  </a:lnTo>
                  <a:lnTo>
                    <a:pt x="586" y="934"/>
                  </a:lnTo>
                  <a:lnTo>
                    <a:pt x="583" y="930"/>
                  </a:lnTo>
                  <a:lnTo>
                    <a:pt x="581" y="924"/>
                  </a:lnTo>
                  <a:lnTo>
                    <a:pt x="578" y="920"/>
                  </a:lnTo>
                  <a:lnTo>
                    <a:pt x="575" y="916"/>
                  </a:lnTo>
                  <a:lnTo>
                    <a:pt x="572" y="910"/>
                  </a:lnTo>
                  <a:lnTo>
                    <a:pt x="570" y="906"/>
                  </a:lnTo>
                  <a:lnTo>
                    <a:pt x="567" y="900"/>
                  </a:lnTo>
                  <a:lnTo>
                    <a:pt x="565" y="898"/>
                  </a:lnTo>
                  <a:lnTo>
                    <a:pt x="564" y="897"/>
                  </a:lnTo>
                  <a:lnTo>
                    <a:pt x="561" y="894"/>
                  </a:lnTo>
                  <a:lnTo>
                    <a:pt x="559" y="890"/>
                  </a:lnTo>
                  <a:lnTo>
                    <a:pt x="556" y="887"/>
                  </a:lnTo>
                  <a:lnTo>
                    <a:pt x="553" y="885"/>
                  </a:lnTo>
                  <a:lnTo>
                    <a:pt x="552" y="885"/>
                  </a:lnTo>
                  <a:lnTo>
                    <a:pt x="552" y="883"/>
                  </a:lnTo>
                  <a:lnTo>
                    <a:pt x="516" y="804"/>
                  </a:lnTo>
                  <a:lnTo>
                    <a:pt x="512" y="792"/>
                  </a:lnTo>
                  <a:lnTo>
                    <a:pt x="501" y="775"/>
                  </a:lnTo>
                  <a:lnTo>
                    <a:pt x="478" y="755"/>
                  </a:lnTo>
                  <a:lnTo>
                    <a:pt x="476" y="754"/>
                  </a:lnTo>
                  <a:lnTo>
                    <a:pt x="475" y="750"/>
                  </a:lnTo>
                  <a:lnTo>
                    <a:pt x="469" y="745"/>
                  </a:lnTo>
                  <a:lnTo>
                    <a:pt x="465" y="739"/>
                  </a:lnTo>
                  <a:lnTo>
                    <a:pt x="459" y="734"/>
                  </a:lnTo>
                  <a:lnTo>
                    <a:pt x="453" y="729"/>
                  </a:lnTo>
                  <a:lnTo>
                    <a:pt x="448" y="725"/>
                  </a:lnTo>
                  <a:lnTo>
                    <a:pt x="442" y="723"/>
                  </a:lnTo>
                  <a:lnTo>
                    <a:pt x="440" y="723"/>
                  </a:lnTo>
                  <a:lnTo>
                    <a:pt x="436" y="723"/>
                  </a:lnTo>
                  <a:lnTo>
                    <a:pt x="433" y="722"/>
                  </a:lnTo>
                  <a:lnTo>
                    <a:pt x="429" y="722"/>
                  </a:lnTo>
                  <a:lnTo>
                    <a:pt x="424" y="722"/>
                  </a:lnTo>
                  <a:lnTo>
                    <a:pt x="420" y="721"/>
                  </a:lnTo>
                  <a:lnTo>
                    <a:pt x="415" y="721"/>
                  </a:lnTo>
                  <a:lnTo>
                    <a:pt x="410" y="720"/>
                  </a:lnTo>
                  <a:lnTo>
                    <a:pt x="404" y="720"/>
                  </a:lnTo>
                  <a:lnTo>
                    <a:pt x="400" y="718"/>
                  </a:lnTo>
                  <a:lnTo>
                    <a:pt x="396" y="717"/>
                  </a:lnTo>
                  <a:lnTo>
                    <a:pt x="390" y="715"/>
                  </a:lnTo>
                  <a:lnTo>
                    <a:pt x="387" y="715"/>
                  </a:lnTo>
                  <a:lnTo>
                    <a:pt x="383" y="712"/>
                  </a:lnTo>
                  <a:lnTo>
                    <a:pt x="380" y="711"/>
                  </a:lnTo>
                  <a:lnTo>
                    <a:pt x="377" y="709"/>
                  </a:lnTo>
                  <a:lnTo>
                    <a:pt x="374" y="708"/>
                  </a:lnTo>
                  <a:lnTo>
                    <a:pt x="373" y="706"/>
                  </a:lnTo>
                  <a:lnTo>
                    <a:pt x="371" y="706"/>
                  </a:lnTo>
                  <a:lnTo>
                    <a:pt x="368" y="708"/>
                  </a:lnTo>
                  <a:lnTo>
                    <a:pt x="367" y="709"/>
                  </a:lnTo>
                  <a:lnTo>
                    <a:pt x="366" y="711"/>
                  </a:lnTo>
                  <a:lnTo>
                    <a:pt x="363" y="714"/>
                  </a:lnTo>
                  <a:lnTo>
                    <a:pt x="361" y="717"/>
                  </a:lnTo>
                  <a:lnTo>
                    <a:pt x="358" y="718"/>
                  </a:lnTo>
                  <a:lnTo>
                    <a:pt x="355" y="720"/>
                  </a:lnTo>
                  <a:lnTo>
                    <a:pt x="355" y="720"/>
                  </a:lnTo>
                  <a:lnTo>
                    <a:pt x="353" y="720"/>
                  </a:lnTo>
                  <a:lnTo>
                    <a:pt x="352" y="718"/>
                  </a:lnTo>
                  <a:lnTo>
                    <a:pt x="350" y="717"/>
                  </a:lnTo>
                  <a:lnTo>
                    <a:pt x="350" y="717"/>
                  </a:lnTo>
                  <a:lnTo>
                    <a:pt x="350" y="717"/>
                  </a:lnTo>
                  <a:lnTo>
                    <a:pt x="349" y="715"/>
                  </a:lnTo>
                  <a:lnTo>
                    <a:pt x="346" y="715"/>
                  </a:lnTo>
                  <a:lnTo>
                    <a:pt x="343" y="717"/>
                  </a:lnTo>
                  <a:lnTo>
                    <a:pt x="337" y="718"/>
                  </a:lnTo>
                  <a:lnTo>
                    <a:pt x="331" y="722"/>
                  </a:lnTo>
                  <a:lnTo>
                    <a:pt x="327" y="731"/>
                  </a:lnTo>
                  <a:lnTo>
                    <a:pt x="322" y="741"/>
                  </a:lnTo>
                  <a:lnTo>
                    <a:pt x="317" y="755"/>
                  </a:lnTo>
                  <a:lnTo>
                    <a:pt x="311" y="764"/>
                  </a:lnTo>
                  <a:lnTo>
                    <a:pt x="311" y="764"/>
                  </a:lnTo>
                  <a:lnTo>
                    <a:pt x="311" y="764"/>
                  </a:lnTo>
                  <a:lnTo>
                    <a:pt x="311" y="765"/>
                  </a:lnTo>
                  <a:lnTo>
                    <a:pt x="310" y="765"/>
                  </a:lnTo>
                  <a:lnTo>
                    <a:pt x="310" y="766"/>
                  </a:lnTo>
                  <a:lnTo>
                    <a:pt x="308" y="769"/>
                  </a:lnTo>
                  <a:lnTo>
                    <a:pt x="305" y="772"/>
                  </a:lnTo>
                  <a:lnTo>
                    <a:pt x="302" y="775"/>
                  </a:lnTo>
                  <a:lnTo>
                    <a:pt x="301" y="775"/>
                  </a:lnTo>
                  <a:lnTo>
                    <a:pt x="301" y="777"/>
                  </a:lnTo>
                  <a:lnTo>
                    <a:pt x="298" y="778"/>
                  </a:lnTo>
                  <a:lnTo>
                    <a:pt x="297" y="781"/>
                  </a:lnTo>
                  <a:lnTo>
                    <a:pt x="295" y="783"/>
                  </a:lnTo>
                  <a:lnTo>
                    <a:pt x="294" y="784"/>
                  </a:lnTo>
                  <a:lnTo>
                    <a:pt x="292" y="786"/>
                  </a:lnTo>
                  <a:lnTo>
                    <a:pt x="292" y="786"/>
                  </a:lnTo>
                  <a:lnTo>
                    <a:pt x="292" y="786"/>
                  </a:lnTo>
                  <a:lnTo>
                    <a:pt x="292" y="788"/>
                  </a:lnTo>
                  <a:lnTo>
                    <a:pt x="291" y="789"/>
                  </a:lnTo>
                  <a:lnTo>
                    <a:pt x="290" y="792"/>
                  </a:lnTo>
                  <a:lnTo>
                    <a:pt x="287" y="794"/>
                  </a:lnTo>
                  <a:lnTo>
                    <a:pt x="283" y="794"/>
                  </a:lnTo>
                  <a:lnTo>
                    <a:pt x="275" y="794"/>
                  </a:lnTo>
                  <a:lnTo>
                    <a:pt x="265" y="789"/>
                  </a:lnTo>
                  <a:lnTo>
                    <a:pt x="263" y="788"/>
                  </a:lnTo>
                  <a:lnTo>
                    <a:pt x="261" y="786"/>
                  </a:lnTo>
                  <a:lnTo>
                    <a:pt x="257" y="783"/>
                  </a:lnTo>
                  <a:lnTo>
                    <a:pt x="251" y="778"/>
                  </a:lnTo>
                  <a:lnTo>
                    <a:pt x="244" y="772"/>
                  </a:lnTo>
                  <a:lnTo>
                    <a:pt x="236" y="768"/>
                  </a:lnTo>
                  <a:lnTo>
                    <a:pt x="229" y="764"/>
                  </a:lnTo>
                  <a:lnTo>
                    <a:pt x="223" y="758"/>
                  </a:lnTo>
                  <a:lnTo>
                    <a:pt x="223" y="758"/>
                  </a:lnTo>
                  <a:lnTo>
                    <a:pt x="221" y="758"/>
                  </a:lnTo>
                  <a:lnTo>
                    <a:pt x="220" y="758"/>
                  </a:lnTo>
                  <a:lnTo>
                    <a:pt x="217" y="758"/>
                  </a:lnTo>
                  <a:lnTo>
                    <a:pt x="212" y="756"/>
                  </a:lnTo>
                  <a:lnTo>
                    <a:pt x="208" y="754"/>
                  </a:lnTo>
                  <a:lnTo>
                    <a:pt x="202" y="750"/>
                  </a:lnTo>
                  <a:lnTo>
                    <a:pt x="197" y="745"/>
                  </a:lnTo>
                  <a:lnTo>
                    <a:pt x="193" y="736"/>
                  </a:lnTo>
                  <a:lnTo>
                    <a:pt x="190" y="734"/>
                  </a:lnTo>
                  <a:lnTo>
                    <a:pt x="187" y="732"/>
                  </a:lnTo>
                  <a:lnTo>
                    <a:pt x="184" y="731"/>
                  </a:lnTo>
                  <a:lnTo>
                    <a:pt x="181" y="728"/>
                  </a:lnTo>
                  <a:lnTo>
                    <a:pt x="176" y="723"/>
                  </a:lnTo>
                  <a:lnTo>
                    <a:pt x="172" y="717"/>
                  </a:lnTo>
                  <a:lnTo>
                    <a:pt x="164" y="706"/>
                  </a:lnTo>
                  <a:lnTo>
                    <a:pt x="158" y="693"/>
                  </a:lnTo>
                  <a:lnTo>
                    <a:pt x="158" y="690"/>
                  </a:lnTo>
                  <a:lnTo>
                    <a:pt x="157" y="685"/>
                  </a:lnTo>
                  <a:lnTo>
                    <a:pt x="157" y="678"/>
                  </a:lnTo>
                  <a:lnTo>
                    <a:pt x="157" y="671"/>
                  </a:lnTo>
                  <a:lnTo>
                    <a:pt x="155" y="663"/>
                  </a:lnTo>
                  <a:lnTo>
                    <a:pt x="155" y="657"/>
                  </a:lnTo>
                  <a:lnTo>
                    <a:pt x="155" y="654"/>
                  </a:lnTo>
                  <a:lnTo>
                    <a:pt x="155" y="652"/>
                  </a:lnTo>
                  <a:lnTo>
                    <a:pt x="145" y="638"/>
                  </a:lnTo>
                  <a:lnTo>
                    <a:pt x="145" y="636"/>
                  </a:lnTo>
                  <a:lnTo>
                    <a:pt x="145" y="635"/>
                  </a:lnTo>
                  <a:lnTo>
                    <a:pt x="145" y="632"/>
                  </a:lnTo>
                  <a:lnTo>
                    <a:pt x="143" y="627"/>
                  </a:lnTo>
                  <a:lnTo>
                    <a:pt x="140" y="621"/>
                  </a:lnTo>
                  <a:lnTo>
                    <a:pt x="134" y="612"/>
                  </a:lnTo>
                  <a:lnTo>
                    <a:pt x="126" y="602"/>
                  </a:lnTo>
                  <a:lnTo>
                    <a:pt x="113" y="589"/>
                  </a:lnTo>
                  <a:lnTo>
                    <a:pt x="112" y="588"/>
                  </a:lnTo>
                  <a:lnTo>
                    <a:pt x="109" y="585"/>
                  </a:lnTo>
                  <a:lnTo>
                    <a:pt x="104" y="580"/>
                  </a:lnTo>
                  <a:lnTo>
                    <a:pt x="100" y="576"/>
                  </a:lnTo>
                  <a:lnTo>
                    <a:pt x="96" y="573"/>
                  </a:lnTo>
                  <a:lnTo>
                    <a:pt x="92" y="569"/>
                  </a:lnTo>
                  <a:lnTo>
                    <a:pt x="89" y="567"/>
                  </a:lnTo>
                  <a:lnTo>
                    <a:pt x="88" y="566"/>
                  </a:lnTo>
                  <a:lnTo>
                    <a:pt x="77" y="549"/>
                  </a:lnTo>
                  <a:lnTo>
                    <a:pt x="50" y="516"/>
                  </a:lnTo>
                  <a:lnTo>
                    <a:pt x="35" y="513"/>
                  </a:lnTo>
                  <a:lnTo>
                    <a:pt x="16" y="476"/>
                  </a:lnTo>
                  <a:lnTo>
                    <a:pt x="4" y="47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" name="Freeform 36"/>
            <p:cNvSpPr>
              <a:spLocks/>
            </p:cNvSpPr>
            <p:nvPr/>
          </p:nvSpPr>
          <p:spPr bwMode="auto">
            <a:xfrm>
              <a:off x="1604295" y="4952812"/>
              <a:ext cx="780644" cy="771233"/>
            </a:xfrm>
            <a:custGeom>
              <a:avLst/>
              <a:gdLst>
                <a:gd name="T0" fmla="*/ 657 w 1163"/>
                <a:gd name="T1" fmla="*/ 231 h 1149"/>
                <a:gd name="T2" fmla="*/ 709 w 1163"/>
                <a:gd name="T3" fmla="*/ 269 h 1149"/>
                <a:gd name="T4" fmla="*/ 763 w 1163"/>
                <a:gd name="T5" fmla="*/ 279 h 1149"/>
                <a:gd name="T6" fmla="*/ 817 w 1163"/>
                <a:gd name="T7" fmla="*/ 302 h 1149"/>
                <a:gd name="T8" fmla="*/ 839 w 1163"/>
                <a:gd name="T9" fmla="*/ 297 h 1149"/>
                <a:gd name="T10" fmla="*/ 875 w 1163"/>
                <a:gd name="T11" fmla="*/ 300 h 1149"/>
                <a:gd name="T12" fmla="*/ 906 w 1163"/>
                <a:gd name="T13" fmla="*/ 311 h 1149"/>
                <a:gd name="T14" fmla="*/ 952 w 1163"/>
                <a:gd name="T15" fmla="*/ 299 h 1149"/>
                <a:gd name="T16" fmla="*/ 964 w 1163"/>
                <a:gd name="T17" fmla="*/ 300 h 1149"/>
                <a:gd name="T18" fmla="*/ 985 w 1163"/>
                <a:gd name="T19" fmla="*/ 300 h 1149"/>
                <a:gd name="T20" fmla="*/ 1014 w 1163"/>
                <a:gd name="T21" fmla="*/ 293 h 1149"/>
                <a:gd name="T22" fmla="*/ 1112 w 1163"/>
                <a:gd name="T23" fmla="*/ 386 h 1149"/>
                <a:gd name="T24" fmla="*/ 1158 w 1163"/>
                <a:gd name="T25" fmla="*/ 585 h 1149"/>
                <a:gd name="T26" fmla="*/ 1149 w 1163"/>
                <a:gd name="T27" fmla="*/ 638 h 1149"/>
                <a:gd name="T28" fmla="*/ 1151 w 1163"/>
                <a:gd name="T29" fmla="*/ 679 h 1149"/>
                <a:gd name="T30" fmla="*/ 1133 w 1163"/>
                <a:gd name="T31" fmla="*/ 734 h 1149"/>
                <a:gd name="T32" fmla="*/ 1112 w 1163"/>
                <a:gd name="T33" fmla="*/ 745 h 1149"/>
                <a:gd name="T34" fmla="*/ 1077 w 1163"/>
                <a:gd name="T35" fmla="*/ 756 h 1149"/>
                <a:gd name="T36" fmla="*/ 1060 w 1163"/>
                <a:gd name="T37" fmla="*/ 758 h 1149"/>
                <a:gd name="T38" fmla="*/ 1059 w 1163"/>
                <a:gd name="T39" fmla="*/ 744 h 1149"/>
                <a:gd name="T40" fmla="*/ 1053 w 1163"/>
                <a:gd name="T41" fmla="*/ 735 h 1149"/>
                <a:gd name="T42" fmla="*/ 1040 w 1163"/>
                <a:gd name="T43" fmla="*/ 745 h 1149"/>
                <a:gd name="T44" fmla="*/ 1032 w 1163"/>
                <a:gd name="T45" fmla="*/ 747 h 1149"/>
                <a:gd name="T46" fmla="*/ 1046 w 1163"/>
                <a:gd name="T47" fmla="*/ 775 h 1149"/>
                <a:gd name="T48" fmla="*/ 1016 w 1163"/>
                <a:gd name="T49" fmla="*/ 814 h 1149"/>
                <a:gd name="T50" fmla="*/ 968 w 1163"/>
                <a:gd name="T51" fmla="*/ 847 h 1149"/>
                <a:gd name="T52" fmla="*/ 931 w 1163"/>
                <a:gd name="T53" fmla="*/ 868 h 1149"/>
                <a:gd name="T54" fmla="*/ 942 w 1163"/>
                <a:gd name="T55" fmla="*/ 857 h 1149"/>
                <a:gd name="T56" fmla="*/ 936 w 1163"/>
                <a:gd name="T57" fmla="*/ 854 h 1149"/>
                <a:gd name="T58" fmla="*/ 928 w 1163"/>
                <a:gd name="T59" fmla="*/ 852 h 1149"/>
                <a:gd name="T60" fmla="*/ 903 w 1163"/>
                <a:gd name="T61" fmla="*/ 859 h 1149"/>
                <a:gd name="T62" fmla="*/ 903 w 1163"/>
                <a:gd name="T63" fmla="*/ 867 h 1149"/>
                <a:gd name="T64" fmla="*/ 892 w 1163"/>
                <a:gd name="T65" fmla="*/ 885 h 1149"/>
                <a:gd name="T66" fmla="*/ 880 w 1163"/>
                <a:gd name="T67" fmla="*/ 880 h 1149"/>
                <a:gd name="T68" fmla="*/ 873 w 1163"/>
                <a:gd name="T69" fmla="*/ 879 h 1149"/>
                <a:gd name="T70" fmla="*/ 845 w 1163"/>
                <a:gd name="T71" fmla="*/ 916 h 1149"/>
                <a:gd name="T72" fmla="*/ 840 w 1163"/>
                <a:gd name="T73" fmla="*/ 934 h 1149"/>
                <a:gd name="T74" fmla="*/ 816 w 1163"/>
                <a:gd name="T75" fmla="*/ 988 h 1149"/>
                <a:gd name="T76" fmla="*/ 807 w 1163"/>
                <a:gd name="T77" fmla="*/ 979 h 1149"/>
                <a:gd name="T78" fmla="*/ 789 w 1163"/>
                <a:gd name="T79" fmla="*/ 994 h 1149"/>
                <a:gd name="T80" fmla="*/ 820 w 1163"/>
                <a:gd name="T81" fmla="*/ 1141 h 1149"/>
                <a:gd name="T82" fmla="*/ 790 w 1163"/>
                <a:gd name="T83" fmla="*/ 1128 h 1149"/>
                <a:gd name="T84" fmla="*/ 742 w 1163"/>
                <a:gd name="T85" fmla="*/ 1122 h 1149"/>
                <a:gd name="T86" fmla="*/ 682 w 1163"/>
                <a:gd name="T87" fmla="*/ 1090 h 1149"/>
                <a:gd name="T88" fmla="*/ 655 w 1163"/>
                <a:gd name="T89" fmla="*/ 1075 h 1149"/>
                <a:gd name="T90" fmla="*/ 640 w 1163"/>
                <a:gd name="T91" fmla="*/ 1038 h 1149"/>
                <a:gd name="T92" fmla="*/ 625 w 1163"/>
                <a:gd name="T93" fmla="*/ 1006 h 1149"/>
                <a:gd name="T94" fmla="*/ 613 w 1163"/>
                <a:gd name="T95" fmla="*/ 955 h 1149"/>
                <a:gd name="T96" fmla="*/ 583 w 1163"/>
                <a:gd name="T97" fmla="*/ 930 h 1149"/>
                <a:gd name="T98" fmla="*/ 556 w 1163"/>
                <a:gd name="T99" fmla="*/ 887 h 1149"/>
                <a:gd name="T100" fmla="*/ 465 w 1163"/>
                <a:gd name="T101" fmla="*/ 739 h 1149"/>
                <a:gd name="T102" fmla="*/ 415 w 1163"/>
                <a:gd name="T103" fmla="*/ 721 h 1149"/>
                <a:gd name="T104" fmla="*/ 373 w 1163"/>
                <a:gd name="T105" fmla="*/ 706 h 1149"/>
                <a:gd name="T106" fmla="*/ 352 w 1163"/>
                <a:gd name="T107" fmla="*/ 718 h 1149"/>
                <a:gd name="T108" fmla="*/ 317 w 1163"/>
                <a:gd name="T109" fmla="*/ 755 h 1149"/>
                <a:gd name="T110" fmla="*/ 301 w 1163"/>
                <a:gd name="T111" fmla="*/ 775 h 1149"/>
                <a:gd name="T112" fmla="*/ 290 w 1163"/>
                <a:gd name="T113" fmla="*/ 792 h 1149"/>
                <a:gd name="T114" fmla="*/ 229 w 1163"/>
                <a:gd name="T115" fmla="*/ 764 h 1149"/>
                <a:gd name="T116" fmla="*/ 193 w 1163"/>
                <a:gd name="T117" fmla="*/ 736 h 1149"/>
                <a:gd name="T118" fmla="*/ 157 w 1163"/>
                <a:gd name="T119" fmla="*/ 678 h 1149"/>
                <a:gd name="T120" fmla="*/ 140 w 1163"/>
                <a:gd name="T121" fmla="*/ 621 h 1149"/>
                <a:gd name="T122" fmla="*/ 88 w 1163"/>
                <a:gd name="T123" fmla="*/ 566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63" h="1149">
                  <a:moveTo>
                    <a:pt x="4" y="474"/>
                  </a:moveTo>
                  <a:lnTo>
                    <a:pt x="0" y="461"/>
                  </a:lnTo>
                  <a:lnTo>
                    <a:pt x="0" y="447"/>
                  </a:lnTo>
                  <a:lnTo>
                    <a:pt x="314" y="479"/>
                  </a:lnTo>
                  <a:lnTo>
                    <a:pt x="353" y="0"/>
                  </a:lnTo>
                  <a:lnTo>
                    <a:pt x="610" y="15"/>
                  </a:lnTo>
                  <a:lnTo>
                    <a:pt x="603" y="219"/>
                  </a:lnTo>
                  <a:lnTo>
                    <a:pt x="610" y="221"/>
                  </a:lnTo>
                  <a:lnTo>
                    <a:pt x="630" y="240"/>
                  </a:lnTo>
                  <a:lnTo>
                    <a:pt x="637" y="234"/>
                  </a:lnTo>
                  <a:lnTo>
                    <a:pt x="649" y="242"/>
                  </a:lnTo>
                  <a:lnTo>
                    <a:pt x="657" y="231"/>
                  </a:lnTo>
                  <a:lnTo>
                    <a:pt x="675" y="261"/>
                  </a:lnTo>
                  <a:lnTo>
                    <a:pt x="690" y="261"/>
                  </a:lnTo>
                  <a:lnTo>
                    <a:pt x="690" y="261"/>
                  </a:lnTo>
                  <a:lnTo>
                    <a:pt x="691" y="261"/>
                  </a:lnTo>
                  <a:lnTo>
                    <a:pt x="693" y="262"/>
                  </a:lnTo>
                  <a:lnTo>
                    <a:pt x="696" y="263"/>
                  </a:lnTo>
                  <a:lnTo>
                    <a:pt x="699" y="264"/>
                  </a:lnTo>
                  <a:lnTo>
                    <a:pt x="702" y="266"/>
                  </a:lnTo>
                  <a:lnTo>
                    <a:pt x="705" y="267"/>
                  </a:lnTo>
                  <a:lnTo>
                    <a:pt x="708" y="269"/>
                  </a:lnTo>
                  <a:lnTo>
                    <a:pt x="709" y="269"/>
                  </a:lnTo>
                  <a:lnTo>
                    <a:pt x="709" y="269"/>
                  </a:lnTo>
                  <a:lnTo>
                    <a:pt x="714" y="264"/>
                  </a:lnTo>
                  <a:lnTo>
                    <a:pt x="718" y="263"/>
                  </a:lnTo>
                  <a:lnTo>
                    <a:pt x="724" y="264"/>
                  </a:lnTo>
                  <a:lnTo>
                    <a:pt x="729" y="267"/>
                  </a:lnTo>
                  <a:lnTo>
                    <a:pt x="732" y="270"/>
                  </a:lnTo>
                  <a:lnTo>
                    <a:pt x="735" y="275"/>
                  </a:lnTo>
                  <a:lnTo>
                    <a:pt x="736" y="276"/>
                  </a:lnTo>
                  <a:lnTo>
                    <a:pt x="738" y="278"/>
                  </a:lnTo>
                  <a:lnTo>
                    <a:pt x="742" y="269"/>
                  </a:lnTo>
                  <a:lnTo>
                    <a:pt x="750" y="272"/>
                  </a:lnTo>
                  <a:lnTo>
                    <a:pt x="763" y="267"/>
                  </a:lnTo>
                  <a:lnTo>
                    <a:pt x="763" y="279"/>
                  </a:lnTo>
                  <a:lnTo>
                    <a:pt x="774" y="281"/>
                  </a:lnTo>
                  <a:lnTo>
                    <a:pt x="776" y="293"/>
                  </a:lnTo>
                  <a:lnTo>
                    <a:pt x="786" y="296"/>
                  </a:lnTo>
                  <a:lnTo>
                    <a:pt x="792" y="288"/>
                  </a:lnTo>
                  <a:lnTo>
                    <a:pt x="802" y="285"/>
                  </a:lnTo>
                  <a:lnTo>
                    <a:pt x="810" y="294"/>
                  </a:lnTo>
                  <a:lnTo>
                    <a:pt x="817" y="296"/>
                  </a:lnTo>
                  <a:lnTo>
                    <a:pt x="817" y="296"/>
                  </a:lnTo>
                  <a:lnTo>
                    <a:pt x="817" y="297"/>
                  </a:lnTo>
                  <a:lnTo>
                    <a:pt x="817" y="299"/>
                  </a:lnTo>
                  <a:lnTo>
                    <a:pt x="817" y="300"/>
                  </a:lnTo>
                  <a:lnTo>
                    <a:pt x="817" y="302"/>
                  </a:lnTo>
                  <a:lnTo>
                    <a:pt x="819" y="303"/>
                  </a:lnTo>
                  <a:lnTo>
                    <a:pt x="820" y="305"/>
                  </a:lnTo>
                  <a:lnTo>
                    <a:pt x="823" y="303"/>
                  </a:lnTo>
                  <a:lnTo>
                    <a:pt x="829" y="300"/>
                  </a:lnTo>
                  <a:lnTo>
                    <a:pt x="829" y="300"/>
                  </a:lnTo>
                  <a:lnTo>
                    <a:pt x="834" y="296"/>
                  </a:lnTo>
                  <a:lnTo>
                    <a:pt x="837" y="294"/>
                  </a:lnTo>
                  <a:lnTo>
                    <a:pt x="838" y="293"/>
                  </a:lnTo>
                  <a:lnTo>
                    <a:pt x="838" y="291"/>
                  </a:lnTo>
                  <a:lnTo>
                    <a:pt x="838" y="291"/>
                  </a:lnTo>
                  <a:lnTo>
                    <a:pt x="838" y="294"/>
                  </a:lnTo>
                  <a:lnTo>
                    <a:pt x="839" y="297"/>
                  </a:lnTo>
                  <a:lnTo>
                    <a:pt x="840" y="303"/>
                  </a:lnTo>
                  <a:lnTo>
                    <a:pt x="840" y="303"/>
                  </a:lnTo>
                  <a:lnTo>
                    <a:pt x="843" y="311"/>
                  </a:lnTo>
                  <a:lnTo>
                    <a:pt x="845" y="314"/>
                  </a:lnTo>
                  <a:lnTo>
                    <a:pt x="847" y="314"/>
                  </a:lnTo>
                  <a:lnTo>
                    <a:pt x="847" y="312"/>
                  </a:lnTo>
                  <a:lnTo>
                    <a:pt x="849" y="309"/>
                  </a:lnTo>
                  <a:lnTo>
                    <a:pt x="849" y="308"/>
                  </a:lnTo>
                  <a:lnTo>
                    <a:pt x="849" y="305"/>
                  </a:lnTo>
                  <a:lnTo>
                    <a:pt x="849" y="303"/>
                  </a:lnTo>
                  <a:lnTo>
                    <a:pt x="864" y="293"/>
                  </a:lnTo>
                  <a:lnTo>
                    <a:pt x="875" y="300"/>
                  </a:lnTo>
                  <a:lnTo>
                    <a:pt x="889" y="294"/>
                  </a:lnTo>
                  <a:lnTo>
                    <a:pt x="889" y="294"/>
                  </a:lnTo>
                  <a:lnTo>
                    <a:pt x="889" y="294"/>
                  </a:lnTo>
                  <a:lnTo>
                    <a:pt x="888" y="295"/>
                  </a:lnTo>
                  <a:lnTo>
                    <a:pt x="888" y="295"/>
                  </a:lnTo>
                  <a:lnTo>
                    <a:pt x="888" y="297"/>
                  </a:lnTo>
                  <a:lnTo>
                    <a:pt x="889" y="299"/>
                  </a:lnTo>
                  <a:lnTo>
                    <a:pt x="891" y="302"/>
                  </a:lnTo>
                  <a:lnTo>
                    <a:pt x="895" y="305"/>
                  </a:lnTo>
                  <a:lnTo>
                    <a:pt x="901" y="308"/>
                  </a:lnTo>
                  <a:lnTo>
                    <a:pt x="901" y="308"/>
                  </a:lnTo>
                  <a:lnTo>
                    <a:pt x="906" y="311"/>
                  </a:lnTo>
                  <a:lnTo>
                    <a:pt x="911" y="314"/>
                  </a:lnTo>
                  <a:lnTo>
                    <a:pt x="914" y="315"/>
                  </a:lnTo>
                  <a:lnTo>
                    <a:pt x="916" y="317"/>
                  </a:lnTo>
                  <a:lnTo>
                    <a:pt x="918" y="317"/>
                  </a:lnTo>
                  <a:lnTo>
                    <a:pt x="921" y="315"/>
                  </a:lnTo>
                  <a:lnTo>
                    <a:pt x="925" y="312"/>
                  </a:lnTo>
                  <a:lnTo>
                    <a:pt x="931" y="306"/>
                  </a:lnTo>
                  <a:lnTo>
                    <a:pt x="931" y="306"/>
                  </a:lnTo>
                  <a:lnTo>
                    <a:pt x="938" y="300"/>
                  </a:lnTo>
                  <a:lnTo>
                    <a:pt x="944" y="297"/>
                  </a:lnTo>
                  <a:lnTo>
                    <a:pt x="948" y="297"/>
                  </a:lnTo>
                  <a:lnTo>
                    <a:pt x="952" y="299"/>
                  </a:lnTo>
                  <a:lnTo>
                    <a:pt x="954" y="300"/>
                  </a:lnTo>
                  <a:lnTo>
                    <a:pt x="957" y="303"/>
                  </a:lnTo>
                  <a:lnTo>
                    <a:pt x="958" y="305"/>
                  </a:lnTo>
                  <a:lnTo>
                    <a:pt x="958" y="306"/>
                  </a:lnTo>
                  <a:lnTo>
                    <a:pt x="958" y="306"/>
                  </a:lnTo>
                  <a:lnTo>
                    <a:pt x="958" y="306"/>
                  </a:lnTo>
                  <a:lnTo>
                    <a:pt x="958" y="306"/>
                  </a:lnTo>
                  <a:lnTo>
                    <a:pt x="958" y="306"/>
                  </a:lnTo>
                  <a:lnTo>
                    <a:pt x="960" y="306"/>
                  </a:lnTo>
                  <a:lnTo>
                    <a:pt x="960" y="305"/>
                  </a:lnTo>
                  <a:lnTo>
                    <a:pt x="961" y="303"/>
                  </a:lnTo>
                  <a:lnTo>
                    <a:pt x="964" y="300"/>
                  </a:lnTo>
                  <a:lnTo>
                    <a:pt x="967" y="296"/>
                  </a:lnTo>
                  <a:lnTo>
                    <a:pt x="967" y="296"/>
                  </a:lnTo>
                  <a:lnTo>
                    <a:pt x="969" y="294"/>
                  </a:lnTo>
                  <a:lnTo>
                    <a:pt x="969" y="291"/>
                  </a:lnTo>
                  <a:lnTo>
                    <a:pt x="969" y="288"/>
                  </a:lnTo>
                  <a:lnTo>
                    <a:pt x="971" y="288"/>
                  </a:lnTo>
                  <a:lnTo>
                    <a:pt x="971" y="288"/>
                  </a:lnTo>
                  <a:lnTo>
                    <a:pt x="972" y="291"/>
                  </a:lnTo>
                  <a:lnTo>
                    <a:pt x="975" y="294"/>
                  </a:lnTo>
                  <a:lnTo>
                    <a:pt x="981" y="296"/>
                  </a:lnTo>
                  <a:lnTo>
                    <a:pt x="981" y="296"/>
                  </a:lnTo>
                  <a:lnTo>
                    <a:pt x="985" y="300"/>
                  </a:lnTo>
                  <a:lnTo>
                    <a:pt x="990" y="305"/>
                  </a:lnTo>
                  <a:lnTo>
                    <a:pt x="991" y="306"/>
                  </a:lnTo>
                  <a:lnTo>
                    <a:pt x="993" y="308"/>
                  </a:lnTo>
                  <a:lnTo>
                    <a:pt x="993" y="308"/>
                  </a:lnTo>
                  <a:lnTo>
                    <a:pt x="994" y="306"/>
                  </a:lnTo>
                  <a:lnTo>
                    <a:pt x="996" y="303"/>
                  </a:lnTo>
                  <a:lnTo>
                    <a:pt x="999" y="299"/>
                  </a:lnTo>
                  <a:lnTo>
                    <a:pt x="999" y="299"/>
                  </a:lnTo>
                  <a:lnTo>
                    <a:pt x="1002" y="295"/>
                  </a:lnTo>
                  <a:lnTo>
                    <a:pt x="1007" y="293"/>
                  </a:lnTo>
                  <a:lnTo>
                    <a:pt x="1010" y="293"/>
                  </a:lnTo>
                  <a:lnTo>
                    <a:pt x="1014" y="293"/>
                  </a:lnTo>
                  <a:lnTo>
                    <a:pt x="1017" y="294"/>
                  </a:lnTo>
                  <a:lnTo>
                    <a:pt x="1020" y="294"/>
                  </a:lnTo>
                  <a:lnTo>
                    <a:pt x="1021" y="295"/>
                  </a:lnTo>
                  <a:lnTo>
                    <a:pt x="1021" y="295"/>
                  </a:lnTo>
                  <a:lnTo>
                    <a:pt x="1044" y="315"/>
                  </a:lnTo>
                  <a:lnTo>
                    <a:pt x="1057" y="317"/>
                  </a:lnTo>
                  <a:lnTo>
                    <a:pt x="1073" y="323"/>
                  </a:lnTo>
                  <a:lnTo>
                    <a:pt x="1071" y="320"/>
                  </a:lnTo>
                  <a:lnTo>
                    <a:pt x="1082" y="332"/>
                  </a:lnTo>
                  <a:lnTo>
                    <a:pt x="1103" y="329"/>
                  </a:lnTo>
                  <a:lnTo>
                    <a:pt x="1112" y="330"/>
                  </a:lnTo>
                  <a:lnTo>
                    <a:pt x="1112" y="386"/>
                  </a:lnTo>
                  <a:lnTo>
                    <a:pt x="1116" y="492"/>
                  </a:lnTo>
                  <a:lnTo>
                    <a:pt x="1136" y="517"/>
                  </a:lnTo>
                  <a:lnTo>
                    <a:pt x="1136" y="543"/>
                  </a:lnTo>
                  <a:lnTo>
                    <a:pt x="1148" y="555"/>
                  </a:lnTo>
                  <a:lnTo>
                    <a:pt x="1154" y="572"/>
                  </a:lnTo>
                  <a:lnTo>
                    <a:pt x="1154" y="572"/>
                  </a:lnTo>
                  <a:lnTo>
                    <a:pt x="1154" y="572"/>
                  </a:lnTo>
                  <a:lnTo>
                    <a:pt x="1154" y="573"/>
                  </a:lnTo>
                  <a:lnTo>
                    <a:pt x="1155" y="575"/>
                  </a:lnTo>
                  <a:lnTo>
                    <a:pt x="1156" y="577"/>
                  </a:lnTo>
                  <a:lnTo>
                    <a:pt x="1158" y="582"/>
                  </a:lnTo>
                  <a:lnTo>
                    <a:pt x="1158" y="585"/>
                  </a:lnTo>
                  <a:lnTo>
                    <a:pt x="1159" y="589"/>
                  </a:lnTo>
                  <a:lnTo>
                    <a:pt x="1161" y="593"/>
                  </a:lnTo>
                  <a:lnTo>
                    <a:pt x="1162" y="597"/>
                  </a:lnTo>
                  <a:lnTo>
                    <a:pt x="1162" y="602"/>
                  </a:lnTo>
                  <a:lnTo>
                    <a:pt x="1162" y="608"/>
                  </a:lnTo>
                  <a:lnTo>
                    <a:pt x="1162" y="612"/>
                  </a:lnTo>
                  <a:lnTo>
                    <a:pt x="1161" y="616"/>
                  </a:lnTo>
                  <a:lnTo>
                    <a:pt x="1159" y="622"/>
                  </a:lnTo>
                  <a:lnTo>
                    <a:pt x="1158" y="626"/>
                  </a:lnTo>
                  <a:lnTo>
                    <a:pt x="1155" y="630"/>
                  </a:lnTo>
                  <a:lnTo>
                    <a:pt x="1155" y="630"/>
                  </a:lnTo>
                  <a:lnTo>
                    <a:pt x="1149" y="638"/>
                  </a:lnTo>
                  <a:lnTo>
                    <a:pt x="1146" y="643"/>
                  </a:lnTo>
                  <a:lnTo>
                    <a:pt x="1145" y="648"/>
                  </a:lnTo>
                  <a:lnTo>
                    <a:pt x="1145" y="651"/>
                  </a:lnTo>
                  <a:lnTo>
                    <a:pt x="1146" y="654"/>
                  </a:lnTo>
                  <a:lnTo>
                    <a:pt x="1148" y="655"/>
                  </a:lnTo>
                  <a:lnTo>
                    <a:pt x="1149" y="656"/>
                  </a:lnTo>
                  <a:lnTo>
                    <a:pt x="1149" y="656"/>
                  </a:lnTo>
                  <a:lnTo>
                    <a:pt x="1146" y="675"/>
                  </a:lnTo>
                  <a:lnTo>
                    <a:pt x="1146" y="675"/>
                  </a:lnTo>
                  <a:lnTo>
                    <a:pt x="1146" y="675"/>
                  </a:lnTo>
                  <a:lnTo>
                    <a:pt x="1149" y="676"/>
                  </a:lnTo>
                  <a:lnTo>
                    <a:pt x="1151" y="679"/>
                  </a:lnTo>
                  <a:lnTo>
                    <a:pt x="1154" y="684"/>
                  </a:lnTo>
                  <a:lnTo>
                    <a:pt x="1155" y="688"/>
                  </a:lnTo>
                  <a:lnTo>
                    <a:pt x="1155" y="693"/>
                  </a:lnTo>
                  <a:lnTo>
                    <a:pt x="1152" y="701"/>
                  </a:lnTo>
                  <a:lnTo>
                    <a:pt x="1146" y="708"/>
                  </a:lnTo>
                  <a:lnTo>
                    <a:pt x="1146" y="708"/>
                  </a:lnTo>
                  <a:lnTo>
                    <a:pt x="1145" y="709"/>
                  </a:lnTo>
                  <a:lnTo>
                    <a:pt x="1142" y="708"/>
                  </a:lnTo>
                  <a:lnTo>
                    <a:pt x="1140" y="708"/>
                  </a:lnTo>
                  <a:lnTo>
                    <a:pt x="1140" y="708"/>
                  </a:lnTo>
                  <a:lnTo>
                    <a:pt x="1126" y="723"/>
                  </a:lnTo>
                  <a:lnTo>
                    <a:pt x="1133" y="734"/>
                  </a:lnTo>
                  <a:lnTo>
                    <a:pt x="1134" y="741"/>
                  </a:lnTo>
                  <a:lnTo>
                    <a:pt x="1134" y="741"/>
                  </a:lnTo>
                  <a:lnTo>
                    <a:pt x="1134" y="741"/>
                  </a:lnTo>
                  <a:lnTo>
                    <a:pt x="1134" y="741"/>
                  </a:lnTo>
                  <a:lnTo>
                    <a:pt x="1133" y="741"/>
                  </a:lnTo>
                  <a:lnTo>
                    <a:pt x="1133" y="741"/>
                  </a:lnTo>
                  <a:lnTo>
                    <a:pt x="1130" y="741"/>
                  </a:lnTo>
                  <a:lnTo>
                    <a:pt x="1129" y="741"/>
                  </a:lnTo>
                  <a:lnTo>
                    <a:pt x="1126" y="741"/>
                  </a:lnTo>
                  <a:lnTo>
                    <a:pt x="1122" y="742"/>
                  </a:lnTo>
                  <a:lnTo>
                    <a:pt x="1118" y="744"/>
                  </a:lnTo>
                  <a:lnTo>
                    <a:pt x="1112" y="745"/>
                  </a:lnTo>
                  <a:lnTo>
                    <a:pt x="1106" y="748"/>
                  </a:lnTo>
                  <a:lnTo>
                    <a:pt x="1097" y="753"/>
                  </a:lnTo>
                  <a:lnTo>
                    <a:pt x="1089" y="756"/>
                  </a:lnTo>
                  <a:lnTo>
                    <a:pt x="1079" y="761"/>
                  </a:lnTo>
                  <a:lnTo>
                    <a:pt x="1067" y="766"/>
                  </a:lnTo>
                  <a:lnTo>
                    <a:pt x="1056" y="774"/>
                  </a:lnTo>
                  <a:lnTo>
                    <a:pt x="1060" y="766"/>
                  </a:lnTo>
                  <a:lnTo>
                    <a:pt x="1065" y="764"/>
                  </a:lnTo>
                  <a:lnTo>
                    <a:pt x="1074" y="758"/>
                  </a:lnTo>
                  <a:lnTo>
                    <a:pt x="1074" y="758"/>
                  </a:lnTo>
                  <a:lnTo>
                    <a:pt x="1076" y="758"/>
                  </a:lnTo>
                  <a:lnTo>
                    <a:pt x="1077" y="756"/>
                  </a:lnTo>
                  <a:lnTo>
                    <a:pt x="1077" y="755"/>
                  </a:lnTo>
                  <a:lnTo>
                    <a:pt x="1074" y="754"/>
                  </a:lnTo>
                  <a:lnTo>
                    <a:pt x="1074" y="754"/>
                  </a:lnTo>
                  <a:lnTo>
                    <a:pt x="1073" y="754"/>
                  </a:lnTo>
                  <a:lnTo>
                    <a:pt x="1070" y="754"/>
                  </a:lnTo>
                  <a:lnTo>
                    <a:pt x="1068" y="754"/>
                  </a:lnTo>
                  <a:lnTo>
                    <a:pt x="1067" y="754"/>
                  </a:lnTo>
                  <a:lnTo>
                    <a:pt x="1065" y="755"/>
                  </a:lnTo>
                  <a:lnTo>
                    <a:pt x="1065" y="755"/>
                  </a:lnTo>
                  <a:lnTo>
                    <a:pt x="1065" y="755"/>
                  </a:lnTo>
                  <a:lnTo>
                    <a:pt x="1065" y="755"/>
                  </a:lnTo>
                  <a:lnTo>
                    <a:pt x="1060" y="758"/>
                  </a:lnTo>
                  <a:lnTo>
                    <a:pt x="1060" y="758"/>
                  </a:lnTo>
                  <a:lnTo>
                    <a:pt x="1060" y="758"/>
                  </a:lnTo>
                  <a:lnTo>
                    <a:pt x="1059" y="758"/>
                  </a:lnTo>
                  <a:lnTo>
                    <a:pt x="1057" y="758"/>
                  </a:lnTo>
                  <a:lnTo>
                    <a:pt x="1056" y="758"/>
                  </a:lnTo>
                  <a:lnTo>
                    <a:pt x="1054" y="758"/>
                  </a:lnTo>
                  <a:lnTo>
                    <a:pt x="1053" y="756"/>
                  </a:lnTo>
                  <a:lnTo>
                    <a:pt x="1054" y="754"/>
                  </a:lnTo>
                  <a:lnTo>
                    <a:pt x="1056" y="751"/>
                  </a:lnTo>
                  <a:lnTo>
                    <a:pt x="1056" y="751"/>
                  </a:lnTo>
                  <a:lnTo>
                    <a:pt x="1057" y="747"/>
                  </a:lnTo>
                  <a:lnTo>
                    <a:pt x="1059" y="744"/>
                  </a:lnTo>
                  <a:lnTo>
                    <a:pt x="1060" y="742"/>
                  </a:lnTo>
                  <a:lnTo>
                    <a:pt x="1062" y="741"/>
                  </a:lnTo>
                  <a:lnTo>
                    <a:pt x="1063" y="739"/>
                  </a:lnTo>
                  <a:lnTo>
                    <a:pt x="1063" y="738"/>
                  </a:lnTo>
                  <a:lnTo>
                    <a:pt x="1063" y="736"/>
                  </a:lnTo>
                  <a:lnTo>
                    <a:pt x="1062" y="735"/>
                  </a:lnTo>
                  <a:lnTo>
                    <a:pt x="1062" y="735"/>
                  </a:lnTo>
                  <a:lnTo>
                    <a:pt x="1060" y="732"/>
                  </a:lnTo>
                  <a:lnTo>
                    <a:pt x="1059" y="732"/>
                  </a:lnTo>
                  <a:lnTo>
                    <a:pt x="1057" y="732"/>
                  </a:lnTo>
                  <a:lnTo>
                    <a:pt x="1053" y="735"/>
                  </a:lnTo>
                  <a:lnTo>
                    <a:pt x="1053" y="735"/>
                  </a:lnTo>
                  <a:lnTo>
                    <a:pt x="1049" y="736"/>
                  </a:lnTo>
                  <a:lnTo>
                    <a:pt x="1046" y="738"/>
                  </a:lnTo>
                  <a:lnTo>
                    <a:pt x="1044" y="739"/>
                  </a:lnTo>
                  <a:lnTo>
                    <a:pt x="1044" y="739"/>
                  </a:lnTo>
                  <a:lnTo>
                    <a:pt x="1044" y="739"/>
                  </a:lnTo>
                  <a:lnTo>
                    <a:pt x="1044" y="741"/>
                  </a:lnTo>
                  <a:lnTo>
                    <a:pt x="1044" y="741"/>
                  </a:lnTo>
                  <a:lnTo>
                    <a:pt x="1044" y="742"/>
                  </a:lnTo>
                  <a:lnTo>
                    <a:pt x="1044" y="744"/>
                  </a:lnTo>
                  <a:lnTo>
                    <a:pt x="1043" y="745"/>
                  </a:lnTo>
                  <a:lnTo>
                    <a:pt x="1041" y="745"/>
                  </a:lnTo>
                  <a:lnTo>
                    <a:pt x="1040" y="745"/>
                  </a:lnTo>
                  <a:lnTo>
                    <a:pt x="1037" y="744"/>
                  </a:lnTo>
                  <a:lnTo>
                    <a:pt x="1037" y="744"/>
                  </a:lnTo>
                  <a:lnTo>
                    <a:pt x="1035" y="741"/>
                  </a:lnTo>
                  <a:lnTo>
                    <a:pt x="1032" y="739"/>
                  </a:lnTo>
                  <a:lnTo>
                    <a:pt x="1032" y="738"/>
                  </a:lnTo>
                  <a:lnTo>
                    <a:pt x="1030" y="736"/>
                  </a:lnTo>
                  <a:lnTo>
                    <a:pt x="1030" y="736"/>
                  </a:lnTo>
                  <a:lnTo>
                    <a:pt x="1030" y="738"/>
                  </a:lnTo>
                  <a:lnTo>
                    <a:pt x="1032" y="741"/>
                  </a:lnTo>
                  <a:lnTo>
                    <a:pt x="1032" y="744"/>
                  </a:lnTo>
                  <a:lnTo>
                    <a:pt x="1032" y="744"/>
                  </a:lnTo>
                  <a:lnTo>
                    <a:pt x="1032" y="747"/>
                  </a:lnTo>
                  <a:lnTo>
                    <a:pt x="1032" y="750"/>
                  </a:lnTo>
                  <a:lnTo>
                    <a:pt x="1032" y="751"/>
                  </a:lnTo>
                  <a:lnTo>
                    <a:pt x="1030" y="754"/>
                  </a:lnTo>
                  <a:lnTo>
                    <a:pt x="1030" y="755"/>
                  </a:lnTo>
                  <a:lnTo>
                    <a:pt x="1032" y="758"/>
                  </a:lnTo>
                  <a:lnTo>
                    <a:pt x="1034" y="761"/>
                  </a:lnTo>
                  <a:lnTo>
                    <a:pt x="1038" y="765"/>
                  </a:lnTo>
                  <a:lnTo>
                    <a:pt x="1038" y="765"/>
                  </a:lnTo>
                  <a:lnTo>
                    <a:pt x="1043" y="768"/>
                  </a:lnTo>
                  <a:lnTo>
                    <a:pt x="1046" y="771"/>
                  </a:lnTo>
                  <a:lnTo>
                    <a:pt x="1047" y="774"/>
                  </a:lnTo>
                  <a:lnTo>
                    <a:pt x="1046" y="775"/>
                  </a:lnTo>
                  <a:lnTo>
                    <a:pt x="1046" y="777"/>
                  </a:lnTo>
                  <a:lnTo>
                    <a:pt x="1044" y="778"/>
                  </a:lnTo>
                  <a:lnTo>
                    <a:pt x="1043" y="778"/>
                  </a:lnTo>
                  <a:lnTo>
                    <a:pt x="1043" y="778"/>
                  </a:lnTo>
                  <a:lnTo>
                    <a:pt x="1027" y="795"/>
                  </a:lnTo>
                  <a:lnTo>
                    <a:pt x="1018" y="794"/>
                  </a:lnTo>
                  <a:lnTo>
                    <a:pt x="1010" y="813"/>
                  </a:lnTo>
                  <a:lnTo>
                    <a:pt x="1018" y="811"/>
                  </a:lnTo>
                  <a:lnTo>
                    <a:pt x="1018" y="811"/>
                  </a:lnTo>
                  <a:lnTo>
                    <a:pt x="1018" y="811"/>
                  </a:lnTo>
                  <a:lnTo>
                    <a:pt x="1017" y="813"/>
                  </a:lnTo>
                  <a:lnTo>
                    <a:pt x="1016" y="814"/>
                  </a:lnTo>
                  <a:lnTo>
                    <a:pt x="1014" y="817"/>
                  </a:lnTo>
                  <a:lnTo>
                    <a:pt x="1011" y="819"/>
                  </a:lnTo>
                  <a:lnTo>
                    <a:pt x="1008" y="821"/>
                  </a:lnTo>
                  <a:lnTo>
                    <a:pt x="1004" y="824"/>
                  </a:lnTo>
                  <a:lnTo>
                    <a:pt x="1000" y="827"/>
                  </a:lnTo>
                  <a:lnTo>
                    <a:pt x="997" y="831"/>
                  </a:lnTo>
                  <a:lnTo>
                    <a:pt x="993" y="834"/>
                  </a:lnTo>
                  <a:lnTo>
                    <a:pt x="987" y="837"/>
                  </a:lnTo>
                  <a:lnTo>
                    <a:pt x="983" y="840"/>
                  </a:lnTo>
                  <a:lnTo>
                    <a:pt x="978" y="843"/>
                  </a:lnTo>
                  <a:lnTo>
                    <a:pt x="972" y="846"/>
                  </a:lnTo>
                  <a:lnTo>
                    <a:pt x="968" y="847"/>
                  </a:lnTo>
                  <a:lnTo>
                    <a:pt x="963" y="849"/>
                  </a:lnTo>
                  <a:lnTo>
                    <a:pt x="963" y="849"/>
                  </a:lnTo>
                  <a:lnTo>
                    <a:pt x="961" y="850"/>
                  </a:lnTo>
                  <a:lnTo>
                    <a:pt x="957" y="852"/>
                  </a:lnTo>
                  <a:lnTo>
                    <a:pt x="952" y="855"/>
                  </a:lnTo>
                  <a:lnTo>
                    <a:pt x="947" y="858"/>
                  </a:lnTo>
                  <a:lnTo>
                    <a:pt x="941" y="862"/>
                  </a:lnTo>
                  <a:lnTo>
                    <a:pt x="936" y="865"/>
                  </a:lnTo>
                  <a:lnTo>
                    <a:pt x="934" y="867"/>
                  </a:lnTo>
                  <a:lnTo>
                    <a:pt x="933" y="868"/>
                  </a:lnTo>
                  <a:lnTo>
                    <a:pt x="933" y="868"/>
                  </a:lnTo>
                  <a:lnTo>
                    <a:pt x="931" y="868"/>
                  </a:lnTo>
                  <a:lnTo>
                    <a:pt x="927" y="871"/>
                  </a:lnTo>
                  <a:lnTo>
                    <a:pt x="922" y="874"/>
                  </a:lnTo>
                  <a:lnTo>
                    <a:pt x="918" y="876"/>
                  </a:lnTo>
                  <a:lnTo>
                    <a:pt x="914" y="876"/>
                  </a:lnTo>
                  <a:lnTo>
                    <a:pt x="915" y="876"/>
                  </a:lnTo>
                  <a:lnTo>
                    <a:pt x="919" y="871"/>
                  </a:lnTo>
                  <a:lnTo>
                    <a:pt x="931" y="864"/>
                  </a:lnTo>
                  <a:lnTo>
                    <a:pt x="931" y="864"/>
                  </a:lnTo>
                  <a:lnTo>
                    <a:pt x="933" y="862"/>
                  </a:lnTo>
                  <a:lnTo>
                    <a:pt x="934" y="861"/>
                  </a:lnTo>
                  <a:lnTo>
                    <a:pt x="938" y="859"/>
                  </a:lnTo>
                  <a:lnTo>
                    <a:pt x="942" y="857"/>
                  </a:lnTo>
                  <a:lnTo>
                    <a:pt x="948" y="854"/>
                  </a:lnTo>
                  <a:lnTo>
                    <a:pt x="952" y="852"/>
                  </a:lnTo>
                  <a:lnTo>
                    <a:pt x="958" y="849"/>
                  </a:lnTo>
                  <a:lnTo>
                    <a:pt x="963" y="846"/>
                  </a:lnTo>
                  <a:lnTo>
                    <a:pt x="966" y="843"/>
                  </a:lnTo>
                  <a:lnTo>
                    <a:pt x="967" y="841"/>
                  </a:lnTo>
                  <a:lnTo>
                    <a:pt x="968" y="841"/>
                  </a:lnTo>
                  <a:lnTo>
                    <a:pt x="967" y="841"/>
                  </a:lnTo>
                  <a:lnTo>
                    <a:pt x="964" y="841"/>
                  </a:lnTo>
                  <a:lnTo>
                    <a:pt x="958" y="844"/>
                  </a:lnTo>
                  <a:lnTo>
                    <a:pt x="948" y="849"/>
                  </a:lnTo>
                  <a:lnTo>
                    <a:pt x="936" y="854"/>
                  </a:lnTo>
                  <a:lnTo>
                    <a:pt x="936" y="854"/>
                  </a:lnTo>
                  <a:lnTo>
                    <a:pt x="936" y="854"/>
                  </a:lnTo>
                  <a:lnTo>
                    <a:pt x="934" y="855"/>
                  </a:lnTo>
                  <a:lnTo>
                    <a:pt x="931" y="857"/>
                  </a:lnTo>
                  <a:lnTo>
                    <a:pt x="930" y="858"/>
                  </a:lnTo>
                  <a:lnTo>
                    <a:pt x="927" y="859"/>
                  </a:lnTo>
                  <a:lnTo>
                    <a:pt x="925" y="859"/>
                  </a:lnTo>
                  <a:lnTo>
                    <a:pt x="925" y="857"/>
                  </a:lnTo>
                  <a:lnTo>
                    <a:pt x="927" y="854"/>
                  </a:lnTo>
                  <a:lnTo>
                    <a:pt x="927" y="854"/>
                  </a:lnTo>
                  <a:lnTo>
                    <a:pt x="927" y="852"/>
                  </a:lnTo>
                  <a:lnTo>
                    <a:pt x="928" y="852"/>
                  </a:lnTo>
                  <a:lnTo>
                    <a:pt x="928" y="850"/>
                  </a:lnTo>
                  <a:lnTo>
                    <a:pt x="930" y="847"/>
                  </a:lnTo>
                  <a:lnTo>
                    <a:pt x="930" y="846"/>
                  </a:lnTo>
                  <a:lnTo>
                    <a:pt x="931" y="843"/>
                  </a:lnTo>
                  <a:lnTo>
                    <a:pt x="931" y="843"/>
                  </a:lnTo>
                  <a:lnTo>
                    <a:pt x="931" y="841"/>
                  </a:lnTo>
                  <a:lnTo>
                    <a:pt x="921" y="852"/>
                  </a:lnTo>
                  <a:lnTo>
                    <a:pt x="914" y="852"/>
                  </a:lnTo>
                  <a:lnTo>
                    <a:pt x="911" y="849"/>
                  </a:lnTo>
                  <a:lnTo>
                    <a:pt x="912" y="857"/>
                  </a:lnTo>
                  <a:lnTo>
                    <a:pt x="903" y="859"/>
                  </a:lnTo>
                  <a:lnTo>
                    <a:pt x="903" y="859"/>
                  </a:lnTo>
                  <a:lnTo>
                    <a:pt x="903" y="858"/>
                  </a:lnTo>
                  <a:lnTo>
                    <a:pt x="900" y="854"/>
                  </a:lnTo>
                  <a:lnTo>
                    <a:pt x="895" y="850"/>
                  </a:lnTo>
                  <a:lnTo>
                    <a:pt x="891" y="847"/>
                  </a:lnTo>
                  <a:lnTo>
                    <a:pt x="888" y="846"/>
                  </a:lnTo>
                  <a:lnTo>
                    <a:pt x="888" y="847"/>
                  </a:lnTo>
                  <a:lnTo>
                    <a:pt x="889" y="852"/>
                  </a:lnTo>
                  <a:lnTo>
                    <a:pt x="897" y="864"/>
                  </a:lnTo>
                  <a:lnTo>
                    <a:pt x="897" y="864"/>
                  </a:lnTo>
                  <a:lnTo>
                    <a:pt x="898" y="864"/>
                  </a:lnTo>
                  <a:lnTo>
                    <a:pt x="901" y="867"/>
                  </a:lnTo>
                  <a:lnTo>
                    <a:pt x="903" y="867"/>
                  </a:lnTo>
                  <a:lnTo>
                    <a:pt x="905" y="868"/>
                  </a:lnTo>
                  <a:lnTo>
                    <a:pt x="905" y="868"/>
                  </a:lnTo>
                  <a:lnTo>
                    <a:pt x="905" y="868"/>
                  </a:lnTo>
                  <a:lnTo>
                    <a:pt x="906" y="871"/>
                  </a:lnTo>
                  <a:lnTo>
                    <a:pt x="906" y="874"/>
                  </a:lnTo>
                  <a:lnTo>
                    <a:pt x="903" y="877"/>
                  </a:lnTo>
                  <a:lnTo>
                    <a:pt x="903" y="877"/>
                  </a:lnTo>
                  <a:lnTo>
                    <a:pt x="901" y="879"/>
                  </a:lnTo>
                  <a:lnTo>
                    <a:pt x="900" y="880"/>
                  </a:lnTo>
                  <a:lnTo>
                    <a:pt x="897" y="882"/>
                  </a:lnTo>
                  <a:lnTo>
                    <a:pt x="895" y="883"/>
                  </a:lnTo>
                  <a:lnTo>
                    <a:pt x="892" y="885"/>
                  </a:lnTo>
                  <a:lnTo>
                    <a:pt x="891" y="885"/>
                  </a:lnTo>
                  <a:lnTo>
                    <a:pt x="891" y="885"/>
                  </a:lnTo>
                  <a:lnTo>
                    <a:pt x="889" y="885"/>
                  </a:lnTo>
                  <a:lnTo>
                    <a:pt x="889" y="885"/>
                  </a:lnTo>
                  <a:lnTo>
                    <a:pt x="889" y="885"/>
                  </a:lnTo>
                  <a:lnTo>
                    <a:pt x="889" y="887"/>
                  </a:lnTo>
                  <a:lnTo>
                    <a:pt x="888" y="887"/>
                  </a:lnTo>
                  <a:lnTo>
                    <a:pt x="886" y="887"/>
                  </a:lnTo>
                  <a:lnTo>
                    <a:pt x="885" y="887"/>
                  </a:lnTo>
                  <a:lnTo>
                    <a:pt x="883" y="885"/>
                  </a:lnTo>
                  <a:lnTo>
                    <a:pt x="882" y="885"/>
                  </a:lnTo>
                  <a:lnTo>
                    <a:pt x="880" y="880"/>
                  </a:lnTo>
                  <a:lnTo>
                    <a:pt x="880" y="880"/>
                  </a:lnTo>
                  <a:lnTo>
                    <a:pt x="880" y="876"/>
                  </a:lnTo>
                  <a:lnTo>
                    <a:pt x="878" y="873"/>
                  </a:lnTo>
                  <a:lnTo>
                    <a:pt x="878" y="870"/>
                  </a:lnTo>
                  <a:lnTo>
                    <a:pt x="875" y="870"/>
                  </a:lnTo>
                  <a:lnTo>
                    <a:pt x="875" y="868"/>
                  </a:lnTo>
                  <a:lnTo>
                    <a:pt x="873" y="868"/>
                  </a:lnTo>
                  <a:lnTo>
                    <a:pt x="872" y="868"/>
                  </a:lnTo>
                  <a:lnTo>
                    <a:pt x="872" y="868"/>
                  </a:lnTo>
                  <a:lnTo>
                    <a:pt x="864" y="858"/>
                  </a:lnTo>
                  <a:lnTo>
                    <a:pt x="867" y="870"/>
                  </a:lnTo>
                  <a:lnTo>
                    <a:pt x="873" y="879"/>
                  </a:lnTo>
                  <a:lnTo>
                    <a:pt x="871" y="882"/>
                  </a:lnTo>
                  <a:lnTo>
                    <a:pt x="873" y="894"/>
                  </a:lnTo>
                  <a:lnTo>
                    <a:pt x="864" y="906"/>
                  </a:lnTo>
                  <a:lnTo>
                    <a:pt x="862" y="895"/>
                  </a:lnTo>
                  <a:lnTo>
                    <a:pt x="856" y="904"/>
                  </a:lnTo>
                  <a:lnTo>
                    <a:pt x="852" y="901"/>
                  </a:lnTo>
                  <a:lnTo>
                    <a:pt x="834" y="913"/>
                  </a:lnTo>
                  <a:lnTo>
                    <a:pt x="840" y="920"/>
                  </a:lnTo>
                  <a:lnTo>
                    <a:pt x="840" y="920"/>
                  </a:lnTo>
                  <a:lnTo>
                    <a:pt x="840" y="920"/>
                  </a:lnTo>
                  <a:lnTo>
                    <a:pt x="843" y="918"/>
                  </a:lnTo>
                  <a:lnTo>
                    <a:pt x="845" y="916"/>
                  </a:lnTo>
                  <a:lnTo>
                    <a:pt x="847" y="913"/>
                  </a:lnTo>
                  <a:lnTo>
                    <a:pt x="849" y="912"/>
                  </a:lnTo>
                  <a:lnTo>
                    <a:pt x="850" y="913"/>
                  </a:lnTo>
                  <a:lnTo>
                    <a:pt x="850" y="916"/>
                  </a:lnTo>
                  <a:lnTo>
                    <a:pt x="847" y="922"/>
                  </a:lnTo>
                  <a:lnTo>
                    <a:pt x="847" y="922"/>
                  </a:lnTo>
                  <a:lnTo>
                    <a:pt x="847" y="922"/>
                  </a:lnTo>
                  <a:lnTo>
                    <a:pt x="846" y="924"/>
                  </a:lnTo>
                  <a:lnTo>
                    <a:pt x="845" y="927"/>
                  </a:lnTo>
                  <a:lnTo>
                    <a:pt x="843" y="930"/>
                  </a:lnTo>
                  <a:lnTo>
                    <a:pt x="842" y="931"/>
                  </a:lnTo>
                  <a:lnTo>
                    <a:pt x="840" y="934"/>
                  </a:lnTo>
                  <a:lnTo>
                    <a:pt x="840" y="936"/>
                  </a:lnTo>
                  <a:lnTo>
                    <a:pt x="840" y="936"/>
                  </a:lnTo>
                  <a:lnTo>
                    <a:pt x="835" y="940"/>
                  </a:lnTo>
                  <a:lnTo>
                    <a:pt x="832" y="934"/>
                  </a:lnTo>
                  <a:lnTo>
                    <a:pt x="806" y="934"/>
                  </a:lnTo>
                  <a:lnTo>
                    <a:pt x="810" y="940"/>
                  </a:lnTo>
                  <a:lnTo>
                    <a:pt x="814" y="942"/>
                  </a:lnTo>
                  <a:lnTo>
                    <a:pt x="817" y="949"/>
                  </a:lnTo>
                  <a:lnTo>
                    <a:pt x="823" y="953"/>
                  </a:lnTo>
                  <a:lnTo>
                    <a:pt x="828" y="951"/>
                  </a:lnTo>
                  <a:lnTo>
                    <a:pt x="816" y="988"/>
                  </a:lnTo>
                  <a:lnTo>
                    <a:pt x="816" y="988"/>
                  </a:lnTo>
                  <a:lnTo>
                    <a:pt x="816" y="990"/>
                  </a:lnTo>
                  <a:lnTo>
                    <a:pt x="814" y="991"/>
                  </a:lnTo>
                  <a:lnTo>
                    <a:pt x="814" y="993"/>
                  </a:lnTo>
                  <a:lnTo>
                    <a:pt x="813" y="993"/>
                  </a:lnTo>
                  <a:lnTo>
                    <a:pt x="811" y="994"/>
                  </a:lnTo>
                  <a:lnTo>
                    <a:pt x="810" y="993"/>
                  </a:lnTo>
                  <a:lnTo>
                    <a:pt x="809" y="990"/>
                  </a:lnTo>
                  <a:lnTo>
                    <a:pt x="809" y="984"/>
                  </a:lnTo>
                  <a:lnTo>
                    <a:pt x="809" y="984"/>
                  </a:lnTo>
                  <a:lnTo>
                    <a:pt x="809" y="984"/>
                  </a:lnTo>
                  <a:lnTo>
                    <a:pt x="807" y="982"/>
                  </a:lnTo>
                  <a:lnTo>
                    <a:pt x="807" y="979"/>
                  </a:lnTo>
                  <a:lnTo>
                    <a:pt x="806" y="978"/>
                  </a:lnTo>
                  <a:lnTo>
                    <a:pt x="805" y="976"/>
                  </a:lnTo>
                  <a:lnTo>
                    <a:pt x="804" y="978"/>
                  </a:lnTo>
                  <a:lnTo>
                    <a:pt x="804" y="981"/>
                  </a:lnTo>
                  <a:lnTo>
                    <a:pt x="804" y="985"/>
                  </a:lnTo>
                  <a:lnTo>
                    <a:pt x="804" y="985"/>
                  </a:lnTo>
                  <a:lnTo>
                    <a:pt x="802" y="987"/>
                  </a:lnTo>
                  <a:lnTo>
                    <a:pt x="801" y="990"/>
                  </a:lnTo>
                  <a:lnTo>
                    <a:pt x="798" y="993"/>
                  </a:lnTo>
                  <a:lnTo>
                    <a:pt x="796" y="993"/>
                  </a:lnTo>
                  <a:lnTo>
                    <a:pt x="787" y="987"/>
                  </a:lnTo>
                  <a:lnTo>
                    <a:pt x="789" y="994"/>
                  </a:lnTo>
                  <a:lnTo>
                    <a:pt x="786" y="999"/>
                  </a:lnTo>
                  <a:lnTo>
                    <a:pt x="795" y="1003"/>
                  </a:lnTo>
                  <a:lnTo>
                    <a:pt x="810" y="1000"/>
                  </a:lnTo>
                  <a:lnTo>
                    <a:pt x="811" y="1015"/>
                  </a:lnTo>
                  <a:lnTo>
                    <a:pt x="804" y="1036"/>
                  </a:lnTo>
                  <a:lnTo>
                    <a:pt x="804" y="1045"/>
                  </a:lnTo>
                  <a:lnTo>
                    <a:pt x="814" y="1075"/>
                  </a:lnTo>
                  <a:lnTo>
                    <a:pt x="813" y="1093"/>
                  </a:lnTo>
                  <a:lnTo>
                    <a:pt x="822" y="1105"/>
                  </a:lnTo>
                  <a:lnTo>
                    <a:pt x="826" y="1122"/>
                  </a:lnTo>
                  <a:lnTo>
                    <a:pt x="832" y="1132"/>
                  </a:lnTo>
                  <a:lnTo>
                    <a:pt x="820" y="1141"/>
                  </a:lnTo>
                  <a:lnTo>
                    <a:pt x="814" y="1148"/>
                  </a:lnTo>
                  <a:lnTo>
                    <a:pt x="814" y="1148"/>
                  </a:lnTo>
                  <a:lnTo>
                    <a:pt x="814" y="1148"/>
                  </a:lnTo>
                  <a:lnTo>
                    <a:pt x="813" y="1147"/>
                  </a:lnTo>
                  <a:lnTo>
                    <a:pt x="811" y="1145"/>
                  </a:lnTo>
                  <a:lnTo>
                    <a:pt x="810" y="1144"/>
                  </a:lnTo>
                  <a:lnTo>
                    <a:pt x="807" y="1141"/>
                  </a:lnTo>
                  <a:lnTo>
                    <a:pt x="805" y="1138"/>
                  </a:lnTo>
                  <a:lnTo>
                    <a:pt x="802" y="1135"/>
                  </a:lnTo>
                  <a:lnTo>
                    <a:pt x="799" y="1134"/>
                  </a:lnTo>
                  <a:lnTo>
                    <a:pt x="795" y="1131"/>
                  </a:lnTo>
                  <a:lnTo>
                    <a:pt x="790" y="1128"/>
                  </a:lnTo>
                  <a:lnTo>
                    <a:pt x="784" y="1126"/>
                  </a:lnTo>
                  <a:lnTo>
                    <a:pt x="778" y="1123"/>
                  </a:lnTo>
                  <a:lnTo>
                    <a:pt x="774" y="1122"/>
                  </a:lnTo>
                  <a:lnTo>
                    <a:pt x="766" y="1122"/>
                  </a:lnTo>
                  <a:lnTo>
                    <a:pt x="759" y="1122"/>
                  </a:lnTo>
                  <a:lnTo>
                    <a:pt x="751" y="1122"/>
                  </a:lnTo>
                  <a:lnTo>
                    <a:pt x="751" y="1122"/>
                  </a:lnTo>
                  <a:lnTo>
                    <a:pt x="750" y="1122"/>
                  </a:lnTo>
                  <a:lnTo>
                    <a:pt x="748" y="1122"/>
                  </a:lnTo>
                  <a:lnTo>
                    <a:pt x="747" y="1122"/>
                  </a:lnTo>
                  <a:lnTo>
                    <a:pt x="744" y="1122"/>
                  </a:lnTo>
                  <a:lnTo>
                    <a:pt x="742" y="1122"/>
                  </a:lnTo>
                  <a:lnTo>
                    <a:pt x="742" y="1123"/>
                  </a:lnTo>
                  <a:lnTo>
                    <a:pt x="741" y="1123"/>
                  </a:lnTo>
                  <a:lnTo>
                    <a:pt x="739" y="1123"/>
                  </a:lnTo>
                  <a:lnTo>
                    <a:pt x="709" y="1105"/>
                  </a:lnTo>
                  <a:lnTo>
                    <a:pt x="696" y="1105"/>
                  </a:lnTo>
                  <a:lnTo>
                    <a:pt x="696" y="1105"/>
                  </a:lnTo>
                  <a:lnTo>
                    <a:pt x="696" y="1104"/>
                  </a:lnTo>
                  <a:lnTo>
                    <a:pt x="694" y="1102"/>
                  </a:lnTo>
                  <a:lnTo>
                    <a:pt x="694" y="1099"/>
                  </a:lnTo>
                  <a:lnTo>
                    <a:pt x="691" y="1096"/>
                  </a:lnTo>
                  <a:lnTo>
                    <a:pt x="687" y="1093"/>
                  </a:lnTo>
                  <a:lnTo>
                    <a:pt x="682" y="1090"/>
                  </a:lnTo>
                  <a:lnTo>
                    <a:pt x="676" y="1087"/>
                  </a:lnTo>
                  <a:lnTo>
                    <a:pt x="667" y="1087"/>
                  </a:lnTo>
                  <a:lnTo>
                    <a:pt x="667" y="1087"/>
                  </a:lnTo>
                  <a:lnTo>
                    <a:pt x="666" y="1087"/>
                  </a:lnTo>
                  <a:lnTo>
                    <a:pt x="664" y="1087"/>
                  </a:lnTo>
                  <a:lnTo>
                    <a:pt x="661" y="1087"/>
                  </a:lnTo>
                  <a:lnTo>
                    <a:pt x="660" y="1087"/>
                  </a:lnTo>
                  <a:lnTo>
                    <a:pt x="658" y="1087"/>
                  </a:lnTo>
                  <a:lnTo>
                    <a:pt x="657" y="1087"/>
                  </a:lnTo>
                  <a:lnTo>
                    <a:pt x="655" y="1087"/>
                  </a:lnTo>
                  <a:lnTo>
                    <a:pt x="655" y="1087"/>
                  </a:lnTo>
                  <a:lnTo>
                    <a:pt x="655" y="1075"/>
                  </a:lnTo>
                  <a:lnTo>
                    <a:pt x="649" y="1074"/>
                  </a:lnTo>
                  <a:lnTo>
                    <a:pt x="649" y="1074"/>
                  </a:lnTo>
                  <a:lnTo>
                    <a:pt x="649" y="1074"/>
                  </a:lnTo>
                  <a:lnTo>
                    <a:pt x="649" y="1072"/>
                  </a:lnTo>
                  <a:lnTo>
                    <a:pt x="649" y="1069"/>
                  </a:lnTo>
                  <a:lnTo>
                    <a:pt x="648" y="1065"/>
                  </a:lnTo>
                  <a:lnTo>
                    <a:pt x="646" y="1060"/>
                  </a:lnTo>
                  <a:lnTo>
                    <a:pt x="646" y="1056"/>
                  </a:lnTo>
                  <a:lnTo>
                    <a:pt x="645" y="1051"/>
                  </a:lnTo>
                  <a:lnTo>
                    <a:pt x="643" y="1048"/>
                  </a:lnTo>
                  <a:lnTo>
                    <a:pt x="641" y="1042"/>
                  </a:lnTo>
                  <a:lnTo>
                    <a:pt x="640" y="1038"/>
                  </a:lnTo>
                  <a:lnTo>
                    <a:pt x="639" y="1033"/>
                  </a:lnTo>
                  <a:lnTo>
                    <a:pt x="636" y="1030"/>
                  </a:lnTo>
                  <a:lnTo>
                    <a:pt x="634" y="1027"/>
                  </a:lnTo>
                  <a:lnTo>
                    <a:pt x="631" y="1024"/>
                  </a:lnTo>
                  <a:lnTo>
                    <a:pt x="630" y="1023"/>
                  </a:lnTo>
                  <a:lnTo>
                    <a:pt x="627" y="1023"/>
                  </a:lnTo>
                  <a:lnTo>
                    <a:pt x="627" y="1023"/>
                  </a:lnTo>
                  <a:lnTo>
                    <a:pt x="625" y="1023"/>
                  </a:lnTo>
                  <a:lnTo>
                    <a:pt x="625" y="1020"/>
                  </a:lnTo>
                  <a:lnTo>
                    <a:pt x="625" y="1016"/>
                  </a:lnTo>
                  <a:lnTo>
                    <a:pt x="625" y="1011"/>
                  </a:lnTo>
                  <a:lnTo>
                    <a:pt x="625" y="1006"/>
                  </a:lnTo>
                  <a:lnTo>
                    <a:pt x="625" y="1000"/>
                  </a:lnTo>
                  <a:lnTo>
                    <a:pt x="625" y="997"/>
                  </a:lnTo>
                  <a:lnTo>
                    <a:pt x="625" y="996"/>
                  </a:lnTo>
                  <a:lnTo>
                    <a:pt x="616" y="987"/>
                  </a:lnTo>
                  <a:lnTo>
                    <a:pt x="616" y="987"/>
                  </a:lnTo>
                  <a:lnTo>
                    <a:pt x="616" y="985"/>
                  </a:lnTo>
                  <a:lnTo>
                    <a:pt x="616" y="984"/>
                  </a:lnTo>
                  <a:lnTo>
                    <a:pt x="618" y="978"/>
                  </a:lnTo>
                  <a:lnTo>
                    <a:pt x="618" y="972"/>
                  </a:lnTo>
                  <a:lnTo>
                    <a:pt x="616" y="966"/>
                  </a:lnTo>
                  <a:lnTo>
                    <a:pt x="615" y="960"/>
                  </a:lnTo>
                  <a:lnTo>
                    <a:pt x="613" y="955"/>
                  </a:lnTo>
                  <a:lnTo>
                    <a:pt x="610" y="954"/>
                  </a:lnTo>
                  <a:lnTo>
                    <a:pt x="610" y="954"/>
                  </a:lnTo>
                  <a:lnTo>
                    <a:pt x="608" y="954"/>
                  </a:lnTo>
                  <a:lnTo>
                    <a:pt x="606" y="953"/>
                  </a:lnTo>
                  <a:lnTo>
                    <a:pt x="603" y="951"/>
                  </a:lnTo>
                  <a:lnTo>
                    <a:pt x="600" y="951"/>
                  </a:lnTo>
                  <a:lnTo>
                    <a:pt x="598" y="948"/>
                  </a:lnTo>
                  <a:lnTo>
                    <a:pt x="595" y="945"/>
                  </a:lnTo>
                  <a:lnTo>
                    <a:pt x="592" y="942"/>
                  </a:lnTo>
                  <a:lnTo>
                    <a:pt x="589" y="937"/>
                  </a:lnTo>
                  <a:lnTo>
                    <a:pt x="586" y="934"/>
                  </a:lnTo>
                  <a:lnTo>
                    <a:pt x="583" y="930"/>
                  </a:lnTo>
                  <a:lnTo>
                    <a:pt x="581" y="924"/>
                  </a:lnTo>
                  <a:lnTo>
                    <a:pt x="578" y="920"/>
                  </a:lnTo>
                  <a:lnTo>
                    <a:pt x="575" y="916"/>
                  </a:lnTo>
                  <a:lnTo>
                    <a:pt x="572" y="910"/>
                  </a:lnTo>
                  <a:lnTo>
                    <a:pt x="570" y="906"/>
                  </a:lnTo>
                  <a:lnTo>
                    <a:pt x="567" y="900"/>
                  </a:lnTo>
                  <a:lnTo>
                    <a:pt x="567" y="900"/>
                  </a:lnTo>
                  <a:lnTo>
                    <a:pt x="565" y="898"/>
                  </a:lnTo>
                  <a:lnTo>
                    <a:pt x="564" y="897"/>
                  </a:lnTo>
                  <a:lnTo>
                    <a:pt x="561" y="894"/>
                  </a:lnTo>
                  <a:lnTo>
                    <a:pt x="559" y="890"/>
                  </a:lnTo>
                  <a:lnTo>
                    <a:pt x="556" y="887"/>
                  </a:lnTo>
                  <a:lnTo>
                    <a:pt x="553" y="885"/>
                  </a:lnTo>
                  <a:lnTo>
                    <a:pt x="552" y="885"/>
                  </a:lnTo>
                  <a:lnTo>
                    <a:pt x="552" y="883"/>
                  </a:lnTo>
                  <a:lnTo>
                    <a:pt x="516" y="804"/>
                  </a:lnTo>
                  <a:lnTo>
                    <a:pt x="512" y="792"/>
                  </a:lnTo>
                  <a:lnTo>
                    <a:pt x="501" y="77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6" y="754"/>
                  </a:lnTo>
                  <a:lnTo>
                    <a:pt x="475" y="750"/>
                  </a:lnTo>
                  <a:lnTo>
                    <a:pt x="469" y="745"/>
                  </a:lnTo>
                  <a:lnTo>
                    <a:pt x="465" y="739"/>
                  </a:lnTo>
                  <a:lnTo>
                    <a:pt x="459" y="734"/>
                  </a:lnTo>
                  <a:lnTo>
                    <a:pt x="453" y="729"/>
                  </a:lnTo>
                  <a:lnTo>
                    <a:pt x="448" y="725"/>
                  </a:lnTo>
                  <a:lnTo>
                    <a:pt x="442" y="723"/>
                  </a:lnTo>
                  <a:lnTo>
                    <a:pt x="442" y="723"/>
                  </a:lnTo>
                  <a:lnTo>
                    <a:pt x="440" y="723"/>
                  </a:lnTo>
                  <a:lnTo>
                    <a:pt x="436" y="723"/>
                  </a:lnTo>
                  <a:lnTo>
                    <a:pt x="433" y="722"/>
                  </a:lnTo>
                  <a:lnTo>
                    <a:pt x="429" y="722"/>
                  </a:lnTo>
                  <a:lnTo>
                    <a:pt x="424" y="722"/>
                  </a:lnTo>
                  <a:lnTo>
                    <a:pt x="420" y="721"/>
                  </a:lnTo>
                  <a:lnTo>
                    <a:pt x="415" y="721"/>
                  </a:lnTo>
                  <a:lnTo>
                    <a:pt x="410" y="720"/>
                  </a:lnTo>
                  <a:lnTo>
                    <a:pt x="404" y="720"/>
                  </a:lnTo>
                  <a:lnTo>
                    <a:pt x="400" y="718"/>
                  </a:lnTo>
                  <a:lnTo>
                    <a:pt x="396" y="717"/>
                  </a:lnTo>
                  <a:lnTo>
                    <a:pt x="390" y="715"/>
                  </a:lnTo>
                  <a:lnTo>
                    <a:pt x="387" y="715"/>
                  </a:lnTo>
                  <a:lnTo>
                    <a:pt x="383" y="712"/>
                  </a:lnTo>
                  <a:lnTo>
                    <a:pt x="380" y="711"/>
                  </a:lnTo>
                  <a:lnTo>
                    <a:pt x="377" y="709"/>
                  </a:lnTo>
                  <a:lnTo>
                    <a:pt x="377" y="709"/>
                  </a:lnTo>
                  <a:lnTo>
                    <a:pt x="374" y="708"/>
                  </a:lnTo>
                  <a:lnTo>
                    <a:pt x="373" y="706"/>
                  </a:lnTo>
                  <a:lnTo>
                    <a:pt x="371" y="706"/>
                  </a:lnTo>
                  <a:lnTo>
                    <a:pt x="368" y="708"/>
                  </a:lnTo>
                  <a:lnTo>
                    <a:pt x="367" y="709"/>
                  </a:lnTo>
                  <a:lnTo>
                    <a:pt x="366" y="711"/>
                  </a:lnTo>
                  <a:lnTo>
                    <a:pt x="363" y="714"/>
                  </a:lnTo>
                  <a:lnTo>
                    <a:pt x="361" y="717"/>
                  </a:lnTo>
                  <a:lnTo>
                    <a:pt x="361" y="717"/>
                  </a:lnTo>
                  <a:lnTo>
                    <a:pt x="358" y="718"/>
                  </a:lnTo>
                  <a:lnTo>
                    <a:pt x="355" y="720"/>
                  </a:lnTo>
                  <a:lnTo>
                    <a:pt x="355" y="720"/>
                  </a:lnTo>
                  <a:lnTo>
                    <a:pt x="353" y="720"/>
                  </a:lnTo>
                  <a:lnTo>
                    <a:pt x="352" y="718"/>
                  </a:lnTo>
                  <a:lnTo>
                    <a:pt x="350" y="717"/>
                  </a:lnTo>
                  <a:lnTo>
                    <a:pt x="350" y="717"/>
                  </a:lnTo>
                  <a:lnTo>
                    <a:pt x="350" y="717"/>
                  </a:lnTo>
                  <a:lnTo>
                    <a:pt x="350" y="717"/>
                  </a:lnTo>
                  <a:lnTo>
                    <a:pt x="349" y="715"/>
                  </a:lnTo>
                  <a:lnTo>
                    <a:pt x="346" y="715"/>
                  </a:lnTo>
                  <a:lnTo>
                    <a:pt x="343" y="717"/>
                  </a:lnTo>
                  <a:lnTo>
                    <a:pt x="337" y="718"/>
                  </a:lnTo>
                  <a:lnTo>
                    <a:pt x="331" y="722"/>
                  </a:lnTo>
                  <a:lnTo>
                    <a:pt x="327" y="731"/>
                  </a:lnTo>
                  <a:lnTo>
                    <a:pt x="322" y="741"/>
                  </a:lnTo>
                  <a:lnTo>
                    <a:pt x="317" y="755"/>
                  </a:lnTo>
                  <a:lnTo>
                    <a:pt x="311" y="764"/>
                  </a:lnTo>
                  <a:lnTo>
                    <a:pt x="311" y="764"/>
                  </a:lnTo>
                  <a:lnTo>
                    <a:pt x="311" y="764"/>
                  </a:lnTo>
                  <a:lnTo>
                    <a:pt x="311" y="764"/>
                  </a:lnTo>
                  <a:lnTo>
                    <a:pt x="311" y="765"/>
                  </a:lnTo>
                  <a:lnTo>
                    <a:pt x="310" y="765"/>
                  </a:lnTo>
                  <a:lnTo>
                    <a:pt x="310" y="766"/>
                  </a:lnTo>
                  <a:lnTo>
                    <a:pt x="308" y="769"/>
                  </a:lnTo>
                  <a:lnTo>
                    <a:pt x="305" y="772"/>
                  </a:lnTo>
                  <a:lnTo>
                    <a:pt x="302" y="775"/>
                  </a:lnTo>
                  <a:lnTo>
                    <a:pt x="302" y="775"/>
                  </a:lnTo>
                  <a:lnTo>
                    <a:pt x="301" y="775"/>
                  </a:lnTo>
                  <a:lnTo>
                    <a:pt x="301" y="777"/>
                  </a:lnTo>
                  <a:lnTo>
                    <a:pt x="298" y="778"/>
                  </a:lnTo>
                  <a:lnTo>
                    <a:pt x="297" y="781"/>
                  </a:lnTo>
                  <a:lnTo>
                    <a:pt x="295" y="783"/>
                  </a:lnTo>
                  <a:lnTo>
                    <a:pt x="294" y="784"/>
                  </a:lnTo>
                  <a:lnTo>
                    <a:pt x="292" y="786"/>
                  </a:lnTo>
                  <a:lnTo>
                    <a:pt x="292" y="786"/>
                  </a:lnTo>
                  <a:lnTo>
                    <a:pt x="292" y="786"/>
                  </a:lnTo>
                  <a:lnTo>
                    <a:pt x="292" y="786"/>
                  </a:lnTo>
                  <a:lnTo>
                    <a:pt x="292" y="788"/>
                  </a:lnTo>
                  <a:lnTo>
                    <a:pt x="291" y="789"/>
                  </a:lnTo>
                  <a:lnTo>
                    <a:pt x="290" y="792"/>
                  </a:lnTo>
                  <a:lnTo>
                    <a:pt x="287" y="794"/>
                  </a:lnTo>
                  <a:lnTo>
                    <a:pt x="283" y="794"/>
                  </a:lnTo>
                  <a:lnTo>
                    <a:pt x="275" y="794"/>
                  </a:lnTo>
                  <a:lnTo>
                    <a:pt x="265" y="789"/>
                  </a:lnTo>
                  <a:lnTo>
                    <a:pt x="265" y="789"/>
                  </a:lnTo>
                  <a:lnTo>
                    <a:pt x="263" y="788"/>
                  </a:lnTo>
                  <a:lnTo>
                    <a:pt x="261" y="786"/>
                  </a:lnTo>
                  <a:lnTo>
                    <a:pt x="257" y="783"/>
                  </a:lnTo>
                  <a:lnTo>
                    <a:pt x="251" y="778"/>
                  </a:lnTo>
                  <a:lnTo>
                    <a:pt x="244" y="772"/>
                  </a:lnTo>
                  <a:lnTo>
                    <a:pt x="236" y="768"/>
                  </a:lnTo>
                  <a:lnTo>
                    <a:pt x="229" y="764"/>
                  </a:lnTo>
                  <a:lnTo>
                    <a:pt x="223" y="758"/>
                  </a:lnTo>
                  <a:lnTo>
                    <a:pt x="223" y="758"/>
                  </a:lnTo>
                  <a:lnTo>
                    <a:pt x="223" y="758"/>
                  </a:lnTo>
                  <a:lnTo>
                    <a:pt x="221" y="758"/>
                  </a:lnTo>
                  <a:lnTo>
                    <a:pt x="220" y="758"/>
                  </a:lnTo>
                  <a:lnTo>
                    <a:pt x="217" y="758"/>
                  </a:lnTo>
                  <a:lnTo>
                    <a:pt x="212" y="756"/>
                  </a:lnTo>
                  <a:lnTo>
                    <a:pt x="208" y="754"/>
                  </a:lnTo>
                  <a:lnTo>
                    <a:pt x="202" y="750"/>
                  </a:lnTo>
                  <a:lnTo>
                    <a:pt x="197" y="745"/>
                  </a:lnTo>
                  <a:lnTo>
                    <a:pt x="193" y="736"/>
                  </a:lnTo>
                  <a:lnTo>
                    <a:pt x="193" y="736"/>
                  </a:lnTo>
                  <a:lnTo>
                    <a:pt x="190" y="734"/>
                  </a:lnTo>
                  <a:lnTo>
                    <a:pt x="187" y="732"/>
                  </a:lnTo>
                  <a:lnTo>
                    <a:pt x="184" y="731"/>
                  </a:lnTo>
                  <a:lnTo>
                    <a:pt x="181" y="728"/>
                  </a:lnTo>
                  <a:lnTo>
                    <a:pt x="176" y="723"/>
                  </a:lnTo>
                  <a:lnTo>
                    <a:pt x="172" y="717"/>
                  </a:lnTo>
                  <a:lnTo>
                    <a:pt x="164" y="706"/>
                  </a:lnTo>
                  <a:lnTo>
                    <a:pt x="158" y="693"/>
                  </a:lnTo>
                  <a:lnTo>
                    <a:pt x="158" y="693"/>
                  </a:lnTo>
                  <a:lnTo>
                    <a:pt x="158" y="690"/>
                  </a:lnTo>
                  <a:lnTo>
                    <a:pt x="157" y="685"/>
                  </a:lnTo>
                  <a:lnTo>
                    <a:pt x="157" y="678"/>
                  </a:lnTo>
                  <a:lnTo>
                    <a:pt x="157" y="671"/>
                  </a:lnTo>
                  <a:lnTo>
                    <a:pt x="155" y="663"/>
                  </a:lnTo>
                  <a:lnTo>
                    <a:pt x="155" y="657"/>
                  </a:lnTo>
                  <a:lnTo>
                    <a:pt x="155" y="654"/>
                  </a:lnTo>
                  <a:lnTo>
                    <a:pt x="155" y="652"/>
                  </a:lnTo>
                  <a:lnTo>
                    <a:pt x="145" y="638"/>
                  </a:lnTo>
                  <a:lnTo>
                    <a:pt x="145" y="638"/>
                  </a:lnTo>
                  <a:lnTo>
                    <a:pt x="145" y="636"/>
                  </a:lnTo>
                  <a:lnTo>
                    <a:pt x="145" y="635"/>
                  </a:lnTo>
                  <a:lnTo>
                    <a:pt x="145" y="632"/>
                  </a:lnTo>
                  <a:lnTo>
                    <a:pt x="143" y="627"/>
                  </a:lnTo>
                  <a:lnTo>
                    <a:pt x="140" y="621"/>
                  </a:lnTo>
                  <a:lnTo>
                    <a:pt x="134" y="612"/>
                  </a:lnTo>
                  <a:lnTo>
                    <a:pt x="126" y="602"/>
                  </a:lnTo>
                  <a:lnTo>
                    <a:pt x="113" y="589"/>
                  </a:lnTo>
                  <a:lnTo>
                    <a:pt x="113" y="589"/>
                  </a:lnTo>
                  <a:lnTo>
                    <a:pt x="112" y="588"/>
                  </a:lnTo>
                  <a:lnTo>
                    <a:pt x="109" y="585"/>
                  </a:lnTo>
                  <a:lnTo>
                    <a:pt x="104" y="580"/>
                  </a:lnTo>
                  <a:lnTo>
                    <a:pt x="100" y="576"/>
                  </a:lnTo>
                  <a:lnTo>
                    <a:pt x="96" y="573"/>
                  </a:lnTo>
                  <a:lnTo>
                    <a:pt x="92" y="569"/>
                  </a:lnTo>
                  <a:lnTo>
                    <a:pt x="89" y="567"/>
                  </a:lnTo>
                  <a:lnTo>
                    <a:pt x="88" y="566"/>
                  </a:lnTo>
                  <a:lnTo>
                    <a:pt x="77" y="549"/>
                  </a:lnTo>
                  <a:lnTo>
                    <a:pt x="50" y="516"/>
                  </a:lnTo>
                  <a:lnTo>
                    <a:pt x="35" y="513"/>
                  </a:lnTo>
                  <a:lnTo>
                    <a:pt x="16" y="476"/>
                  </a:lnTo>
                  <a:lnTo>
                    <a:pt x="4" y="474"/>
                  </a:lnTo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" name="Freeform 37"/>
            <p:cNvSpPr>
              <a:spLocks/>
            </p:cNvSpPr>
            <p:nvPr/>
          </p:nvSpPr>
          <p:spPr bwMode="auto">
            <a:xfrm>
              <a:off x="2178776" y="4051798"/>
              <a:ext cx="365305" cy="416043"/>
            </a:xfrm>
            <a:custGeom>
              <a:avLst/>
              <a:gdLst>
                <a:gd name="T0" fmla="*/ 440 w 544"/>
                <a:gd name="T1" fmla="*/ 577 h 620"/>
                <a:gd name="T2" fmla="*/ 405 w 544"/>
                <a:gd name="T3" fmla="*/ 545 h 620"/>
                <a:gd name="T4" fmla="*/ 361 w 544"/>
                <a:gd name="T5" fmla="*/ 508 h 620"/>
                <a:gd name="T6" fmla="*/ 356 w 544"/>
                <a:gd name="T7" fmla="*/ 499 h 620"/>
                <a:gd name="T8" fmla="*/ 336 w 544"/>
                <a:gd name="T9" fmla="*/ 496 h 620"/>
                <a:gd name="T10" fmla="*/ 326 w 544"/>
                <a:gd name="T11" fmla="*/ 469 h 620"/>
                <a:gd name="T12" fmla="*/ 323 w 544"/>
                <a:gd name="T13" fmla="*/ 449 h 620"/>
                <a:gd name="T14" fmla="*/ 325 w 544"/>
                <a:gd name="T15" fmla="*/ 416 h 620"/>
                <a:gd name="T16" fmla="*/ 311 w 544"/>
                <a:gd name="T17" fmla="*/ 378 h 620"/>
                <a:gd name="T18" fmla="*/ 317 w 544"/>
                <a:gd name="T19" fmla="*/ 373 h 620"/>
                <a:gd name="T20" fmla="*/ 336 w 544"/>
                <a:gd name="T21" fmla="*/ 350 h 620"/>
                <a:gd name="T22" fmla="*/ 352 w 544"/>
                <a:gd name="T23" fmla="*/ 280 h 620"/>
                <a:gd name="T24" fmla="*/ 358 w 544"/>
                <a:gd name="T25" fmla="*/ 271 h 620"/>
                <a:gd name="T26" fmla="*/ 386 w 544"/>
                <a:gd name="T27" fmla="*/ 247 h 620"/>
                <a:gd name="T28" fmla="*/ 419 w 544"/>
                <a:gd name="T29" fmla="*/ 216 h 620"/>
                <a:gd name="T30" fmla="*/ 438 w 544"/>
                <a:gd name="T31" fmla="*/ 193 h 620"/>
                <a:gd name="T32" fmla="*/ 454 w 544"/>
                <a:gd name="T33" fmla="*/ 174 h 620"/>
                <a:gd name="T34" fmla="*/ 479 w 544"/>
                <a:gd name="T35" fmla="*/ 160 h 620"/>
                <a:gd name="T36" fmla="*/ 502 w 544"/>
                <a:gd name="T37" fmla="*/ 153 h 620"/>
                <a:gd name="T38" fmla="*/ 527 w 544"/>
                <a:gd name="T39" fmla="*/ 138 h 620"/>
                <a:gd name="T40" fmla="*/ 543 w 544"/>
                <a:gd name="T41" fmla="*/ 127 h 620"/>
                <a:gd name="T42" fmla="*/ 542 w 544"/>
                <a:gd name="T43" fmla="*/ 126 h 620"/>
                <a:gd name="T44" fmla="*/ 512 w 544"/>
                <a:gd name="T45" fmla="*/ 128 h 620"/>
                <a:gd name="T46" fmla="*/ 448 w 544"/>
                <a:gd name="T47" fmla="*/ 121 h 620"/>
                <a:gd name="T48" fmla="*/ 443 w 544"/>
                <a:gd name="T49" fmla="*/ 109 h 620"/>
                <a:gd name="T50" fmla="*/ 418 w 544"/>
                <a:gd name="T51" fmla="*/ 126 h 620"/>
                <a:gd name="T52" fmla="*/ 391 w 544"/>
                <a:gd name="T53" fmla="*/ 126 h 620"/>
                <a:gd name="T54" fmla="*/ 381 w 544"/>
                <a:gd name="T55" fmla="*/ 115 h 620"/>
                <a:gd name="T56" fmla="*/ 369 w 544"/>
                <a:gd name="T57" fmla="*/ 112 h 620"/>
                <a:gd name="T58" fmla="*/ 362 w 544"/>
                <a:gd name="T59" fmla="*/ 100 h 620"/>
                <a:gd name="T60" fmla="*/ 342 w 544"/>
                <a:gd name="T61" fmla="*/ 111 h 620"/>
                <a:gd name="T62" fmla="*/ 332 w 544"/>
                <a:gd name="T63" fmla="*/ 97 h 620"/>
                <a:gd name="T64" fmla="*/ 318 w 544"/>
                <a:gd name="T65" fmla="*/ 84 h 620"/>
                <a:gd name="T66" fmla="*/ 320 w 544"/>
                <a:gd name="T67" fmla="*/ 82 h 620"/>
                <a:gd name="T68" fmla="*/ 293 w 544"/>
                <a:gd name="T69" fmla="*/ 78 h 620"/>
                <a:gd name="T70" fmla="*/ 266 w 544"/>
                <a:gd name="T71" fmla="*/ 75 h 620"/>
                <a:gd name="T72" fmla="*/ 242 w 544"/>
                <a:gd name="T73" fmla="*/ 88 h 620"/>
                <a:gd name="T74" fmla="*/ 203 w 544"/>
                <a:gd name="T75" fmla="*/ 69 h 620"/>
                <a:gd name="T76" fmla="*/ 174 w 544"/>
                <a:gd name="T77" fmla="*/ 61 h 620"/>
                <a:gd name="T78" fmla="*/ 143 w 544"/>
                <a:gd name="T79" fmla="*/ 31 h 620"/>
                <a:gd name="T80" fmla="*/ 5 w 544"/>
                <a:gd name="T81" fmla="*/ 73 h 620"/>
                <a:gd name="T82" fmla="*/ 3 w 544"/>
                <a:gd name="T83" fmla="*/ 111 h 620"/>
                <a:gd name="T84" fmla="*/ 11 w 544"/>
                <a:gd name="T85" fmla="*/ 157 h 620"/>
                <a:gd name="T86" fmla="*/ 21 w 544"/>
                <a:gd name="T87" fmla="*/ 183 h 620"/>
                <a:gd name="T88" fmla="*/ 25 w 544"/>
                <a:gd name="T89" fmla="*/ 223 h 620"/>
                <a:gd name="T90" fmla="*/ 25 w 544"/>
                <a:gd name="T91" fmla="*/ 250 h 620"/>
                <a:gd name="T92" fmla="*/ 44 w 544"/>
                <a:gd name="T93" fmla="*/ 360 h 620"/>
                <a:gd name="T94" fmla="*/ 25 w 544"/>
                <a:gd name="T95" fmla="*/ 393 h 620"/>
                <a:gd name="T96" fmla="*/ 32 w 544"/>
                <a:gd name="T97" fmla="*/ 409 h 620"/>
                <a:gd name="T98" fmla="*/ 53 w 544"/>
                <a:gd name="T99" fmla="*/ 424 h 620"/>
                <a:gd name="T100" fmla="*/ 53 w 544"/>
                <a:gd name="T101" fmla="*/ 487 h 620"/>
                <a:gd name="T102" fmla="*/ 51 w 544"/>
                <a:gd name="T103" fmla="*/ 588 h 620"/>
                <a:gd name="T104" fmla="*/ 56 w 544"/>
                <a:gd name="T105" fmla="*/ 617 h 620"/>
                <a:gd name="T106" fmla="*/ 107 w 544"/>
                <a:gd name="T107" fmla="*/ 617 h 620"/>
                <a:gd name="T108" fmla="*/ 198 w 544"/>
                <a:gd name="T109" fmla="*/ 616 h 620"/>
                <a:gd name="T110" fmla="*/ 302 w 544"/>
                <a:gd name="T111" fmla="*/ 614 h 620"/>
                <a:gd name="T112" fmla="*/ 394 w 544"/>
                <a:gd name="T113" fmla="*/ 613 h 620"/>
                <a:gd name="T114" fmla="*/ 446 w 544"/>
                <a:gd name="T115" fmla="*/ 607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4" h="620">
                  <a:moveTo>
                    <a:pt x="446" y="607"/>
                  </a:moveTo>
                  <a:lnTo>
                    <a:pt x="447" y="605"/>
                  </a:lnTo>
                  <a:lnTo>
                    <a:pt x="447" y="599"/>
                  </a:lnTo>
                  <a:lnTo>
                    <a:pt x="444" y="592"/>
                  </a:lnTo>
                  <a:lnTo>
                    <a:pt x="443" y="584"/>
                  </a:lnTo>
                  <a:lnTo>
                    <a:pt x="440" y="577"/>
                  </a:lnTo>
                  <a:lnTo>
                    <a:pt x="438" y="569"/>
                  </a:lnTo>
                  <a:lnTo>
                    <a:pt x="436" y="564"/>
                  </a:lnTo>
                  <a:lnTo>
                    <a:pt x="434" y="562"/>
                  </a:lnTo>
                  <a:lnTo>
                    <a:pt x="422" y="558"/>
                  </a:lnTo>
                  <a:lnTo>
                    <a:pt x="413" y="553"/>
                  </a:lnTo>
                  <a:lnTo>
                    <a:pt x="405" y="545"/>
                  </a:lnTo>
                  <a:lnTo>
                    <a:pt x="398" y="538"/>
                  </a:lnTo>
                  <a:lnTo>
                    <a:pt x="394" y="531"/>
                  </a:lnTo>
                  <a:lnTo>
                    <a:pt x="389" y="523"/>
                  </a:lnTo>
                  <a:lnTo>
                    <a:pt x="386" y="521"/>
                  </a:lnTo>
                  <a:lnTo>
                    <a:pt x="386" y="518"/>
                  </a:lnTo>
                  <a:lnTo>
                    <a:pt x="361" y="508"/>
                  </a:lnTo>
                  <a:lnTo>
                    <a:pt x="359" y="501"/>
                  </a:lnTo>
                  <a:lnTo>
                    <a:pt x="359" y="501"/>
                  </a:lnTo>
                  <a:lnTo>
                    <a:pt x="359" y="501"/>
                  </a:lnTo>
                  <a:lnTo>
                    <a:pt x="358" y="501"/>
                  </a:lnTo>
                  <a:lnTo>
                    <a:pt x="358" y="499"/>
                  </a:lnTo>
                  <a:lnTo>
                    <a:pt x="356" y="499"/>
                  </a:lnTo>
                  <a:lnTo>
                    <a:pt x="353" y="499"/>
                  </a:lnTo>
                  <a:lnTo>
                    <a:pt x="352" y="499"/>
                  </a:lnTo>
                  <a:lnTo>
                    <a:pt x="350" y="501"/>
                  </a:lnTo>
                  <a:lnTo>
                    <a:pt x="347" y="499"/>
                  </a:lnTo>
                  <a:lnTo>
                    <a:pt x="342" y="498"/>
                  </a:lnTo>
                  <a:lnTo>
                    <a:pt x="336" y="496"/>
                  </a:lnTo>
                  <a:lnTo>
                    <a:pt x="332" y="492"/>
                  </a:lnTo>
                  <a:lnTo>
                    <a:pt x="328" y="488"/>
                  </a:lnTo>
                  <a:lnTo>
                    <a:pt x="325" y="485"/>
                  </a:lnTo>
                  <a:lnTo>
                    <a:pt x="323" y="481"/>
                  </a:lnTo>
                  <a:lnTo>
                    <a:pt x="323" y="476"/>
                  </a:lnTo>
                  <a:lnTo>
                    <a:pt x="326" y="469"/>
                  </a:lnTo>
                  <a:lnTo>
                    <a:pt x="328" y="465"/>
                  </a:lnTo>
                  <a:lnTo>
                    <a:pt x="328" y="460"/>
                  </a:lnTo>
                  <a:lnTo>
                    <a:pt x="328" y="457"/>
                  </a:lnTo>
                  <a:lnTo>
                    <a:pt x="326" y="455"/>
                  </a:lnTo>
                  <a:lnTo>
                    <a:pt x="325" y="452"/>
                  </a:lnTo>
                  <a:lnTo>
                    <a:pt x="323" y="449"/>
                  </a:lnTo>
                  <a:lnTo>
                    <a:pt x="320" y="446"/>
                  </a:lnTo>
                  <a:lnTo>
                    <a:pt x="320" y="442"/>
                  </a:lnTo>
                  <a:lnTo>
                    <a:pt x="320" y="435"/>
                  </a:lnTo>
                  <a:lnTo>
                    <a:pt x="320" y="429"/>
                  </a:lnTo>
                  <a:lnTo>
                    <a:pt x="323" y="422"/>
                  </a:lnTo>
                  <a:lnTo>
                    <a:pt x="325" y="416"/>
                  </a:lnTo>
                  <a:lnTo>
                    <a:pt x="328" y="410"/>
                  </a:lnTo>
                  <a:lnTo>
                    <a:pt x="328" y="406"/>
                  </a:lnTo>
                  <a:lnTo>
                    <a:pt x="329" y="406"/>
                  </a:lnTo>
                  <a:lnTo>
                    <a:pt x="322" y="394"/>
                  </a:lnTo>
                  <a:lnTo>
                    <a:pt x="311" y="394"/>
                  </a:lnTo>
                  <a:lnTo>
                    <a:pt x="311" y="378"/>
                  </a:lnTo>
                  <a:lnTo>
                    <a:pt x="312" y="378"/>
                  </a:lnTo>
                  <a:lnTo>
                    <a:pt x="312" y="378"/>
                  </a:lnTo>
                  <a:lnTo>
                    <a:pt x="312" y="378"/>
                  </a:lnTo>
                  <a:lnTo>
                    <a:pt x="314" y="376"/>
                  </a:lnTo>
                  <a:lnTo>
                    <a:pt x="315" y="376"/>
                  </a:lnTo>
                  <a:lnTo>
                    <a:pt x="317" y="373"/>
                  </a:lnTo>
                  <a:lnTo>
                    <a:pt x="317" y="372"/>
                  </a:lnTo>
                  <a:lnTo>
                    <a:pt x="318" y="369"/>
                  </a:lnTo>
                  <a:lnTo>
                    <a:pt x="319" y="364"/>
                  </a:lnTo>
                  <a:lnTo>
                    <a:pt x="325" y="360"/>
                  </a:lnTo>
                  <a:lnTo>
                    <a:pt x="329" y="356"/>
                  </a:lnTo>
                  <a:lnTo>
                    <a:pt x="336" y="350"/>
                  </a:lnTo>
                  <a:lnTo>
                    <a:pt x="342" y="346"/>
                  </a:lnTo>
                  <a:lnTo>
                    <a:pt x="348" y="343"/>
                  </a:lnTo>
                  <a:lnTo>
                    <a:pt x="351" y="340"/>
                  </a:lnTo>
                  <a:lnTo>
                    <a:pt x="353" y="340"/>
                  </a:lnTo>
                  <a:lnTo>
                    <a:pt x="352" y="280"/>
                  </a:lnTo>
                  <a:lnTo>
                    <a:pt x="352" y="280"/>
                  </a:lnTo>
                  <a:lnTo>
                    <a:pt x="351" y="280"/>
                  </a:lnTo>
                  <a:lnTo>
                    <a:pt x="351" y="280"/>
                  </a:lnTo>
                  <a:lnTo>
                    <a:pt x="351" y="279"/>
                  </a:lnTo>
                  <a:lnTo>
                    <a:pt x="352" y="277"/>
                  </a:lnTo>
                  <a:lnTo>
                    <a:pt x="353" y="274"/>
                  </a:lnTo>
                  <a:lnTo>
                    <a:pt x="358" y="271"/>
                  </a:lnTo>
                  <a:lnTo>
                    <a:pt x="364" y="267"/>
                  </a:lnTo>
                  <a:lnTo>
                    <a:pt x="368" y="264"/>
                  </a:lnTo>
                  <a:lnTo>
                    <a:pt x="372" y="260"/>
                  </a:lnTo>
                  <a:lnTo>
                    <a:pt x="377" y="256"/>
                  </a:lnTo>
                  <a:lnTo>
                    <a:pt x="381" y="252"/>
                  </a:lnTo>
                  <a:lnTo>
                    <a:pt x="386" y="247"/>
                  </a:lnTo>
                  <a:lnTo>
                    <a:pt x="392" y="241"/>
                  </a:lnTo>
                  <a:lnTo>
                    <a:pt x="398" y="235"/>
                  </a:lnTo>
                  <a:lnTo>
                    <a:pt x="404" y="231"/>
                  </a:lnTo>
                  <a:lnTo>
                    <a:pt x="410" y="226"/>
                  </a:lnTo>
                  <a:lnTo>
                    <a:pt x="415" y="220"/>
                  </a:lnTo>
                  <a:lnTo>
                    <a:pt x="419" y="216"/>
                  </a:lnTo>
                  <a:lnTo>
                    <a:pt x="425" y="210"/>
                  </a:lnTo>
                  <a:lnTo>
                    <a:pt x="428" y="205"/>
                  </a:lnTo>
                  <a:lnTo>
                    <a:pt x="433" y="201"/>
                  </a:lnTo>
                  <a:lnTo>
                    <a:pt x="436" y="198"/>
                  </a:lnTo>
                  <a:lnTo>
                    <a:pt x="437" y="195"/>
                  </a:lnTo>
                  <a:lnTo>
                    <a:pt x="438" y="193"/>
                  </a:lnTo>
                  <a:lnTo>
                    <a:pt x="440" y="189"/>
                  </a:lnTo>
                  <a:lnTo>
                    <a:pt x="443" y="186"/>
                  </a:lnTo>
                  <a:lnTo>
                    <a:pt x="444" y="183"/>
                  </a:lnTo>
                  <a:lnTo>
                    <a:pt x="447" y="180"/>
                  </a:lnTo>
                  <a:lnTo>
                    <a:pt x="451" y="177"/>
                  </a:lnTo>
                  <a:lnTo>
                    <a:pt x="454" y="174"/>
                  </a:lnTo>
                  <a:lnTo>
                    <a:pt x="458" y="171"/>
                  </a:lnTo>
                  <a:lnTo>
                    <a:pt x="463" y="168"/>
                  </a:lnTo>
                  <a:lnTo>
                    <a:pt x="466" y="166"/>
                  </a:lnTo>
                  <a:lnTo>
                    <a:pt x="470" y="163"/>
                  </a:lnTo>
                  <a:lnTo>
                    <a:pt x="474" y="162"/>
                  </a:lnTo>
                  <a:lnTo>
                    <a:pt x="479" y="160"/>
                  </a:lnTo>
                  <a:lnTo>
                    <a:pt x="482" y="159"/>
                  </a:lnTo>
                  <a:lnTo>
                    <a:pt x="485" y="159"/>
                  </a:lnTo>
                  <a:lnTo>
                    <a:pt x="490" y="157"/>
                  </a:lnTo>
                  <a:lnTo>
                    <a:pt x="493" y="156"/>
                  </a:lnTo>
                  <a:lnTo>
                    <a:pt x="497" y="154"/>
                  </a:lnTo>
                  <a:lnTo>
                    <a:pt x="502" y="153"/>
                  </a:lnTo>
                  <a:lnTo>
                    <a:pt x="506" y="151"/>
                  </a:lnTo>
                  <a:lnTo>
                    <a:pt x="510" y="148"/>
                  </a:lnTo>
                  <a:lnTo>
                    <a:pt x="514" y="145"/>
                  </a:lnTo>
                  <a:lnTo>
                    <a:pt x="518" y="142"/>
                  </a:lnTo>
                  <a:lnTo>
                    <a:pt x="523" y="139"/>
                  </a:lnTo>
                  <a:lnTo>
                    <a:pt x="527" y="138"/>
                  </a:lnTo>
                  <a:lnTo>
                    <a:pt x="532" y="135"/>
                  </a:lnTo>
                  <a:lnTo>
                    <a:pt x="535" y="132"/>
                  </a:lnTo>
                  <a:lnTo>
                    <a:pt x="538" y="130"/>
                  </a:lnTo>
                  <a:lnTo>
                    <a:pt x="540" y="130"/>
                  </a:lnTo>
                  <a:lnTo>
                    <a:pt x="542" y="128"/>
                  </a:lnTo>
                  <a:lnTo>
                    <a:pt x="543" y="127"/>
                  </a:lnTo>
                  <a:lnTo>
                    <a:pt x="543" y="127"/>
                  </a:lnTo>
                  <a:lnTo>
                    <a:pt x="543" y="127"/>
                  </a:lnTo>
                  <a:lnTo>
                    <a:pt x="543" y="126"/>
                  </a:lnTo>
                  <a:lnTo>
                    <a:pt x="543" y="126"/>
                  </a:lnTo>
                  <a:lnTo>
                    <a:pt x="543" y="126"/>
                  </a:lnTo>
                  <a:lnTo>
                    <a:pt x="542" y="126"/>
                  </a:lnTo>
                  <a:lnTo>
                    <a:pt x="540" y="126"/>
                  </a:lnTo>
                  <a:lnTo>
                    <a:pt x="536" y="126"/>
                  </a:lnTo>
                  <a:lnTo>
                    <a:pt x="529" y="128"/>
                  </a:lnTo>
                  <a:lnTo>
                    <a:pt x="523" y="128"/>
                  </a:lnTo>
                  <a:lnTo>
                    <a:pt x="517" y="128"/>
                  </a:lnTo>
                  <a:lnTo>
                    <a:pt x="512" y="128"/>
                  </a:lnTo>
                  <a:lnTo>
                    <a:pt x="510" y="126"/>
                  </a:lnTo>
                  <a:lnTo>
                    <a:pt x="507" y="124"/>
                  </a:lnTo>
                  <a:lnTo>
                    <a:pt x="506" y="123"/>
                  </a:lnTo>
                  <a:lnTo>
                    <a:pt x="505" y="121"/>
                  </a:lnTo>
                  <a:lnTo>
                    <a:pt x="505" y="121"/>
                  </a:lnTo>
                  <a:lnTo>
                    <a:pt x="448" y="121"/>
                  </a:lnTo>
                  <a:lnTo>
                    <a:pt x="448" y="109"/>
                  </a:lnTo>
                  <a:lnTo>
                    <a:pt x="448" y="109"/>
                  </a:lnTo>
                  <a:lnTo>
                    <a:pt x="447" y="109"/>
                  </a:lnTo>
                  <a:lnTo>
                    <a:pt x="446" y="109"/>
                  </a:lnTo>
                  <a:lnTo>
                    <a:pt x="444" y="109"/>
                  </a:lnTo>
                  <a:lnTo>
                    <a:pt x="443" y="109"/>
                  </a:lnTo>
                  <a:lnTo>
                    <a:pt x="441" y="109"/>
                  </a:lnTo>
                  <a:lnTo>
                    <a:pt x="440" y="109"/>
                  </a:lnTo>
                  <a:lnTo>
                    <a:pt x="438" y="109"/>
                  </a:lnTo>
                  <a:lnTo>
                    <a:pt x="431" y="117"/>
                  </a:lnTo>
                  <a:lnTo>
                    <a:pt x="424" y="123"/>
                  </a:lnTo>
                  <a:lnTo>
                    <a:pt x="418" y="126"/>
                  </a:lnTo>
                  <a:lnTo>
                    <a:pt x="413" y="128"/>
                  </a:lnTo>
                  <a:lnTo>
                    <a:pt x="407" y="130"/>
                  </a:lnTo>
                  <a:lnTo>
                    <a:pt x="402" y="130"/>
                  </a:lnTo>
                  <a:lnTo>
                    <a:pt x="398" y="128"/>
                  </a:lnTo>
                  <a:lnTo>
                    <a:pt x="394" y="128"/>
                  </a:lnTo>
                  <a:lnTo>
                    <a:pt x="391" y="126"/>
                  </a:lnTo>
                  <a:lnTo>
                    <a:pt x="388" y="124"/>
                  </a:lnTo>
                  <a:lnTo>
                    <a:pt x="385" y="121"/>
                  </a:lnTo>
                  <a:lnTo>
                    <a:pt x="383" y="120"/>
                  </a:lnTo>
                  <a:lnTo>
                    <a:pt x="383" y="118"/>
                  </a:lnTo>
                  <a:lnTo>
                    <a:pt x="381" y="117"/>
                  </a:lnTo>
                  <a:lnTo>
                    <a:pt x="381" y="115"/>
                  </a:lnTo>
                  <a:lnTo>
                    <a:pt x="381" y="114"/>
                  </a:lnTo>
                  <a:lnTo>
                    <a:pt x="380" y="114"/>
                  </a:lnTo>
                  <a:lnTo>
                    <a:pt x="378" y="114"/>
                  </a:lnTo>
                  <a:lnTo>
                    <a:pt x="375" y="114"/>
                  </a:lnTo>
                  <a:lnTo>
                    <a:pt x="372" y="114"/>
                  </a:lnTo>
                  <a:lnTo>
                    <a:pt x="369" y="112"/>
                  </a:lnTo>
                  <a:lnTo>
                    <a:pt x="368" y="111"/>
                  </a:lnTo>
                  <a:lnTo>
                    <a:pt x="367" y="109"/>
                  </a:lnTo>
                  <a:lnTo>
                    <a:pt x="365" y="106"/>
                  </a:lnTo>
                  <a:lnTo>
                    <a:pt x="365" y="105"/>
                  </a:lnTo>
                  <a:lnTo>
                    <a:pt x="364" y="103"/>
                  </a:lnTo>
                  <a:lnTo>
                    <a:pt x="362" y="100"/>
                  </a:lnTo>
                  <a:lnTo>
                    <a:pt x="361" y="97"/>
                  </a:lnTo>
                  <a:lnTo>
                    <a:pt x="358" y="97"/>
                  </a:lnTo>
                  <a:lnTo>
                    <a:pt x="355" y="97"/>
                  </a:lnTo>
                  <a:lnTo>
                    <a:pt x="351" y="99"/>
                  </a:lnTo>
                  <a:lnTo>
                    <a:pt x="348" y="102"/>
                  </a:lnTo>
                  <a:lnTo>
                    <a:pt x="342" y="111"/>
                  </a:lnTo>
                  <a:lnTo>
                    <a:pt x="338" y="114"/>
                  </a:lnTo>
                  <a:lnTo>
                    <a:pt x="335" y="112"/>
                  </a:lnTo>
                  <a:lnTo>
                    <a:pt x="335" y="109"/>
                  </a:lnTo>
                  <a:lnTo>
                    <a:pt x="333" y="105"/>
                  </a:lnTo>
                  <a:lnTo>
                    <a:pt x="332" y="100"/>
                  </a:lnTo>
                  <a:lnTo>
                    <a:pt x="332" y="97"/>
                  </a:lnTo>
                  <a:lnTo>
                    <a:pt x="329" y="94"/>
                  </a:lnTo>
                  <a:lnTo>
                    <a:pt x="322" y="91"/>
                  </a:lnTo>
                  <a:lnTo>
                    <a:pt x="319" y="88"/>
                  </a:lnTo>
                  <a:lnTo>
                    <a:pt x="318" y="87"/>
                  </a:lnTo>
                  <a:lnTo>
                    <a:pt x="318" y="85"/>
                  </a:lnTo>
                  <a:lnTo>
                    <a:pt x="318" y="84"/>
                  </a:lnTo>
                  <a:lnTo>
                    <a:pt x="319" y="84"/>
                  </a:lnTo>
                  <a:lnTo>
                    <a:pt x="320" y="82"/>
                  </a:lnTo>
                  <a:lnTo>
                    <a:pt x="320" y="82"/>
                  </a:lnTo>
                  <a:lnTo>
                    <a:pt x="320" y="82"/>
                  </a:lnTo>
                  <a:lnTo>
                    <a:pt x="320" y="82"/>
                  </a:lnTo>
                  <a:lnTo>
                    <a:pt x="320" y="82"/>
                  </a:lnTo>
                  <a:lnTo>
                    <a:pt x="319" y="82"/>
                  </a:lnTo>
                  <a:lnTo>
                    <a:pt x="317" y="81"/>
                  </a:lnTo>
                  <a:lnTo>
                    <a:pt x="314" y="81"/>
                  </a:lnTo>
                  <a:lnTo>
                    <a:pt x="308" y="81"/>
                  </a:lnTo>
                  <a:lnTo>
                    <a:pt x="300" y="79"/>
                  </a:lnTo>
                  <a:lnTo>
                    <a:pt x="293" y="78"/>
                  </a:lnTo>
                  <a:lnTo>
                    <a:pt x="287" y="76"/>
                  </a:lnTo>
                  <a:lnTo>
                    <a:pt x="281" y="75"/>
                  </a:lnTo>
                  <a:lnTo>
                    <a:pt x="276" y="73"/>
                  </a:lnTo>
                  <a:lnTo>
                    <a:pt x="272" y="73"/>
                  </a:lnTo>
                  <a:lnTo>
                    <a:pt x="269" y="73"/>
                  </a:lnTo>
                  <a:lnTo>
                    <a:pt x="266" y="75"/>
                  </a:lnTo>
                  <a:lnTo>
                    <a:pt x="263" y="76"/>
                  </a:lnTo>
                  <a:lnTo>
                    <a:pt x="259" y="82"/>
                  </a:lnTo>
                  <a:lnTo>
                    <a:pt x="255" y="85"/>
                  </a:lnTo>
                  <a:lnTo>
                    <a:pt x="251" y="88"/>
                  </a:lnTo>
                  <a:lnTo>
                    <a:pt x="245" y="88"/>
                  </a:lnTo>
                  <a:lnTo>
                    <a:pt x="242" y="88"/>
                  </a:lnTo>
                  <a:lnTo>
                    <a:pt x="239" y="88"/>
                  </a:lnTo>
                  <a:lnTo>
                    <a:pt x="236" y="88"/>
                  </a:lnTo>
                  <a:lnTo>
                    <a:pt x="234" y="88"/>
                  </a:lnTo>
                  <a:lnTo>
                    <a:pt x="233" y="76"/>
                  </a:lnTo>
                  <a:lnTo>
                    <a:pt x="204" y="76"/>
                  </a:lnTo>
                  <a:lnTo>
                    <a:pt x="203" y="69"/>
                  </a:lnTo>
                  <a:lnTo>
                    <a:pt x="193" y="70"/>
                  </a:lnTo>
                  <a:lnTo>
                    <a:pt x="188" y="70"/>
                  </a:lnTo>
                  <a:lnTo>
                    <a:pt x="182" y="69"/>
                  </a:lnTo>
                  <a:lnTo>
                    <a:pt x="179" y="66"/>
                  </a:lnTo>
                  <a:lnTo>
                    <a:pt x="176" y="64"/>
                  </a:lnTo>
                  <a:lnTo>
                    <a:pt x="174" y="61"/>
                  </a:lnTo>
                  <a:lnTo>
                    <a:pt x="173" y="60"/>
                  </a:lnTo>
                  <a:lnTo>
                    <a:pt x="173" y="58"/>
                  </a:lnTo>
                  <a:lnTo>
                    <a:pt x="173" y="21"/>
                  </a:lnTo>
                  <a:lnTo>
                    <a:pt x="153" y="0"/>
                  </a:lnTo>
                  <a:lnTo>
                    <a:pt x="141" y="0"/>
                  </a:lnTo>
                  <a:lnTo>
                    <a:pt x="143" y="31"/>
                  </a:lnTo>
                  <a:lnTo>
                    <a:pt x="134" y="37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5" y="70"/>
                  </a:lnTo>
                  <a:lnTo>
                    <a:pt x="5" y="72"/>
                  </a:lnTo>
                  <a:lnTo>
                    <a:pt x="5" y="73"/>
                  </a:lnTo>
                  <a:lnTo>
                    <a:pt x="5" y="78"/>
                  </a:lnTo>
                  <a:lnTo>
                    <a:pt x="3" y="84"/>
                  </a:lnTo>
                  <a:lnTo>
                    <a:pt x="3" y="90"/>
                  </a:lnTo>
                  <a:lnTo>
                    <a:pt x="3" y="96"/>
                  </a:lnTo>
                  <a:lnTo>
                    <a:pt x="3" y="103"/>
                  </a:lnTo>
                  <a:lnTo>
                    <a:pt x="3" y="111"/>
                  </a:lnTo>
                  <a:lnTo>
                    <a:pt x="3" y="120"/>
                  </a:lnTo>
                  <a:lnTo>
                    <a:pt x="5" y="128"/>
                  </a:lnTo>
                  <a:lnTo>
                    <a:pt x="5" y="135"/>
                  </a:lnTo>
                  <a:lnTo>
                    <a:pt x="6" y="142"/>
                  </a:lnTo>
                  <a:lnTo>
                    <a:pt x="8" y="150"/>
                  </a:lnTo>
                  <a:lnTo>
                    <a:pt x="11" y="157"/>
                  </a:lnTo>
                  <a:lnTo>
                    <a:pt x="14" y="162"/>
                  </a:lnTo>
                  <a:lnTo>
                    <a:pt x="18" y="166"/>
                  </a:lnTo>
                  <a:lnTo>
                    <a:pt x="18" y="168"/>
                  </a:lnTo>
                  <a:lnTo>
                    <a:pt x="18" y="171"/>
                  </a:lnTo>
                  <a:lnTo>
                    <a:pt x="20" y="175"/>
                  </a:lnTo>
                  <a:lnTo>
                    <a:pt x="21" y="183"/>
                  </a:lnTo>
                  <a:lnTo>
                    <a:pt x="23" y="190"/>
                  </a:lnTo>
                  <a:lnTo>
                    <a:pt x="24" y="198"/>
                  </a:lnTo>
                  <a:lnTo>
                    <a:pt x="24" y="207"/>
                  </a:lnTo>
                  <a:lnTo>
                    <a:pt x="25" y="216"/>
                  </a:lnTo>
                  <a:lnTo>
                    <a:pt x="25" y="219"/>
                  </a:lnTo>
                  <a:lnTo>
                    <a:pt x="25" y="223"/>
                  </a:lnTo>
                  <a:lnTo>
                    <a:pt x="25" y="228"/>
                  </a:lnTo>
                  <a:lnTo>
                    <a:pt x="25" y="234"/>
                  </a:lnTo>
                  <a:lnTo>
                    <a:pt x="25" y="240"/>
                  </a:lnTo>
                  <a:lnTo>
                    <a:pt x="25" y="244"/>
                  </a:lnTo>
                  <a:lnTo>
                    <a:pt x="25" y="249"/>
                  </a:lnTo>
                  <a:lnTo>
                    <a:pt x="25" y="250"/>
                  </a:lnTo>
                  <a:lnTo>
                    <a:pt x="32" y="261"/>
                  </a:lnTo>
                  <a:lnTo>
                    <a:pt x="30" y="280"/>
                  </a:lnTo>
                  <a:lnTo>
                    <a:pt x="32" y="306"/>
                  </a:lnTo>
                  <a:lnTo>
                    <a:pt x="41" y="317"/>
                  </a:lnTo>
                  <a:lnTo>
                    <a:pt x="45" y="328"/>
                  </a:lnTo>
                  <a:lnTo>
                    <a:pt x="44" y="360"/>
                  </a:lnTo>
                  <a:lnTo>
                    <a:pt x="44" y="369"/>
                  </a:lnTo>
                  <a:lnTo>
                    <a:pt x="31" y="385"/>
                  </a:lnTo>
                  <a:lnTo>
                    <a:pt x="30" y="386"/>
                  </a:lnTo>
                  <a:lnTo>
                    <a:pt x="28" y="388"/>
                  </a:lnTo>
                  <a:lnTo>
                    <a:pt x="27" y="390"/>
                  </a:lnTo>
                  <a:lnTo>
                    <a:pt x="25" y="393"/>
                  </a:lnTo>
                  <a:lnTo>
                    <a:pt x="24" y="396"/>
                  </a:lnTo>
                  <a:lnTo>
                    <a:pt x="24" y="400"/>
                  </a:lnTo>
                  <a:lnTo>
                    <a:pt x="25" y="403"/>
                  </a:lnTo>
                  <a:lnTo>
                    <a:pt x="28" y="406"/>
                  </a:lnTo>
                  <a:lnTo>
                    <a:pt x="30" y="406"/>
                  </a:lnTo>
                  <a:lnTo>
                    <a:pt x="32" y="409"/>
                  </a:lnTo>
                  <a:lnTo>
                    <a:pt x="36" y="412"/>
                  </a:lnTo>
                  <a:lnTo>
                    <a:pt x="41" y="415"/>
                  </a:lnTo>
                  <a:lnTo>
                    <a:pt x="45" y="419"/>
                  </a:lnTo>
                  <a:lnTo>
                    <a:pt x="50" y="422"/>
                  </a:lnTo>
                  <a:lnTo>
                    <a:pt x="51" y="423"/>
                  </a:lnTo>
                  <a:lnTo>
                    <a:pt x="53" y="424"/>
                  </a:lnTo>
                  <a:lnTo>
                    <a:pt x="53" y="426"/>
                  </a:lnTo>
                  <a:lnTo>
                    <a:pt x="53" y="432"/>
                  </a:lnTo>
                  <a:lnTo>
                    <a:pt x="53" y="442"/>
                  </a:lnTo>
                  <a:lnTo>
                    <a:pt x="53" y="455"/>
                  </a:lnTo>
                  <a:lnTo>
                    <a:pt x="53" y="469"/>
                  </a:lnTo>
                  <a:lnTo>
                    <a:pt x="53" y="487"/>
                  </a:lnTo>
                  <a:lnTo>
                    <a:pt x="53" y="504"/>
                  </a:lnTo>
                  <a:lnTo>
                    <a:pt x="53" y="522"/>
                  </a:lnTo>
                  <a:lnTo>
                    <a:pt x="53" y="539"/>
                  </a:lnTo>
                  <a:lnTo>
                    <a:pt x="51" y="558"/>
                  </a:lnTo>
                  <a:lnTo>
                    <a:pt x="51" y="574"/>
                  </a:lnTo>
                  <a:lnTo>
                    <a:pt x="51" y="588"/>
                  </a:lnTo>
                  <a:lnTo>
                    <a:pt x="51" y="601"/>
                  </a:lnTo>
                  <a:lnTo>
                    <a:pt x="51" y="610"/>
                  </a:lnTo>
                  <a:lnTo>
                    <a:pt x="53" y="616"/>
                  </a:lnTo>
                  <a:lnTo>
                    <a:pt x="53" y="619"/>
                  </a:lnTo>
                  <a:lnTo>
                    <a:pt x="53" y="617"/>
                  </a:lnTo>
                  <a:lnTo>
                    <a:pt x="56" y="617"/>
                  </a:lnTo>
                  <a:lnTo>
                    <a:pt x="61" y="617"/>
                  </a:lnTo>
                  <a:lnTo>
                    <a:pt x="66" y="617"/>
                  </a:lnTo>
                  <a:lnTo>
                    <a:pt x="75" y="617"/>
                  </a:lnTo>
                  <a:lnTo>
                    <a:pt x="84" y="617"/>
                  </a:lnTo>
                  <a:lnTo>
                    <a:pt x="95" y="617"/>
                  </a:lnTo>
                  <a:lnTo>
                    <a:pt x="107" y="617"/>
                  </a:lnTo>
                  <a:lnTo>
                    <a:pt x="122" y="617"/>
                  </a:lnTo>
                  <a:lnTo>
                    <a:pt x="134" y="617"/>
                  </a:lnTo>
                  <a:lnTo>
                    <a:pt x="150" y="617"/>
                  </a:lnTo>
                  <a:lnTo>
                    <a:pt x="165" y="617"/>
                  </a:lnTo>
                  <a:lnTo>
                    <a:pt x="182" y="617"/>
                  </a:lnTo>
                  <a:lnTo>
                    <a:pt x="198" y="616"/>
                  </a:lnTo>
                  <a:lnTo>
                    <a:pt x="215" y="616"/>
                  </a:lnTo>
                  <a:lnTo>
                    <a:pt x="231" y="616"/>
                  </a:lnTo>
                  <a:lnTo>
                    <a:pt x="251" y="616"/>
                  </a:lnTo>
                  <a:lnTo>
                    <a:pt x="267" y="616"/>
                  </a:lnTo>
                  <a:lnTo>
                    <a:pt x="285" y="616"/>
                  </a:lnTo>
                  <a:lnTo>
                    <a:pt x="302" y="614"/>
                  </a:lnTo>
                  <a:lnTo>
                    <a:pt x="318" y="614"/>
                  </a:lnTo>
                  <a:lnTo>
                    <a:pt x="335" y="614"/>
                  </a:lnTo>
                  <a:lnTo>
                    <a:pt x="351" y="614"/>
                  </a:lnTo>
                  <a:lnTo>
                    <a:pt x="365" y="613"/>
                  </a:lnTo>
                  <a:lnTo>
                    <a:pt x="380" y="613"/>
                  </a:lnTo>
                  <a:lnTo>
                    <a:pt x="394" y="613"/>
                  </a:lnTo>
                  <a:lnTo>
                    <a:pt x="405" y="611"/>
                  </a:lnTo>
                  <a:lnTo>
                    <a:pt x="416" y="611"/>
                  </a:lnTo>
                  <a:lnTo>
                    <a:pt x="425" y="610"/>
                  </a:lnTo>
                  <a:lnTo>
                    <a:pt x="434" y="610"/>
                  </a:lnTo>
                  <a:lnTo>
                    <a:pt x="441" y="608"/>
                  </a:lnTo>
                  <a:lnTo>
                    <a:pt x="446" y="60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" name="Freeform 38"/>
            <p:cNvSpPr>
              <a:spLocks/>
            </p:cNvSpPr>
            <p:nvPr/>
          </p:nvSpPr>
          <p:spPr bwMode="auto">
            <a:xfrm>
              <a:off x="2178776" y="4051798"/>
              <a:ext cx="365305" cy="416043"/>
            </a:xfrm>
            <a:custGeom>
              <a:avLst/>
              <a:gdLst>
                <a:gd name="T0" fmla="*/ 443 w 544"/>
                <a:gd name="T1" fmla="*/ 584 h 620"/>
                <a:gd name="T2" fmla="*/ 422 w 544"/>
                <a:gd name="T3" fmla="*/ 558 h 620"/>
                <a:gd name="T4" fmla="*/ 386 w 544"/>
                <a:gd name="T5" fmla="*/ 521 h 620"/>
                <a:gd name="T6" fmla="*/ 359 w 544"/>
                <a:gd name="T7" fmla="*/ 501 h 620"/>
                <a:gd name="T8" fmla="*/ 350 w 544"/>
                <a:gd name="T9" fmla="*/ 501 h 620"/>
                <a:gd name="T10" fmla="*/ 328 w 544"/>
                <a:gd name="T11" fmla="*/ 488 h 620"/>
                <a:gd name="T12" fmla="*/ 328 w 544"/>
                <a:gd name="T13" fmla="*/ 465 h 620"/>
                <a:gd name="T14" fmla="*/ 320 w 544"/>
                <a:gd name="T15" fmla="*/ 446 h 620"/>
                <a:gd name="T16" fmla="*/ 325 w 544"/>
                <a:gd name="T17" fmla="*/ 416 h 620"/>
                <a:gd name="T18" fmla="*/ 311 w 544"/>
                <a:gd name="T19" fmla="*/ 378 h 620"/>
                <a:gd name="T20" fmla="*/ 315 w 544"/>
                <a:gd name="T21" fmla="*/ 376 h 620"/>
                <a:gd name="T22" fmla="*/ 325 w 544"/>
                <a:gd name="T23" fmla="*/ 360 h 620"/>
                <a:gd name="T24" fmla="*/ 353 w 544"/>
                <a:gd name="T25" fmla="*/ 340 h 620"/>
                <a:gd name="T26" fmla="*/ 351 w 544"/>
                <a:gd name="T27" fmla="*/ 279 h 620"/>
                <a:gd name="T28" fmla="*/ 368 w 544"/>
                <a:gd name="T29" fmla="*/ 264 h 620"/>
                <a:gd name="T30" fmla="*/ 398 w 544"/>
                <a:gd name="T31" fmla="*/ 235 h 620"/>
                <a:gd name="T32" fmla="*/ 428 w 544"/>
                <a:gd name="T33" fmla="*/ 205 h 620"/>
                <a:gd name="T34" fmla="*/ 440 w 544"/>
                <a:gd name="T35" fmla="*/ 189 h 620"/>
                <a:gd name="T36" fmla="*/ 458 w 544"/>
                <a:gd name="T37" fmla="*/ 171 h 620"/>
                <a:gd name="T38" fmla="*/ 482 w 544"/>
                <a:gd name="T39" fmla="*/ 159 h 620"/>
                <a:gd name="T40" fmla="*/ 502 w 544"/>
                <a:gd name="T41" fmla="*/ 153 h 620"/>
                <a:gd name="T42" fmla="*/ 527 w 544"/>
                <a:gd name="T43" fmla="*/ 138 h 620"/>
                <a:gd name="T44" fmla="*/ 543 w 544"/>
                <a:gd name="T45" fmla="*/ 127 h 620"/>
                <a:gd name="T46" fmla="*/ 543 w 544"/>
                <a:gd name="T47" fmla="*/ 126 h 620"/>
                <a:gd name="T48" fmla="*/ 523 w 544"/>
                <a:gd name="T49" fmla="*/ 128 h 620"/>
                <a:gd name="T50" fmla="*/ 505 w 544"/>
                <a:gd name="T51" fmla="*/ 121 h 620"/>
                <a:gd name="T52" fmla="*/ 447 w 544"/>
                <a:gd name="T53" fmla="*/ 109 h 620"/>
                <a:gd name="T54" fmla="*/ 438 w 544"/>
                <a:gd name="T55" fmla="*/ 109 h 620"/>
                <a:gd name="T56" fmla="*/ 407 w 544"/>
                <a:gd name="T57" fmla="*/ 130 h 620"/>
                <a:gd name="T58" fmla="*/ 385 w 544"/>
                <a:gd name="T59" fmla="*/ 121 h 620"/>
                <a:gd name="T60" fmla="*/ 381 w 544"/>
                <a:gd name="T61" fmla="*/ 114 h 620"/>
                <a:gd name="T62" fmla="*/ 368 w 544"/>
                <a:gd name="T63" fmla="*/ 111 h 620"/>
                <a:gd name="T64" fmla="*/ 362 w 544"/>
                <a:gd name="T65" fmla="*/ 100 h 620"/>
                <a:gd name="T66" fmla="*/ 348 w 544"/>
                <a:gd name="T67" fmla="*/ 102 h 620"/>
                <a:gd name="T68" fmla="*/ 332 w 544"/>
                <a:gd name="T69" fmla="*/ 100 h 620"/>
                <a:gd name="T70" fmla="*/ 318 w 544"/>
                <a:gd name="T71" fmla="*/ 87 h 620"/>
                <a:gd name="T72" fmla="*/ 320 w 544"/>
                <a:gd name="T73" fmla="*/ 82 h 620"/>
                <a:gd name="T74" fmla="*/ 314 w 544"/>
                <a:gd name="T75" fmla="*/ 81 h 620"/>
                <a:gd name="T76" fmla="*/ 281 w 544"/>
                <a:gd name="T77" fmla="*/ 75 h 620"/>
                <a:gd name="T78" fmla="*/ 263 w 544"/>
                <a:gd name="T79" fmla="*/ 76 h 620"/>
                <a:gd name="T80" fmla="*/ 239 w 544"/>
                <a:gd name="T81" fmla="*/ 88 h 620"/>
                <a:gd name="T82" fmla="*/ 203 w 544"/>
                <a:gd name="T83" fmla="*/ 69 h 620"/>
                <a:gd name="T84" fmla="*/ 174 w 544"/>
                <a:gd name="T85" fmla="*/ 61 h 620"/>
                <a:gd name="T86" fmla="*/ 143 w 544"/>
                <a:gd name="T87" fmla="*/ 31 h 620"/>
                <a:gd name="T88" fmla="*/ 5 w 544"/>
                <a:gd name="T89" fmla="*/ 72 h 620"/>
                <a:gd name="T90" fmla="*/ 3 w 544"/>
                <a:gd name="T91" fmla="*/ 103 h 620"/>
                <a:gd name="T92" fmla="*/ 8 w 544"/>
                <a:gd name="T93" fmla="*/ 150 h 620"/>
                <a:gd name="T94" fmla="*/ 18 w 544"/>
                <a:gd name="T95" fmla="*/ 171 h 620"/>
                <a:gd name="T96" fmla="*/ 25 w 544"/>
                <a:gd name="T97" fmla="*/ 216 h 620"/>
                <a:gd name="T98" fmla="*/ 25 w 544"/>
                <a:gd name="T99" fmla="*/ 240 h 620"/>
                <a:gd name="T100" fmla="*/ 32 w 544"/>
                <a:gd name="T101" fmla="*/ 306 h 620"/>
                <a:gd name="T102" fmla="*/ 31 w 544"/>
                <a:gd name="T103" fmla="*/ 385 h 620"/>
                <a:gd name="T104" fmla="*/ 24 w 544"/>
                <a:gd name="T105" fmla="*/ 400 h 620"/>
                <a:gd name="T106" fmla="*/ 36 w 544"/>
                <a:gd name="T107" fmla="*/ 412 h 620"/>
                <a:gd name="T108" fmla="*/ 53 w 544"/>
                <a:gd name="T109" fmla="*/ 424 h 620"/>
                <a:gd name="T110" fmla="*/ 53 w 544"/>
                <a:gd name="T111" fmla="*/ 487 h 620"/>
                <a:gd name="T112" fmla="*/ 51 w 544"/>
                <a:gd name="T113" fmla="*/ 588 h 620"/>
                <a:gd name="T114" fmla="*/ 53 w 544"/>
                <a:gd name="T115" fmla="*/ 617 h 620"/>
                <a:gd name="T116" fmla="*/ 95 w 544"/>
                <a:gd name="T117" fmla="*/ 617 h 620"/>
                <a:gd name="T118" fmla="*/ 182 w 544"/>
                <a:gd name="T119" fmla="*/ 617 h 620"/>
                <a:gd name="T120" fmla="*/ 285 w 544"/>
                <a:gd name="T121" fmla="*/ 616 h 620"/>
                <a:gd name="T122" fmla="*/ 380 w 544"/>
                <a:gd name="T123" fmla="*/ 613 h 620"/>
                <a:gd name="T124" fmla="*/ 441 w 544"/>
                <a:gd name="T125" fmla="*/ 608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4" h="620">
                  <a:moveTo>
                    <a:pt x="446" y="607"/>
                  </a:moveTo>
                  <a:lnTo>
                    <a:pt x="446" y="607"/>
                  </a:lnTo>
                  <a:lnTo>
                    <a:pt x="447" y="605"/>
                  </a:lnTo>
                  <a:lnTo>
                    <a:pt x="447" y="599"/>
                  </a:lnTo>
                  <a:lnTo>
                    <a:pt x="444" y="592"/>
                  </a:lnTo>
                  <a:lnTo>
                    <a:pt x="443" y="584"/>
                  </a:lnTo>
                  <a:lnTo>
                    <a:pt x="440" y="577"/>
                  </a:lnTo>
                  <a:lnTo>
                    <a:pt x="438" y="569"/>
                  </a:lnTo>
                  <a:lnTo>
                    <a:pt x="436" y="564"/>
                  </a:lnTo>
                  <a:lnTo>
                    <a:pt x="434" y="562"/>
                  </a:lnTo>
                  <a:lnTo>
                    <a:pt x="434" y="562"/>
                  </a:lnTo>
                  <a:lnTo>
                    <a:pt x="422" y="558"/>
                  </a:lnTo>
                  <a:lnTo>
                    <a:pt x="413" y="553"/>
                  </a:lnTo>
                  <a:lnTo>
                    <a:pt x="405" y="545"/>
                  </a:lnTo>
                  <a:lnTo>
                    <a:pt x="398" y="538"/>
                  </a:lnTo>
                  <a:lnTo>
                    <a:pt x="394" y="531"/>
                  </a:lnTo>
                  <a:lnTo>
                    <a:pt x="389" y="523"/>
                  </a:lnTo>
                  <a:lnTo>
                    <a:pt x="386" y="521"/>
                  </a:lnTo>
                  <a:lnTo>
                    <a:pt x="386" y="518"/>
                  </a:lnTo>
                  <a:lnTo>
                    <a:pt x="361" y="508"/>
                  </a:lnTo>
                  <a:lnTo>
                    <a:pt x="359" y="501"/>
                  </a:lnTo>
                  <a:lnTo>
                    <a:pt x="359" y="501"/>
                  </a:lnTo>
                  <a:lnTo>
                    <a:pt x="359" y="501"/>
                  </a:lnTo>
                  <a:lnTo>
                    <a:pt x="359" y="501"/>
                  </a:lnTo>
                  <a:lnTo>
                    <a:pt x="358" y="501"/>
                  </a:lnTo>
                  <a:lnTo>
                    <a:pt x="358" y="499"/>
                  </a:lnTo>
                  <a:lnTo>
                    <a:pt x="356" y="499"/>
                  </a:lnTo>
                  <a:lnTo>
                    <a:pt x="353" y="499"/>
                  </a:lnTo>
                  <a:lnTo>
                    <a:pt x="352" y="499"/>
                  </a:lnTo>
                  <a:lnTo>
                    <a:pt x="350" y="501"/>
                  </a:lnTo>
                  <a:lnTo>
                    <a:pt x="350" y="501"/>
                  </a:lnTo>
                  <a:lnTo>
                    <a:pt x="347" y="499"/>
                  </a:lnTo>
                  <a:lnTo>
                    <a:pt x="342" y="498"/>
                  </a:lnTo>
                  <a:lnTo>
                    <a:pt x="336" y="496"/>
                  </a:lnTo>
                  <a:lnTo>
                    <a:pt x="332" y="492"/>
                  </a:lnTo>
                  <a:lnTo>
                    <a:pt x="328" y="488"/>
                  </a:lnTo>
                  <a:lnTo>
                    <a:pt x="325" y="485"/>
                  </a:lnTo>
                  <a:lnTo>
                    <a:pt x="323" y="481"/>
                  </a:lnTo>
                  <a:lnTo>
                    <a:pt x="323" y="476"/>
                  </a:lnTo>
                  <a:lnTo>
                    <a:pt x="323" y="476"/>
                  </a:lnTo>
                  <a:lnTo>
                    <a:pt x="326" y="469"/>
                  </a:lnTo>
                  <a:lnTo>
                    <a:pt x="328" y="465"/>
                  </a:lnTo>
                  <a:lnTo>
                    <a:pt x="328" y="460"/>
                  </a:lnTo>
                  <a:lnTo>
                    <a:pt x="328" y="457"/>
                  </a:lnTo>
                  <a:lnTo>
                    <a:pt x="326" y="455"/>
                  </a:lnTo>
                  <a:lnTo>
                    <a:pt x="325" y="452"/>
                  </a:lnTo>
                  <a:lnTo>
                    <a:pt x="323" y="449"/>
                  </a:lnTo>
                  <a:lnTo>
                    <a:pt x="320" y="446"/>
                  </a:lnTo>
                  <a:lnTo>
                    <a:pt x="320" y="446"/>
                  </a:lnTo>
                  <a:lnTo>
                    <a:pt x="320" y="442"/>
                  </a:lnTo>
                  <a:lnTo>
                    <a:pt x="320" y="435"/>
                  </a:lnTo>
                  <a:lnTo>
                    <a:pt x="320" y="429"/>
                  </a:lnTo>
                  <a:lnTo>
                    <a:pt x="323" y="422"/>
                  </a:lnTo>
                  <a:lnTo>
                    <a:pt x="325" y="416"/>
                  </a:lnTo>
                  <a:lnTo>
                    <a:pt x="328" y="410"/>
                  </a:lnTo>
                  <a:lnTo>
                    <a:pt x="328" y="406"/>
                  </a:lnTo>
                  <a:lnTo>
                    <a:pt x="329" y="406"/>
                  </a:lnTo>
                  <a:lnTo>
                    <a:pt x="322" y="394"/>
                  </a:lnTo>
                  <a:lnTo>
                    <a:pt x="311" y="394"/>
                  </a:lnTo>
                  <a:lnTo>
                    <a:pt x="311" y="378"/>
                  </a:lnTo>
                  <a:lnTo>
                    <a:pt x="311" y="378"/>
                  </a:lnTo>
                  <a:lnTo>
                    <a:pt x="312" y="378"/>
                  </a:lnTo>
                  <a:lnTo>
                    <a:pt x="312" y="378"/>
                  </a:lnTo>
                  <a:lnTo>
                    <a:pt x="312" y="378"/>
                  </a:lnTo>
                  <a:lnTo>
                    <a:pt x="314" y="376"/>
                  </a:lnTo>
                  <a:lnTo>
                    <a:pt x="315" y="376"/>
                  </a:lnTo>
                  <a:lnTo>
                    <a:pt x="317" y="373"/>
                  </a:lnTo>
                  <a:lnTo>
                    <a:pt x="317" y="372"/>
                  </a:lnTo>
                  <a:lnTo>
                    <a:pt x="318" y="369"/>
                  </a:lnTo>
                  <a:lnTo>
                    <a:pt x="318" y="369"/>
                  </a:lnTo>
                  <a:lnTo>
                    <a:pt x="319" y="364"/>
                  </a:lnTo>
                  <a:lnTo>
                    <a:pt x="325" y="360"/>
                  </a:lnTo>
                  <a:lnTo>
                    <a:pt x="329" y="356"/>
                  </a:lnTo>
                  <a:lnTo>
                    <a:pt x="336" y="350"/>
                  </a:lnTo>
                  <a:lnTo>
                    <a:pt x="342" y="346"/>
                  </a:lnTo>
                  <a:lnTo>
                    <a:pt x="348" y="343"/>
                  </a:lnTo>
                  <a:lnTo>
                    <a:pt x="351" y="340"/>
                  </a:lnTo>
                  <a:lnTo>
                    <a:pt x="353" y="340"/>
                  </a:lnTo>
                  <a:lnTo>
                    <a:pt x="352" y="280"/>
                  </a:lnTo>
                  <a:lnTo>
                    <a:pt x="352" y="280"/>
                  </a:lnTo>
                  <a:lnTo>
                    <a:pt x="352" y="280"/>
                  </a:lnTo>
                  <a:lnTo>
                    <a:pt x="351" y="280"/>
                  </a:lnTo>
                  <a:lnTo>
                    <a:pt x="351" y="280"/>
                  </a:lnTo>
                  <a:lnTo>
                    <a:pt x="351" y="279"/>
                  </a:lnTo>
                  <a:lnTo>
                    <a:pt x="352" y="277"/>
                  </a:lnTo>
                  <a:lnTo>
                    <a:pt x="353" y="274"/>
                  </a:lnTo>
                  <a:lnTo>
                    <a:pt x="358" y="271"/>
                  </a:lnTo>
                  <a:lnTo>
                    <a:pt x="364" y="267"/>
                  </a:lnTo>
                  <a:lnTo>
                    <a:pt x="364" y="267"/>
                  </a:lnTo>
                  <a:lnTo>
                    <a:pt x="368" y="264"/>
                  </a:lnTo>
                  <a:lnTo>
                    <a:pt x="372" y="260"/>
                  </a:lnTo>
                  <a:lnTo>
                    <a:pt x="377" y="256"/>
                  </a:lnTo>
                  <a:lnTo>
                    <a:pt x="381" y="252"/>
                  </a:lnTo>
                  <a:lnTo>
                    <a:pt x="386" y="247"/>
                  </a:lnTo>
                  <a:lnTo>
                    <a:pt x="392" y="241"/>
                  </a:lnTo>
                  <a:lnTo>
                    <a:pt x="398" y="235"/>
                  </a:lnTo>
                  <a:lnTo>
                    <a:pt x="404" y="231"/>
                  </a:lnTo>
                  <a:lnTo>
                    <a:pt x="410" y="226"/>
                  </a:lnTo>
                  <a:lnTo>
                    <a:pt x="415" y="220"/>
                  </a:lnTo>
                  <a:lnTo>
                    <a:pt x="419" y="216"/>
                  </a:lnTo>
                  <a:lnTo>
                    <a:pt x="425" y="210"/>
                  </a:lnTo>
                  <a:lnTo>
                    <a:pt x="428" y="205"/>
                  </a:lnTo>
                  <a:lnTo>
                    <a:pt x="433" y="201"/>
                  </a:lnTo>
                  <a:lnTo>
                    <a:pt x="436" y="198"/>
                  </a:lnTo>
                  <a:lnTo>
                    <a:pt x="437" y="195"/>
                  </a:lnTo>
                  <a:lnTo>
                    <a:pt x="437" y="195"/>
                  </a:lnTo>
                  <a:lnTo>
                    <a:pt x="438" y="193"/>
                  </a:lnTo>
                  <a:lnTo>
                    <a:pt x="440" y="189"/>
                  </a:lnTo>
                  <a:lnTo>
                    <a:pt x="443" y="186"/>
                  </a:lnTo>
                  <a:lnTo>
                    <a:pt x="444" y="183"/>
                  </a:lnTo>
                  <a:lnTo>
                    <a:pt x="447" y="180"/>
                  </a:lnTo>
                  <a:lnTo>
                    <a:pt x="451" y="177"/>
                  </a:lnTo>
                  <a:lnTo>
                    <a:pt x="454" y="174"/>
                  </a:lnTo>
                  <a:lnTo>
                    <a:pt x="458" y="171"/>
                  </a:lnTo>
                  <a:lnTo>
                    <a:pt x="463" y="168"/>
                  </a:lnTo>
                  <a:lnTo>
                    <a:pt x="466" y="166"/>
                  </a:lnTo>
                  <a:lnTo>
                    <a:pt x="470" y="163"/>
                  </a:lnTo>
                  <a:lnTo>
                    <a:pt x="474" y="162"/>
                  </a:lnTo>
                  <a:lnTo>
                    <a:pt x="479" y="160"/>
                  </a:lnTo>
                  <a:lnTo>
                    <a:pt x="482" y="159"/>
                  </a:lnTo>
                  <a:lnTo>
                    <a:pt x="485" y="159"/>
                  </a:lnTo>
                  <a:lnTo>
                    <a:pt x="490" y="157"/>
                  </a:lnTo>
                  <a:lnTo>
                    <a:pt x="490" y="157"/>
                  </a:lnTo>
                  <a:lnTo>
                    <a:pt x="493" y="156"/>
                  </a:lnTo>
                  <a:lnTo>
                    <a:pt x="497" y="154"/>
                  </a:lnTo>
                  <a:lnTo>
                    <a:pt x="502" y="153"/>
                  </a:lnTo>
                  <a:lnTo>
                    <a:pt x="506" y="151"/>
                  </a:lnTo>
                  <a:lnTo>
                    <a:pt x="510" y="148"/>
                  </a:lnTo>
                  <a:lnTo>
                    <a:pt x="514" y="145"/>
                  </a:lnTo>
                  <a:lnTo>
                    <a:pt x="518" y="142"/>
                  </a:lnTo>
                  <a:lnTo>
                    <a:pt x="523" y="139"/>
                  </a:lnTo>
                  <a:lnTo>
                    <a:pt x="527" y="138"/>
                  </a:lnTo>
                  <a:lnTo>
                    <a:pt x="532" y="135"/>
                  </a:lnTo>
                  <a:lnTo>
                    <a:pt x="535" y="132"/>
                  </a:lnTo>
                  <a:lnTo>
                    <a:pt x="538" y="130"/>
                  </a:lnTo>
                  <a:lnTo>
                    <a:pt x="540" y="130"/>
                  </a:lnTo>
                  <a:lnTo>
                    <a:pt x="542" y="128"/>
                  </a:lnTo>
                  <a:lnTo>
                    <a:pt x="543" y="127"/>
                  </a:lnTo>
                  <a:lnTo>
                    <a:pt x="543" y="127"/>
                  </a:lnTo>
                  <a:lnTo>
                    <a:pt x="543" y="127"/>
                  </a:lnTo>
                  <a:lnTo>
                    <a:pt x="543" y="127"/>
                  </a:lnTo>
                  <a:lnTo>
                    <a:pt x="543" y="126"/>
                  </a:lnTo>
                  <a:lnTo>
                    <a:pt x="543" y="126"/>
                  </a:lnTo>
                  <a:lnTo>
                    <a:pt x="543" y="126"/>
                  </a:lnTo>
                  <a:lnTo>
                    <a:pt x="542" y="126"/>
                  </a:lnTo>
                  <a:lnTo>
                    <a:pt x="540" y="126"/>
                  </a:lnTo>
                  <a:lnTo>
                    <a:pt x="536" y="126"/>
                  </a:lnTo>
                  <a:lnTo>
                    <a:pt x="529" y="128"/>
                  </a:lnTo>
                  <a:lnTo>
                    <a:pt x="529" y="128"/>
                  </a:lnTo>
                  <a:lnTo>
                    <a:pt x="523" y="128"/>
                  </a:lnTo>
                  <a:lnTo>
                    <a:pt x="517" y="128"/>
                  </a:lnTo>
                  <a:lnTo>
                    <a:pt x="512" y="128"/>
                  </a:lnTo>
                  <a:lnTo>
                    <a:pt x="510" y="126"/>
                  </a:lnTo>
                  <a:lnTo>
                    <a:pt x="507" y="124"/>
                  </a:lnTo>
                  <a:lnTo>
                    <a:pt x="506" y="123"/>
                  </a:lnTo>
                  <a:lnTo>
                    <a:pt x="505" y="121"/>
                  </a:lnTo>
                  <a:lnTo>
                    <a:pt x="505" y="121"/>
                  </a:lnTo>
                  <a:lnTo>
                    <a:pt x="448" y="121"/>
                  </a:lnTo>
                  <a:lnTo>
                    <a:pt x="448" y="109"/>
                  </a:lnTo>
                  <a:lnTo>
                    <a:pt x="448" y="109"/>
                  </a:lnTo>
                  <a:lnTo>
                    <a:pt x="448" y="109"/>
                  </a:lnTo>
                  <a:lnTo>
                    <a:pt x="447" y="109"/>
                  </a:lnTo>
                  <a:lnTo>
                    <a:pt x="446" y="109"/>
                  </a:lnTo>
                  <a:lnTo>
                    <a:pt x="444" y="109"/>
                  </a:lnTo>
                  <a:lnTo>
                    <a:pt x="443" y="109"/>
                  </a:lnTo>
                  <a:lnTo>
                    <a:pt x="441" y="109"/>
                  </a:lnTo>
                  <a:lnTo>
                    <a:pt x="440" y="109"/>
                  </a:lnTo>
                  <a:lnTo>
                    <a:pt x="438" y="109"/>
                  </a:lnTo>
                  <a:lnTo>
                    <a:pt x="438" y="109"/>
                  </a:lnTo>
                  <a:lnTo>
                    <a:pt x="431" y="117"/>
                  </a:lnTo>
                  <a:lnTo>
                    <a:pt x="424" y="123"/>
                  </a:lnTo>
                  <a:lnTo>
                    <a:pt x="418" y="126"/>
                  </a:lnTo>
                  <a:lnTo>
                    <a:pt x="413" y="128"/>
                  </a:lnTo>
                  <a:lnTo>
                    <a:pt x="407" y="130"/>
                  </a:lnTo>
                  <a:lnTo>
                    <a:pt x="402" y="130"/>
                  </a:lnTo>
                  <a:lnTo>
                    <a:pt x="398" y="128"/>
                  </a:lnTo>
                  <a:lnTo>
                    <a:pt x="394" y="128"/>
                  </a:lnTo>
                  <a:lnTo>
                    <a:pt x="391" y="126"/>
                  </a:lnTo>
                  <a:lnTo>
                    <a:pt x="388" y="124"/>
                  </a:lnTo>
                  <a:lnTo>
                    <a:pt x="385" y="121"/>
                  </a:lnTo>
                  <a:lnTo>
                    <a:pt x="383" y="120"/>
                  </a:lnTo>
                  <a:lnTo>
                    <a:pt x="383" y="118"/>
                  </a:lnTo>
                  <a:lnTo>
                    <a:pt x="381" y="117"/>
                  </a:lnTo>
                  <a:lnTo>
                    <a:pt x="381" y="115"/>
                  </a:lnTo>
                  <a:lnTo>
                    <a:pt x="381" y="114"/>
                  </a:lnTo>
                  <a:lnTo>
                    <a:pt x="381" y="114"/>
                  </a:lnTo>
                  <a:lnTo>
                    <a:pt x="380" y="114"/>
                  </a:lnTo>
                  <a:lnTo>
                    <a:pt x="378" y="114"/>
                  </a:lnTo>
                  <a:lnTo>
                    <a:pt x="375" y="114"/>
                  </a:lnTo>
                  <a:lnTo>
                    <a:pt x="372" y="114"/>
                  </a:lnTo>
                  <a:lnTo>
                    <a:pt x="369" y="112"/>
                  </a:lnTo>
                  <a:lnTo>
                    <a:pt x="368" y="111"/>
                  </a:lnTo>
                  <a:lnTo>
                    <a:pt x="367" y="109"/>
                  </a:lnTo>
                  <a:lnTo>
                    <a:pt x="365" y="106"/>
                  </a:lnTo>
                  <a:lnTo>
                    <a:pt x="365" y="106"/>
                  </a:lnTo>
                  <a:lnTo>
                    <a:pt x="365" y="105"/>
                  </a:lnTo>
                  <a:lnTo>
                    <a:pt x="364" y="103"/>
                  </a:lnTo>
                  <a:lnTo>
                    <a:pt x="362" y="100"/>
                  </a:lnTo>
                  <a:lnTo>
                    <a:pt x="361" y="97"/>
                  </a:lnTo>
                  <a:lnTo>
                    <a:pt x="358" y="97"/>
                  </a:lnTo>
                  <a:lnTo>
                    <a:pt x="355" y="97"/>
                  </a:lnTo>
                  <a:lnTo>
                    <a:pt x="351" y="99"/>
                  </a:lnTo>
                  <a:lnTo>
                    <a:pt x="348" y="102"/>
                  </a:lnTo>
                  <a:lnTo>
                    <a:pt x="348" y="102"/>
                  </a:lnTo>
                  <a:lnTo>
                    <a:pt x="342" y="111"/>
                  </a:lnTo>
                  <a:lnTo>
                    <a:pt x="338" y="114"/>
                  </a:lnTo>
                  <a:lnTo>
                    <a:pt x="335" y="112"/>
                  </a:lnTo>
                  <a:lnTo>
                    <a:pt x="335" y="109"/>
                  </a:lnTo>
                  <a:lnTo>
                    <a:pt x="333" y="105"/>
                  </a:lnTo>
                  <a:lnTo>
                    <a:pt x="332" y="100"/>
                  </a:lnTo>
                  <a:lnTo>
                    <a:pt x="332" y="97"/>
                  </a:lnTo>
                  <a:lnTo>
                    <a:pt x="329" y="94"/>
                  </a:lnTo>
                  <a:lnTo>
                    <a:pt x="329" y="94"/>
                  </a:lnTo>
                  <a:lnTo>
                    <a:pt x="322" y="91"/>
                  </a:lnTo>
                  <a:lnTo>
                    <a:pt x="319" y="88"/>
                  </a:lnTo>
                  <a:lnTo>
                    <a:pt x="318" y="87"/>
                  </a:lnTo>
                  <a:lnTo>
                    <a:pt x="318" y="85"/>
                  </a:lnTo>
                  <a:lnTo>
                    <a:pt x="318" y="84"/>
                  </a:lnTo>
                  <a:lnTo>
                    <a:pt x="319" y="84"/>
                  </a:lnTo>
                  <a:lnTo>
                    <a:pt x="320" y="82"/>
                  </a:lnTo>
                  <a:lnTo>
                    <a:pt x="320" y="82"/>
                  </a:lnTo>
                  <a:lnTo>
                    <a:pt x="320" y="82"/>
                  </a:lnTo>
                  <a:lnTo>
                    <a:pt x="320" y="82"/>
                  </a:lnTo>
                  <a:lnTo>
                    <a:pt x="320" y="82"/>
                  </a:lnTo>
                  <a:lnTo>
                    <a:pt x="320" y="82"/>
                  </a:lnTo>
                  <a:lnTo>
                    <a:pt x="319" y="82"/>
                  </a:lnTo>
                  <a:lnTo>
                    <a:pt x="317" y="81"/>
                  </a:lnTo>
                  <a:lnTo>
                    <a:pt x="314" y="81"/>
                  </a:lnTo>
                  <a:lnTo>
                    <a:pt x="308" y="81"/>
                  </a:lnTo>
                  <a:lnTo>
                    <a:pt x="300" y="79"/>
                  </a:lnTo>
                  <a:lnTo>
                    <a:pt x="300" y="79"/>
                  </a:lnTo>
                  <a:lnTo>
                    <a:pt x="293" y="78"/>
                  </a:lnTo>
                  <a:lnTo>
                    <a:pt x="287" y="76"/>
                  </a:lnTo>
                  <a:lnTo>
                    <a:pt x="281" y="75"/>
                  </a:lnTo>
                  <a:lnTo>
                    <a:pt x="276" y="73"/>
                  </a:lnTo>
                  <a:lnTo>
                    <a:pt x="272" y="73"/>
                  </a:lnTo>
                  <a:lnTo>
                    <a:pt x="269" y="73"/>
                  </a:lnTo>
                  <a:lnTo>
                    <a:pt x="266" y="75"/>
                  </a:lnTo>
                  <a:lnTo>
                    <a:pt x="263" y="76"/>
                  </a:lnTo>
                  <a:lnTo>
                    <a:pt x="263" y="76"/>
                  </a:lnTo>
                  <a:lnTo>
                    <a:pt x="259" y="82"/>
                  </a:lnTo>
                  <a:lnTo>
                    <a:pt x="255" y="85"/>
                  </a:lnTo>
                  <a:lnTo>
                    <a:pt x="251" y="88"/>
                  </a:lnTo>
                  <a:lnTo>
                    <a:pt x="245" y="88"/>
                  </a:lnTo>
                  <a:lnTo>
                    <a:pt x="242" y="88"/>
                  </a:lnTo>
                  <a:lnTo>
                    <a:pt x="239" y="88"/>
                  </a:lnTo>
                  <a:lnTo>
                    <a:pt x="236" y="88"/>
                  </a:lnTo>
                  <a:lnTo>
                    <a:pt x="234" y="88"/>
                  </a:lnTo>
                  <a:lnTo>
                    <a:pt x="233" y="76"/>
                  </a:lnTo>
                  <a:lnTo>
                    <a:pt x="204" y="76"/>
                  </a:lnTo>
                  <a:lnTo>
                    <a:pt x="203" y="69"/>
                  </a:lnTo>
                  <a:lnTo>
                    <a:pt x="203" y="69"/>
                  </a:lnTo>
                  <a:lnTo>
                    <a:pt x="193" y="70"/>
                  </a:lnTo>
                  <a:lnTo>
                    <a:pt x="188" y="70"/>
                  </a:lnTo>
                  <a:lnTo>
                    <a:pt x="182" y="69"/>
                  </a:lnTo>
                  <a:lnTo>
                    <a:pt x="179" y="66"/>
                  </a:lnTo>
                  <a:lnTo>
                    <a:pt x="176" y="64"/>
                  </a:lnTo>
                  <a:lnTo>
                    <a:pt x="174" y="61"/>
                  </a:lnTo>
                  <a:lnTo>
                    <a:pt x="173" y="60"/>
                  </a:lnTo>
                  <a:lnTo>
                    <a:pt x="173" y="58"/>
                  </a:lnTo>
                  <a:lnTo>
                    <a:pt x="173" y="21"/>
                  </a:lnTo>
                  <a:lnTo>
                    <a:pt x="153" y="0"/>
                  </a:lnTo>
                  <a:lnTo>
                    <a:pt x="141" y="0"/>
                  </a:lnTo>
                  <a:lnTo>
                    <a:pt x="143" y="31"/>
                  </a:lnTo>
                  <a:lnTo>
                    <a:pt x="134" y="37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72"/>
                  </a:lnTo>
                  <a:lnTo>
                    <a:pt x="5" y="73"/>
                  </a:lnTo>
                  <a:lnTo>
                    <a:pt x="5" y="78"/>
                  </a:lnTo>
                  <a:lnTo>
                    <a:pt x="3" y="84"/>
                  </a:lnTo>
                  <a:lnTo>
                    <a:pt x="3" y="90"/>
                  </a:lnTo>
                  <a:lnTo>
                    <a:pt x="3" y="96"/>
                  </a:lnTo>
                  <a:lnTo>
                    <a:pt x="3" y="103"/>
                  </a:lnTo>
                  <a:lnTo>
                    <a:pt x="3" y="111"/>
                  </a:lnTo>
                  <a:lnTo>
                    <a:pt x="3" y="120"/>
                  </a:lnTo>
                  <a:lnTo>
                    <a:pt x="5" y="128"/>
                  </a:lnTo>
                  <a:lnTo>
                    <a:pt x="5" y="135"/>
                  </a:lnTo>
                  <a:lnTo>
                    <a:pt x="6" y="142"/>
                  </a:lnTo>
                  <a:lnTo>
                    <a:pt x="8" y="150"/>
                  </a:lnTo>
                  <a:lnTo>
                    <a:pt x="11" y="157"/>
                  </a:lnTo>
                  <a:lnTo>
                    <a:pt x="14" y="162"/>
                  </a:lnTo>
                  <a:lnTo>
                    <a:pt x="18" y="166"/>
                  </a:lnTo>
                  <a:lnTo>
                    <a:pt x="18" y="166"/>
                  </a:lnTo>
                  <a:lnTo>
                    <a:pt x="18" y="168"/>
                  </a:lnTo>
                  <a:lnTo>
                    <a:pt x="18" y="171"/>
                  </a:lnTo>
                  <a:lnTo>
                    <a:pt x="20" y="175"/>
                  </a:lnTo>
                  <a:lnTo>
                    <a:pt x="21" y="183"/>
                  </a:lnTo>
                  <a:lnTo>
                    <a:pt x="23" y="190"/>
                  </a:lnTo>
                  <a:lnTo>
                    <a:pt x="24" y="198"/>
                  </a:lnTo>
                  <a:lnTo>
                    <a:pt x="24" y="207"/>
                  </a:lnTo>
                  <a:lnTo>
                    <a:pt x="25" y="216"/>
                  </a:lnTo>
                  <a:lnTo>
                    <a:pt x="25" y="216"/>
                  </a:lnTo>
                  <a:lnTo>
                    <a:pt x="25" y="219"/>
                  </a:lnTo>
                  <a:lnTo>
                    <a:pt x="25" y="223"/>
                  </a:lnTo>
                  <a:lnTo>
                    <a:pt x="25" y="228"/>
                  </a:lnTo>
                  <a:lnTo>
                    <a:pt x="25" y="234"/>
                  </a:lnTo>
                  <a:lnTo>
                    <a:pt x="25" y="240"/>
                  </a:lnTo>
                  <a:lnTo>
                    <a:pt x="25" y="244"/>
                  </a:lnTo>
                  <a:lnTo>
                    <a:pt x="25" y="249"/>
                  </a:lnTo>
                  <a:lnTo>
                    <a:pt x="25" y="250"/>
                  </a:lnTo>
                  <a:lnTo>
                    <a:pt x="32" y="261"/>
                  </a:lnTo>
                  <a:lnTo>
                    <a:pt x="30" y="280"/>
                  </a:lnTo>
                  <a:lnTo>
                    <a:pt x="32" y="306"/>
                  </a:lnTo>
                  <a:lnTo>
                    <a:pt x="41" y="317"/>
                  </a:lnTo>
                  <a:lnTo>
                    <a:pt x="45" y="328"/>
                  </a:lnTo>
                  <a:lnTo>
                    <a:pt x="44" y="360"/>
                  </a:lnTo>
                  <a:lnTo>
                    <a:pt x="44" y="369"/>
                  </a:lnTo>
                  <a:lnTo>
                    <a:pt x="31" y="385"/>
                  </a:lnTo>
                  <a:lnTo>
                    <a:pt x="31" y="385"/>
                  </a:lnTo>
                  <a:lnTo>
                    <a:pt x="30" y="386"/>
                  </a:lnTo>
                  <a:lnTo>
                    <a:pt x="28" y="388"/>
                  </a:lnTo>
                  <a:lnTo>
                    <a:pt x="27" y="390"/>
                  </a:lnTo>
                  <a:lnTo>
                    <a:pt x="25" y="393"/>
                  </a:lnTo>
                  <a:lnTo>
                    <a:pt x="24" y="396"/>
                  </a:lnTo>
                  <a:lnTo>
                    <a:pt x="24" y="400"/>
                  </a:lnTo>
                  <a:lnTo>
                    <a:pt x="25" y="403"/>
                  </a:lnTo>
                  <a:lnTo>
                    <a:pt x="28" y="406"/>
                  </a:lnTo>
                  <a:lnTo>
                    <a:pt x="28" y="406"/>
                  </a:lnTo>
                  <a:lnTo>
                    <a:pt x="30" y="406"/>
                  </a:lnTo>
                  <a:lnTo>
                    <a:pt x="32" y="409"/>
                  </a:lnTo>
                  <a:lnTo>
                    <a:pt x="36" y="412"/>
                  </a:lnTo>
                  <a:lnTo>
                    <a:pt x="41" y="415"/>
                  </a:lnTo>
                  <a:lnTo>
                    <a:pt x="45" y="419"/>
                  </a:lnTo>
                  <a:lnTo>
                    <a:pt x="50" y="422"/>
                  </a:lnTo>
                  <a:lnTo>
                    <a:pt x="51" y="423"/>
                  </a:lnTo>
                  <a:lnTo>
                    <a:pt x="53" y="424"/>
                  </a:lnTo>
                  <a:lnTo>
                    <a:pt x="53" y="424"/>
                  </a:lnTo>
                  <a:lnTo>
                    <a:pt x="53" y="426"/>
                  </a:lnTo>
                  <a:lnTo>
                    <a:pt x="53" y="432"/>
                  </a:lnTo>
                  <a:lnTo>
                    <a:pt x="53" y="442"/>
                  </a:lnTo>
                  <a:lnTo>
                    <a:pt x="53" y="455"/>
                  </a:lnTo>
                  <a:lnTo>
                    <a:pt x="53" y="469"/>
                  </a:lnTo>
                  <a:lnTo>
                    <a:pt x="53" y="487"/>
                  </a:lnTo>
                  <a:lnTo>
                    <a:pt x="53" y="504"/>
                  </a:lnTo>
                  <a:lnTo>
                    <a:pt x="53" y="522"/>
                  </a:lnTo>
                  <a:lnTo>
                    <a:pt x="53" y="539"/>
                  </a:lnTo>
                  <a:lnTo>
                    <a:pt x="51" y="558"/>
                  </a:lnTo>
                  <a:lnTo>
                    <a:pt x="51" y="574"/>
                  </a:lnTo>
                  <a:lnTo>
                    <a:pt x="51" y="588"/>
                  </a:lnTo>
                  <a:lnTo>
                    <a:pt x="51" y="601"/>
                  </a:lnTo>
                  <a:lnTo>
                    <a:pt x="51" y="610"/>
                  </a:lnTo>
                  <a:lnTo>
                    <a:pt x="53" y="616"/>
                  </a:lnTo>
                  <a:lnTo>
                    <a:pt x="53" y="619"/>
                  </a:lnTo>
                  <a:lnTo>
                    <a:pt x="53" y="619"/>
                  </a:lnTo>
                  <a:lnTo>
                    <a:pt x="53" y="617"/>
                  </a:lnTo>
                  <a:lnTo>
                    <a:pt x="56" y="617"/>
                  </a:lnTo>
                  <a:lnTo>
                    <a:pt x="61" y="617"/>
                  </a:lnTo>
                  <a:lnTo>
                    <a:pt x="66" y="617"/>
                  </a:lnTo>
                  <a:lnTo>
                    <a:pt x="75" y="617"/>
                  </a:lnTo>
                  <a:lnTo>
                    <a:pt x="84" y="617"/>
                  </a:lnTo>
                  <a:lnTo>
                    <a:pt x="95" y="617"/>
                  </a:lnTo>
                  <a:lnTo>
                    <a:pt x="107" y="617"/>
                  </a:lnTo>
                  <a:lnTo>
                    <a:pt x="122" y="617"/>
                  </a:lnTo>
                  <a:lnTo>
                    <a:pt x="134" y="617"/>
                  </a:lnTo>
                  <a:lnTo>
                    <a:pt x="150" y="617"/>
                  </a:lnTo>
                  <a:lnTo>
                    <a:pt x="165" y="617"/>
                  </a:lnTo>
                  <a:lnTo>
                    <a:pt x="182" y="617"/>
                  </a:lnTo>
                  <a:lnTo>
                    <a:pt x="198" y="616"/>
                  </a:lnTo>
                  <a:lnTo>
                    <a:pt x="215" y="616"/>
                  </a:lnTo>
                  <a:lnTo>
                    <a:pt x="231" y="616"/>
                  </a:lnTo>
                  <a:lnTo>
                    <a:pt x="251" y="616"/>
                  </a:lnTo>
                  <a:lnTo>
                    <a:pt x="267" y="616"/>
                  </a:lnTo>
                  <a:lnTo>
                    <a:pt x="285" y="616"/>
                  </a:lnTo>
                  <a:lnTo>
                    <a:pt x="302" y="614"/>
                  </a:lnTo>
                  <a:lnTo>
                    <a:pt x="318" y="614"/>
                  </a:lnTo>
                  <a:lnTo>
                    <a:pt x="335" y="614"/>
                  </a:lnTo>
                  <a:lnTo>
                    <a:pt x="351" y="614"/>
                  </a:lnTo>
                  <a:lnTo>
                    <a:pt x="365" y="613"/>
                  </a:lnTo>
                  <a:lnTo>
                    <a:pt x="380" y="613"/>
                  </a:lnTo>
                  <a:lnTo>
                    <a:pt x="394" y="613"/>
                  </a:lnTo>
                  <a:lnTo>
                    <a:pt x="405" y="611"/>
                  </a:lnTo>
                  <a:lnTo>
                    <a:pt x="416" y="611"/>
                  </a:lnTo>
                  <a:lnTo>
                    <a:pt x="425" y="610"/>
                  </a:lnTo>
                  <a:lnTo>
                    <a:pt x="434" y="610"/>
                  </a:lnTo>
                  <a:lnTo>
                    <a:pt x="441" y="608"/>
                  </a:lnTo>
                  <a:lnTo>
                    <a:pt x="446" y="607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" name="Freeform 39"/>
            <p:cNvSpPr>
              <a:spLocks/>
            </p:cNvSpPr>
            <p:nvPr/>
          </p:nvSpPr>
          <p:spPr bwMode="auto">
            <a:xfrm>
              <a:off x="2205300" y="4459148"/>
              <a:ext cx="335768" cy="226651"/>
            </a:xfrm>
            <a:custGeom>
              <a:avLst/>
              <a:gdLst>
                <a:gd name="T0" fmla="*/ 57 w 500"/>
                <a:gd name="T1" fmla="*/ 310 h 338"/>
                <a:gd name="T2" fmla="*/ 56 w 500"/>
                <a:gd name="T3" fmla="*/ 294 h 338"/>
                <a:gd name="T4" fmla="*/ 57 w 500"/>
                <a:gd name="T5" fmla="*/ 275 h 338"/>
                <a:gd name="T6" fmla="*/ 59 w 500"/>
                <a:gd name="T7" fmla="*/ 265 h 338"/>
                <a:gd name="T8" fmla="*/ 49 w 500"/>
                <a:gd name="T9" fmla="*/ 226 h 338"/>
                <a:gd name="T10" fmla="*/ 38 w 500"/>
                <a:gd name="T11" fmla="*/ 210 h 338"/>
                <a:gd name="T12" fmla="*/ 40 w 500"/>
                <a:gd name="T13" fmla="*/ 199 h 338"/>
                <a:gd name="T14" fmla="*/ 34 w 500"/>
                <a:gd name="T15" fmla="*/ 176 h 338"/>
                <a:gd name="T16" fmla="*/ 29 w 500"/>
                <a:gd name="T17" fmla="*/ 168 h 338"/>
                <a:gd name="T18" fmla="*/ 20 w 500"/>
                <a:gd name="T19" fmla="*/ 154 h 338"/>
                <a:gd name="T20" fmla="*/ 19 w 500"/>
                <a:gd name="T21" fmla="*/ 146 h 338"/>
                <a:gd name="T22" fmla="*/ 0 w 500"/>
                <a:gd name="T23" fmla="*/ 94 h 338"/>
                <a:gd name="T24" fmla="*/ 2 w 500"/>
                <a:gd name="T25" fmla="*/ 33 h 338"/>
                <a:gd name="T26" fmla="*/ 2 w 500"/>
                <a:gd name="T27" fmla="*/ 11 h 338"/>
                <a:gd name="T28" fmla="*/ 21 w 500"/>
                <a:gd name="T29" fmla="*/ 9 h 338"/>
                <a:gd name="T30" fmla="*/ 56 w 500"/>
                <a:gd name="T31" fmla="*/ 9 h 338"/>
                <a:gd name="T32" fmla="*/ 110 w 500"/>
                <a:gd name="T33" fmla="*/ 9 h 338"/>
                <a:gd name="T34" fmla="*/ 175 w 500"/>
                <a:gd name="T35" fmla="*/ 8 h 338"/>
                <a:gd name="T36" fmla="*/ 245 w 500"/>
                <a:gd name="T37" fmla="*/ 8 h 338"/>
                <a:gd name="T38" fmla="*/ 311 w 500"/>
                <a:gd name="T39" fmla="*/ 6 h 338"/>
                <a:gd name="T40" fmla="*/ 365 w 500"/>
                <a:gd name="T41" fmla="*/ 3 h 338"/>
                <a:gd name="T42" fmla="*/ 401 w 500"/>
                <a:gd name="T43" fmla="*/ 0 h 338"/>
                <a:gd name="T44" fmla="*/ 415 w 500"/>
                <a:gd name="T45" fmla="*/ 18 h 338"/>
                <a:gd name="T46" fmla="*/ 419 w 500"/>
                <a:gd name="T47" fmla="*/ 24 h 338"/>
                <a:gd name="T48" fmla="*/ 413 w 500"/>
                <a:gd name="T49" fmla="*/ 44 h 338"/>
                <a:gd name="T50" fmla="*/ 415 w 500"/>
                <a:gd name="T51" fmla="*/ 58 h 338"/>
                <a:gd name="T52" fmla="*/ 424 w 500"/>
                <a:gd name="T53" fmla="*/ 71 h 338"/>
                <a:gd name="T54" fmla="*/ 425 w 500"/>
                <a:gd name="T55" fmla="*/ 81 h 338"/>
                <a:gd name="T56" fmla="*/ 445 w 500"/>
                <a:gd name="T57" fmla="*/ 88 h 338"/>
                <a:gd name="T58" fmla="*/ 451 w 500"/>
                <a:gd name="T59" fmla="*/ 91 h 338"/>
                <a:gd name="T60" fmla="*/ 458 w 500"/>
                <a:gd name="T61" fmla="*/ 105 h 338"/>
                <a:gd name="T62" fmla="*/ 460 w 500"/>
                <a:gd name="T63" fmla="*/ 110 h 338"/>
                <a:gd name="T64" fmla="*/ 470 w 500"/>
                <a:gd name="T65" fmla="*/ 117 h 338"/>
                <a:gd name="T66" fmla="*/ 478 w 500"/>
                <a:gd name="T67" fmla="*/ 127 h 338"/>
                <a:gd name="T68" fmla="*/ 476 w 500"/>
                <a:gd name="T69" fmla="*/ 132 h 338"/>
                <a:gd name="T70" fmla="*/ 491 w 500"/>
                <a:gd name="T71" fmla="*/ 140 h 338"/>
                <a:gd name="T72" fmla="*/ 499 w 500"/>
                <a:gd name="T73" fmla="*/ 160 h 338"/>
                <a:gd name="T74" fmla="*/ 488 w 500"/>
                <a:gd name="T75" fmla="*/ 181 h 338"/>
                <a:gd name="T76" fmla="*/ 484 w 500"/>
                <a:gd name="T77" fmla="*/ 190 h 338"/>
                <a:gd name="T78" fmla="*/ 484 w 500"/>
                <a:gd name="T79" fmla="*/ 203 h 338"/>
                <a:gd name="T80" fmla="*/ 475 w 500"/>
                <a:gd name="T81" fmla="*/ 209 h 338"/>
                <a:gd name="T82" fmla="*/ 467 w 500"/>
                <a:gd name="T83" fmla="*/ 210 h 338"/>
                <a:gd name="T84" fmla="*/ 461 w 500"/>
                <a:gd name="T85" fmla="*/ 216 h 338"/>
                <a:gd name="T86" fmla="*/ 437 w 500"/>
                <a:gd name="T87" fmla="*/ 222 h 338"/>
                <a:gd name="T88" fmla="*/ 431 w 500"/>
                <a:gd name="T89" fmla="*/ 239 h 338"/>
                <a:gd name="T90" fmla="*/ 442 w 500"/>
                <a:gd name="T91" fmla="*/ 262 h 338"/>
                <a:gd name="T92" fmla="*/ 440 w 500"/>
                <a:gd name="T93" fmla="*/ 275 h 338"/>
                <a:gd name="T94" fmla="*/ 434 w 500"/>
                <a:gd name="T95" fmla="*/ 285 h 338"/>
                <a:gd name="T96" fmla="*/ 432 w 500"/>
                <a:gd name="T97" fmla="*/ 292 h 338"/>
                <a:gd name="T98" fmla="*/ 431 w 500"/>
                <a:gd name="T99" fmla="*/ 298 h 338"/>
                <a:gd name="T100" fmla="*/ 422 w 500"/>
                <a:gd name="T101" fmla="*/ 305 h 338"/>
                <a:gd name="T102" fmla="*/ 409 w 500"/>
                <a:gd name="T103" fmla="*/ 312 h 338"/>
                <a:gd name="T104" fmla="*/ 412 w 500"/>
                <a:gd name="T105" fmla="*/ 322 h 338"/>
                <a:gd name="T106" fmla="*/ 413 w 500"/>
                <a:gd name="T107" fmla="*/ 328 h 338"/>
                <a:gd name="T108" fmla="*/ 407 w 500"/>
                <a:gd name="T109" fmla="*/ 336 h 338"/>
                <a:gd name="T110" fmla="*/ 399 w 500"/>
                <a:gd name="T111" fmla="*/ 330 h 338"/>
                <a:gd name="T112" fmla="*/ 386 w 500"/>
                <a:gd name="T113" fmla="*/ 313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00" h="338">
                  <a:moveTo>
                    <a:pt x="63" y="321"/>
                  </a:moveTo>
                  <a:lnTo>
                    <a:pt x="60" y="318"/>
                  </a:lnTo>
                  <a:lnTo>
                    <a:pt x="59" y="315"/>
                  </a:lnTo>
                  <a:lnTo>
                    <a:pt x="57" y="310"/>
                  </a:lnTo>
                  <a:lnTo>
                    <a:pt x="57" y="306"/>
                  </a:lnTo>
                  <a:lnTo>
                    <a:pt x="56" y="303"/>
                  </a:lnTo>
                  <a:lnTo>
                    <a:pt x="56" y="298"/>
                  </a:lnTo>
                  <a:lnTo>
                    <a:pt x="56" y="294"/>
                  </a:lnTo>
                  <a:lnTo>
                    <a:pt x="56" y="288"/>
                  </a:lnTo>
                  <a:lnTo>
                    <a:pt x="57" y="283"/>
                  </a:lnTo>
                  <a:lnTo>
                    <a:pt x="57" y="279"/>
                  </a:lnTo>
                  <a:lnTo>
                    <a:pt x="57" y="275"/>
                  </a:lnTo>
                  <a:lnTo>
                    <a:pt x="57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59" y="265"/>
                  </a:lnTo>
                  <a:lnTo>
                    <a:pt x="53" y="258"/>
                  </a:lnTo>
                  <a:lnTo>
                    <a:pt x="52" y="231"/>
                  </a:lnTo>
                  <a:lnTo>
                    <a:pt x="49" y="226"/>
                  </a:lnTo>
                  <a:lnTo>
                    <a:pt x="44" y="223"/>
                  </a:lnTo>
                  <a:lnTo>
                    <a:pt x="41" y="219"/>
                  </a:lnTo>
                  <a:lnTo>
                    <a:pt x="38" y="214"/>
                  </a:lnTo>
                  <a:lnTo>
                    <a:pt x="38" y="210"/>
                  </a:lnTo>
                  <a:lnTo>
                    <a:pt x="38" y="206"/>
                  </a:lnTo>
                  <a:lnTo>
                    <a:pt x="38" y="203"/>
                  </a:lnTo>
                  <a:lnTo>
                    <a:pt x="38" y="201"/>
                  </a:lnTo>
                  <a:lnTo>
                    <a:pt x="40" y="199"/>
                  </a:lnTo>
                  <a:lnTo>
                    <a:pt x="38" y="192"/>
                  </a:lnTo>
                  <a:lnTo>
                    <a:pt x="38" y="184"/>
                  </a:lnTo>
                  <a:lnTo>
                    <a:pt x="37" y="180"/>
                  </a:lnTo>
                  <a:lnTo>
                    <a:pt x="34" y="176"/>
                  </a:lnTo>
                  <a:lnTo>
                    <a:pt x="33" y="173"/>
                  </a:lnTo>
                  <a:lnTo>
                    <a:pt x="32" y="171"/>
                  </a:lnTo>
                  <a:lnTo>
                    <a:pt x="30" y="170"/>
                  </a:lnTo>
                  <a:lnTo>
                    <a:pt x="29" y="168"/>
                  </a:lnTo>
                  <a:lnTo>
                    <a:pt x="24" y="166"/>
                  </a:lnTo>
                  <a:lnTo>
                    <a:pt x="23" y="163"/>
                  </a:lnTo>
                  <a:lnTo>
                    <a:pt x="20" y="159"/>
                  </a:lnTo>
                  <a:lnTo>
                    <a:pt x="20" y="154"/>
                  </a:lnTo>
                  <a:lnTo>
                    <a:pt x="19" y="151"/>
                  </a:lnTo>
                  <a:lnTo>
                    <a:pt x="19" y="147"/>
                  </a:lnTo>
                  <a:lnTo>
                    <a:pt x="19" y="146"/>
                  </a:lnTo>
                  <a:lnTo>
                    <a:pt x="19" y="146"/>
                  </a:lnTo>
                  <a:lnTo>
                    <a:pt x="14" y="134"/>
                  </a:lnTo>
                  <a:lnTo>
                    <a:pt x="14" y="121"/>
                  </a:lnTo>
                  <a:lnTo>
                    <a:pt x="7" y="104"/>
                  </a:lnTo>
                  <a:lnTo>
                    <a:pt x="0" y="94"/>
                  </a:lnTo>
                  <a:lnTo>
                    <a:pt x="1" y="87"/>
                  </a:lnTo>
                  <a:lnTo>
                    <a:pt x="13" y="41"/>
                  </a:lnTo>
                  <a:lnTo>
                    <a:pt x="1" y="41"/>
                  </a:lnTo>
                  <a:lnTo>
                    <a:pt x="2" y="33"/>
                  </a:lnTo>
                  <a:lnTo>
                    <a:pt x="5" y="30"/>
                  </a:lnTo>
                  <a:lnTo>
                    <a:pt x="4" y="23"/>
                  </a:lnTo>
                  <a:lnTo>
                    <a:pt x="1" y="15"/>
                  </a:lnTo>
                  <a:lnTo>
                    <a:pt x="2" y="11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6" y="9"/>
                  </a:lnTo>
                  <a:lnTo>
                    <a:pt x="21" y="9"/>
                  </a:lnTo>
                  <a:lnTo>
                    <a:pt x="27" y="9"/>
                  </a:lnTo>
                  <a:lnTo>
                    <a:pt x="35" y="9"/>
                  </a:lnTo>
                  <a:lnTo>
                    <a:pt x="44" y="9"/>
                  </a:lnTo>
                  <a:lnTo>
                    <a:pt x="56" y="9"/>
                  </a:lnTo>
                  <a:lnTo>
                    <a:pt x="67" y="9"/>
                  </a:lnTo>
                  <a:lnTo>
                    <a:pt x="82" y="9"/>
                  </a:lnTo>
                  <a:lnTo>
                    <a:pt x="95" y="9"/>
                  </a:lnTo>
                  <a:lnTo>
                    <a:pt x="110" y="9"/>
                  </a:lnTo>
                  <a:lnTo>
                    <a:pt x="126" y="9"/>
                  </a:lnTo>
                  <a:lnTo>
                    <a:pt x="142" y="9"/>
                  </a:lnTo>
                  <a:lnTo>
                    <a:pt x="159" y="8"/>
                  </a:lnTo>
                  <a:lnTo>
                    <a:pt x="175" y="8"/>
                  </a:lnTo>
                  <a:lnTo>
                    <a:pt x="192" y="8"/>
                  </a:lnTo>
                  <a:lnTo>
                    <a:pt x="211" y="8"/>
                  </a:lnTo>
                  <a:lnTo>
                    <a:pt x="228" y="8"/>
                  </a:lnTo>
                  <a:lnTo>
                    <a:pt x="245" y="8"/>
                  </a:lnTo>
                  <a:lnTo>
                    <a:pt x="263" y="6"/>
                  </a:lnTo>
                  <a:lnTo>
                    <a:pt x="278" y="6"/>
                  </a:lnTo>
                  <a:lnTo>
                    <a:pt x="296" y="6"/>
                  </a:lnTo>
                  <a:lnTo>
                    <a:pt x="311" y="6"/>
                  </a:lnTo>
                  <a:lnTo>
                    <a:pt x="326" y="5"/>
                  </a:lnTo>
                  <a:lnTo>
                    <a:pt x="340" y="5"/>
                  </a:lnTo>
                  <a:lnTo>
                    <a:pt x="355" y="5"/>
                  </a:lnTo>
                  <a:lnTo>
                    <a:pt x="365" y="3"/>
                  </a:lnTo>
                  <a:lnTo>
                    <a:pt x="377" y="3"/>
                  </a:lnTo>
                  <a:lnTo>
                    <a:pt x="386" y="2"/>
                  </a:lnTo>
                  <a:lnTo>
                    <a:pt x="395" y="2"/>
                  </a:lnTo>
                  <a:lnTo>
                    <a:pt x="401" y="0"/>
                  </a:lnTo>
                  <a:lnTo>
                    <a:pt x="406" y="0"/>
                  </a:lnTo>
                  <a:lnTo>
                    <a:pt x="406" y="0"/>
                  </a:lnTo>
                  <a:lnTo>
                    <a:pt x="413" y="18"/>
                  </a:lnTo>
                  <a:lnTo>
                    <a:pt x="415" y="18"/>
                  </a:lnTo>
                  <a:lnTo>
                    <a:pt x="415" y="20"/>
                  </a:lnTo>
                  <a:lnTo>
                    <a:pt x="416" y="20"/>
                  </a:lnTo>
                  <a:lnTo>
                    <a:pt x="418" y="21"/>
                  </a:lnTo>
                  <a:lnTo>
                    <a:pt x="419" y="24"/>
                  </a:lnTo>
                  <a:lnTo>
                    <a:pt x="419" y="28"/>
                  </a:lnTo>
                  <a:lnTo>
                    <a:pt x="418" y="33"/>
                  </a:lnTo>
                  <a:lnTo>
                    <a:pt x="415" y="39"/>
                  </a:lnTo>
                  <a:lnTo>
                    <a:pt x="413" y="44"/>
                  </a:lnTo>
                  <a:lnTo>
                    <a:pt x="412" y="47"/>
                  </a:lnTo>
                  <a:lnTo>
                    <a:pt x="413" y="51"/>
                  </a:lnTo>
                  <a:lnTo>
                    <a:pt x="413" y="54"/>
                  </a:lnTo>
                  <a:lnTo>
                    <a:pt x="415" y="58"/>
                  </a:lnTo>
                  <a:lnTo>
                    <a:pt x="416" y="61"/>
                  </a:lnTo>
                  <a:lnTo>
                    <a:pt x="419" y="64"/>
                  </a:lnTo>
                  <a:lnTo>
                    <a:pt x="421" y="68"/>
                  </a:lnTo>
                  <a:lnTo>
                    <a:pt x="424" y="71"/>
                  </a:lnTo>
                  <a:lnTo>
                    <a:pt x="425" y="75"/>
                  </a:lnTo>
                  <a:lnTo>
                    <a:pt x="425" y="77"/>
                  </a:lnTo>
                  <a:lnTo>
                    <a:pt x="425" y="80"/>
                  </a:lnTo>
                  <a:lnTo>
                    <a:pt x="425" y="81"/>
                  </a:lnTo>
                  <a:lnTo>
                    <a:pt x="425" y="83"/>
                  </a:lnTo>
                  <a:lnTo>
                    <a:pt x="425" y="83"/>
                  </a:lnTo>
                  <a:lnTo>
                    <a:pt x="425" y="83"/>
                  </a:lnTo>
                  <a:lnTo>
                    <a:pt x="445" y="88"/>
                  </a:lnTo>
                  <a:lnTo>
                    <a:pt x="445" y="88"/>
                  </a:lnTo>
                  <a:lnTo>
                    <a:pt x="446" y="90"/>
                  </a:lnTo>
                  <a:lnTo>
                    <a:pt x="449" y="90"/>
                  </a:lnTo>
                  <a:lnTo>
                    <a:pt x="451" y="91"/>
                  </a:lnTo>
                  <a:lnTo>
                    <a:pt x="454" y="94"/>
                  </a:lnTo>
                  <a:lnTo>
                    <a:pt x="455" y="97"/>
                  </a:lnTo>
                  <a:lnTo>
                    <a:pt x="457" y="101"/>
                  </a:lnTo>
                  <a:lnTo>
                    <a:pt x="458" y="105"/>
                  </a:lnTo>
                  <a:lnTo>
                    <a:pt x="458" y="107"/>
                  </a:lnTo>
                  <a:lnTo>
                    <a:pt x="458" y="10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3" y="111"/>
                  </a:lnTo>
                  <a:lnTo>
                    <a:pt x="464" y="113"/>
                  </a:lnTo>
                  <a:lnTo>
                    <a:pt x="467" y="114"/>
                  </a:lnTo>
                  <a:lnTo>
                    <a:pt x="470" y="117"/>
                  </a:lnTo>
                  <a:lnTo>
                    <a:pt x="475" y="120"/>
                  </a:lnTo>
                  <a:lnTo>
                    <a:pt x="478" y="123"/>
                  </a:lnTo>
                  <a:lnTo>
                    <a:pt x="478" y="126"/>
                  </a:lnTo>
                  <a:lnTo>
                    <a:pt x="478" y="127"/>
                  </a:lnTo>
                  <a:lnTo>
                    <a:pt x="478" y="129"/>
                  </a:lnTo>
                  <a:lnTo>
                    <a:pt x="476" y="130"/>
                  </a:lnTo>
                  <a:lnTo>
                    <a:pt x="476" y="132"/>
                  </a:lnTo>
                  <a:lnTo>
                    <a:pt x="476" y="132"/>
                  </a:lnTo>
                  <a:lnTo>
                    <a:pt x="485" y="137"/>
                  </a:lnTo>
                  <a:lnTo>
                    <a:pt x="487" y="137"/>
                  </a:lnTo>
                  <a:lnTo>
                    <a:pt x="488" y="138"/>
                  </a:lnTo>
                  <a:lnTo>
                    <a:pt x="491" y="140"/>
                  </a:lnTo>
                  <a:lnTo>
                    <a:pt x="496" y="143"/>
                  </a:lnTo>
                  <a:lnTo>
                    <a:pt x="497" y="147"/>
                  </a:lnTo>
                  <a:lnTo>
                    <a:pt x="499" y="153"/>
                  </a:lnTo>
                  <a:lnTo>
                    <a:pt x="499" y="160"/>
                  </a:lnTo>
                  <a:lnTo>
                    <a:pt x="497" y="170"/>
                  </a:lnTo>
                  <a:lnTo>
                    <a:pt x="494" y="177"/>
                  </a:lnTo>
                  <a:lnTo>
                    <a:pt x="491" y="180"/>
                  </a:lnTo>
                  <a:lnTo>
                    <a:pt x="488" y="181"/>
                  </a:lnTo>
                  <a:lnTo>
                    <a:pt x="487" y="180"/>
                  </a:lnTo>
                  <a:lnTo>
                    <a:pt x="485" y="181"/>
                  </a:lnTo>
                  <a:lnTo>
                    <a:pt x="485" y="183"/>
                  </a:lnTo>
                  <a:lnTo>
                    <a:pt x="484" y="190"/>
                  </a:lnTo>
                  <a:lnTo>
                    <a:pt x="484" y="202"/>
                  </a:lnTo>
                  <a:lnTo>
                    <a:pt x="484" y="202"/>
                  </a:lnTo>
                  <a:lnTo>
                    <a:pt x="484" y="202"/>
                  </a:lnTo>
                  <a:lnTo>
                    <a:pt x="484" y="203"/>
                  </a:lnTo>
                  <a:lnTo>
                    <a:pt x="482" y="204"/>
                  </a:lnTo>
                  <a:lnTo>
                    <a:pt x="481" y="206"/>
                  </a:lnTo>
                  <a:lnTo>
                    <a:pt x="478" y="207"/>
                  </a:lnTo>
                  <a:lnTo>
                    <a:pt x="475" y="209"/>
                  </a:lnTo>
                  <a:lnTo>
                    <a:pt x="469" y="209"/>
                  </a:lnTo>
                  <a:lnTo>
                    <a:pt x="467" y="209"/>
                  </a:lnTo>
                  <a:lnTo>
                    <a:pt x="467" y="210"/>
                  </a:lnTo>
                  <a:lnTo>
                    <a:pt x="467" y="210"/>
                  </a:lnTo>
                  <a:lnTo>
                    <a:pt x="467" y="212"/>
                  </a:lnTo>
                  <a:lnTo>
                    <a:pt x="466" y="213"/>
                  </a:lnTo>
                  <a:lnTo>
                    <a:pt x="465" y="214"/>
                  </a:lnTo>
                  <a:lnTo>
                    <a:pt x="461" y="216"/>
                  </a:lnTo>
                  <a:lnTo>
                    <a:pt x="455" y="217"/>
                  </a:lnTo>
                  <a:lnTo>
                    <a:pt x="449" y="217"/>
                  </a:lnTo>
                  <a:lnTo>
                    <a:pt x="443" y="219"/>
                  </a:lnTo>
                  <a:lnTo>
                    <a:pt x="437" y="222"/>
                  </a:lnTo>
                  <a:lnTo>
                    <a:pt x="433" y="225"/>
                  </a:lnTo>
                  <a:lnTo>
                    <a:pt x="431" y="228"/>
                  </a:lnTo>
                  <a:lnTo>
                    <a:pt x="431" y="234"/>
                  </a:lnTo>
                  <a:lnTo>
                    <a:pt x="431" y="239"/>
                  </a:lnTo>
                  <a:lnTo>
                    <a:pt x="433" y="246"/>
                  </a:lnTo>
                  <a:lnTo>
                    <a:pt x="436" y="253"/>
                  </a:lnTo>
                  <a:lnTo>
                    <a:pt x="440" y="258"/>
                  </a:lnTo>
                  <a:lnTo>
                    <a:pt x="442" y="262"/>
                  </a:lnTo>
                  <a:lnTo>
                    <a:pt x="443" y="265"/>
                  </a:lnTo>
                  <a:lnTo>
                    <a:pt x="445" y="269"/>
                  </a:lnTo>
                  <a:lnTo>
                    <a:pt x="443" y="272"/>
                  </a:lnTo>
                  <a:lnTo>
                    <a:pt x="440" y="275"/>
                  </a:lnTo>
                  <a:lnTo>
                    <a:pt x="436" y="280"/>
                  </a:lnTo>
                  <a:lnTo>
                    <a:pt x="436" y="280"/>
                  </a:lnTo>
                  <a:lnTo>
                    <a:pt x="436" y="283"/>
                  </a:lnTo>
                  <a:lnTo>
                    <a:pt x="434" y="285"/>
                  </a:lnTo>
                  <a:lnTo>
                    <a:pt x="433" y="288"/>
                  </a:lnTo>
                  <a:lnTo>
                    <a:pt x="433" y="289"/>
                  </a:lnTo>
                  <a:lnTo>
                    <a:pt x="432" y="291"/>
                  </a:lnTo>
                  <a:lnTo>
                    <a:pt x="432" y="292"/>
                  </a:lnTo>
                  <a:lnTo>
                    <a:pt x="432" y="294"/>
                  </a:lnTo>
                  <a:lnTo>
                    <a:pt x="432" y="294"/>
                  </a:lnTo>
                  <a:lnTo>
                    <a:pt x="431" y="295"/>
                  </a:lnTo>
                  <a:lnTo>
                    <a:pt x="431" y="298"/>
                  </a:lnTo>
                  <a:lnTo>
                    <a:pt x="431" y="300"/>
                  </a:lnTo>
                  <a:lnTo>
                    <a:pt x="430" y="303"/>
                  </a:lnTo>
                  <a:lnTo>
                    <a:pt x="427" y="303"/>
                  </a:lnTo>
                  <a:lnTo>
                    <a:pt x="422" y="305"/>
                  </a:lnTo>
                  <a:lnTo>
                    <a:pt x="418" y="306"/>
                  </a:lnTo>
                  <a:lnTo>
                    <a:pt x="413" y="307"/>
                  </a:lnTo>
                  <a:lnTo>
                    <a:pt x="410" y="309"/>
                  </a:lnTo>
                  <a:lnTo>
                    <a:pt x="409" y="312"/>
                  </a:lnTo>
                  <a:lnTo>
                    <a:pt x="409" y="315"/>
                  </a:lnTo>
                  <a:lnTo>
                    <a:pt x="409" y="318"/>
                  </a:lnTo>
                  <a:lnTo>
                    <a:pt x="410" y="319"/>
                  </a:lnTo>
                  <a:lnTo>
                    <a:pt x="412" y="322"/>
                  </a:lnTo>
                  <a:lnTo>
                    <a:pt x="413" y="324"/>
                  </a:lnTo>
                  <a:lnTo>
                    <a:pt x="413" y="324"/>
                  </a:lnTo>
                  <a:lnTo>
                    <a:pt x="413" y="325"/>
                  </a:lnTo>
                  <a:lnTo>
                    <a:pt x="413" y="328"/>
                  </a:lnTo>
                  <a:lnTo>
                    <a:pt x="412" y="330"/>
                  </a:lnTo>
                  <a:lnTo>
                    <a:pt x="410" y="333"/>
                  </a:lnTo>
                  <a:lnTo>
                    <a:pt x="409" y="334"/>
                  </a:lnTo>
                  <a:lnTo>
                    <a:pt x="407" y="336"/>
                  </a:lnTo>
                  <a:lnTo>
                    <a:pt x="406" y="337"/>
                  </a:lnTo>
                  <a:lnTo>
                    <a:pt x="404" y="337"/>
                  </a:lnTo>
                  <a:lnTo>
                    <a:pt x="403" y="334"/>
                  </a:lnTo>
                  <a:lnTo>
                    <a:pt x="399" y="330"/>
                  </a:lnTo>
                  <a:lnTo>
                    <a:pt x="395" y="325"/>
                  </a:lnTo>
                  <a:lnTo>
                    <a:pt x="392" y="321"/>
                  </a:lnTo>
                  <a:lnTo>
                    <a:pt x="388" y="316"/>
                  </a:lnTo>
                  <a:lnTo>
                    <a:pt x="386" y="313"/>
                  </a:lnTo>
                  <a:lnTo>
                    <a:pt x="385" y="312"/>
                  </a:lnTo>
                  <a:lnTo>
                    <a:pt x="63" y="321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6" name="Freeform 40"/>
            <p:cNvSpPr>
              <a:spLocks/>
            </p:cNvSpPr>
            <p:nvPr/>
          </p:nvSpPr>
          <p:spPr bwMode="auto">
            <a:xfrm>
              <a:off x="2205300" y="4459148"/>
              <a:ext cx="335768" cy="226651"/>
            </a:xfrm>
            <a:custGeom>
              <a:avLst/>
              <a:gdLst>
                <a:gd name="T0" fmla="*/ 59 w 500"/>
                <a:gd name="T1" fmla="*/ 315 h 338"/>
                <a:gd name="T2" fmla="*/ 56 w 500"/>
                <a:gd name="T3" fmla="*/ 298 h 338"/>
                <a:gd name="T4" fmla="*/ 57 w 500"/>
                <a:gd name="T5" fmla="*/ 279 h 338"/>
                <a:gd name="T6" fmla="*/ 59 w 500"/>
                <a:gd name="T7" fmla="*/ 267 h 338"/>
                <a:gd name="T8" fmla="*/ 52 w 500"/>
                <a:gd name="T9" fmla="*/ 231 h 338"/>
                <a:gd name="T10" fmla="*/ 41 w 500"/>
                <a:gd name="T11" fmla="*/ 219 h 338"/>
                <a:gd name="T12" fmla="*/ 38 w 500"/>
                <a:gd name="T13" fmla="*/ 203 h 338"/>
                <a:gd name="T14" fmla="*/ 38 w 500"/>
                <a:gd name="T15" fmla="*/ 192 h 338"/>
                <a:gd name="T16" fmla="*/ 33 w 500"/>
                <a:gd name="T17" fmla="*/ 173 h 338"/>
                <a:gd name="T18" fmla="*/ 29 w 500"/>
                <a:gd name="T19" fmla="*/ 168 h 338"/>
                <a:gd name="T20" fmla="*/ 20 w 500"/>
                <a:gd name="T21" fmla="*/ 154 h 338"/>
                <a:gd name="T22" fmla="*/ 19 w 500"/>
                <a:gd name="T23" fmla="*/ 146 h 338"/>
                <a:gd name="T24" fmla="*/ 0 w 500"/>
                <a:gd name="T25" fmla="*/ 94 h 338"/>
                <a:gd name="T26" fmla="*/ 2 w 500"/>
                <a:gd name="T27" fmla="*/ 33 h 338"/>
                <a:gd name="T28" fmla="*/ 2 w 500"/>
                <a:gd name="T29" fmla="*/ 11 h 338"/>
                <a:gd name="T30" fmla="*/ 16 w 500"/>
                <a:gd name="T31" fmla="*/ 9 h 338"/>
                <a:gd name="T32" fmla="*/ 44 w 500"/>
                <a:gd name="T33" fmla="*/ 9 h 338"/>
                <a:gd name="T34" fmla="*/ 95 w 500"/>
                <a:gd name="T35" fmla="*/ 9 h 338"/>
                <a:gd name="T36" fmla="*/ 159 w 500"/>
                <a:gd name="T37" fmla="*/ 8 h 338"/>
                <a:gd name="T38" fmla="*/ 228 w 500"/>
                <a:gd name="T39" fmla="*/ 8 h 338"/>
                <a:gd name="T40" fmla="*/ 296 w 500"/>
                <a:gd name="T41" fmla="*/ 6 h 338"/>
                <a:gd name="T42" fmla="*/ 355 w 500"/>
                <a:gd name="T43" fmla="*/ 5 h 338"/>
                <a:gd name="T44" fmla="*/ 395 w 500"/>
                <a:gd name="T45" fmla="*/ 2 h 338"/>
                <a:gd name="T46" fmla="*/ 413 w 500"/>
                <a:gd name="T47" fmla="*/ 18 h 338"/>
                <a:gd name="T48" fmla="*/ 416 w 500"/>
                <a:gd name="T49" fmla="*/ 20 h 338"/>
                <a:gd name="T50" fmla="*/ 418 w 500"/>
                <a:gd name="T51" fmla="*/ 33 h 338"/>
                <a:gd name="T52" fmla="*/ 412 w 500"/>
                <a:gd name="T53" fmla="*/ 47 h 338"/>
                <a:gd name="T54" fmla="*/ 416 w 500"/>
                <a:gd name="T55" fmla="*/ 61 h 338"/>
                <a:gd name="T56" fmla="*/ 424 w 500"/>
                <a:gd name="T57" fmla="*/ 71 h 338"/>
                <a:gd name="T58" fmla="*/ 425 w 500"/>
                <a:gd name="T59" fmla="*/ 81 h 338"/>
                <a:gd name="T60" fmla="*/ 445 w 500"/>
                <a:gd name="T61" fmla="*/ 88 h 338"/>
                <a:gd name="T62" fmla="*/ 449 w 500"/>
                <a:gd name="T63" fmla="*/ 90 h 338"/>
                <a:gd name="T64" fmla="*/ 457 w 500"/>
                <a:gd name="T65" fmla="*/ 101 h 338"/>
                <a:gd name="T66" fmla="*/ 458 w 500"/>
                <a:gd name="T67" fmla="*/ 108 h 338"/>
                <a:gd name="T68" fmla="*/ 464 w 500"/>
                <a:gd name="T69" fmla="*/ 113 h 338"/>
                <a:gd name="T70" fmla="*/ 475 w 500"/>
                <a:gd name="T71" fmla="*/ 120 h 338"/>
                <a:gd name="T72" fmla="*/ 478 w 500"/>
                <a:gd name="T73" fmla="*/ 129 h 338"/>
                <a:gd name="T74" fmla="*/ 485 w 500"/>
                <a:gd name="T75" fmla="*/ 137 h 338"/>
                <a:gd name="T76" fmla="*/ 491 w 500"/>
                <a:gd name="T77" fmla="*/ 140 h 338"/>
                <a:gd name="T78" fmla="*/ 499 w 500"/>
                <a:gd name="T79" fmla="*/ 160 h 338"/>
                <a:gd name="T80" fmla="*/ 491 w 500"/>
                <a:gd name="T81" fmla="*/ 180 h 338"/>
                <a:gd name="T82" fmla="*/ 485 w 500"/>
                <a:gd name="T83" fmla="*/ 183 h 338"/>
                <a:gd name="T84" fmla="*/ 484 w 500"/>
                <a:gd name="T85" fmla="*/ 202 h 338"/>
                <a:gd name="T86" fmla="*/ 481 w 500"/>
                <a:gd name="T87" fmla="*/ 206 h 338"/>
                <a:gd name="T88" fmla="*/ 469 w 500"/>
                <a:gd name="T89" fmla="*/ 209 h 338"/>
                <a:gd name="T90" fmla="*/ 467 w 500"/>
                <a:gd name="T91" fmla="*/ 212 h 338"/>
                <a:gd name="T92" fmla="*/ 455 w 500"/>
                <a:gd name="T93" fmla="*/ 217 h 338"/>
                <a:gd name="T94" fmla="*/ 437 w 500"/>
                <a:gd name="T95" fmla="*/ 222 h 338"/>
                <a:gd name="T96" fmla="*/ 431 w 500"/>
                <a:gd name="T97" fmla="*/ 239 h 338"/>
                <a:gd name="T98" fmla="*/ 440 w 500"/>
                <a:gd name="T99" fmla="*/ 258 h 338"/>
                <a:gd name="T100" fmla="*/ 443 w 500"/>
                <a:gd name="T101" fmla="*/ 272 h 338"/>
                <a:gd name="T102" fmla="*/ 436 w 500"/>
                <a:gd name="T103" fmla="*/ 280 h 338"/>
                <a:gd name="T104" fmla="*/ 433 w 500"/>
                <a:gd name="T105" fmla="*/ 289 h 338"/>
                <a:gd name="T106" fmla="*/ 432 w 500"/>
                <a:gd name="T107" fmla="*/ 294 h 338"/>
                <a:gd name="T108" fmla="*/ 431 w 500"/>
                <a:gd name="T109" fmla="*/ 300 h 338"/>
                <a:gd name="T110" fmla="*/ 418 w 500"/>
                <a:gd name="T111" fmla="*/ 306 h 338"/>
                <a:gd name="T112" fmla="*/ 409 w 500"/>
                <a:gd name="T113" fmla="*/ 312 h 338"/>
                <a:gd name="T114" fmla="*/ 412 w 500"/>
                <a:gd name="T115" fmla="*/ 322 h 338"/>
                <a:gd name="T116" fmla="*/ 413 w 500"/>
                <a:gd name="T117" fmla="*/ 325 h 338"/>
                <a:gd name="T118" fmla="*/ 409 w 500"/>
                <a:gd name="T119" fmla="*/ 334 h 338"/>
                <a:gd name="T120" fmla="*/ 404 w 500"/>
                <a:gd name="T121" fmla="*/ 337 h 338"/>
                <a:gd name="T122" fmla="*/ 392 w 500"/>
                <a:gd name="T123" fmla="*/ 321 h 338"/>
                <a:gd name="T124" fmla="*/ 63 w 500"/>
                <a:gd name="T125" fmla="*/ 32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00" h="338">
                  <a:moveTo>
                    <a:pt x="63" y="321"/>
                  </a:moveTo>
                  <a:lnTo>
                    <a:pt x="63" y="321"/>
                  </a:lnTo>
                  <a:lnTo>
                    <a:pt x="60" y="318"/>
                  </a:lnTo>
                  <a:lnTo>
                    <a:pt x="59" y="315"/>
                  </a:lnTo>
                  <a:lnTo>
                    <a:pt x="57" y="310"/>
                  </a:lnTo>
                  <a:lnTo>
                    <a:pt x="57" y="306"/>
                  </a:lnTo>
                  <a:lnTo>
                    <a:pt x="56" y="303"/>
                  </a:lnTo>
                  <a:lnTo>
                    <a:pt x="56" y="298"/>
                  </a:lnTo>
                  <a:lnTo>
                    <a:pt x="56" y="294"/>
                  </a:lnTo>
                  <a:lnTo>
                    <a:pt x="56" y="288"/>
                  </a:lnTo>
                  <a:lnTo>
                    <a:pt x="57" y="283"/>
                  </a:lnTo>
                  <a:lnTo>
                    <a:pt x="57" y="279"/>
                  </a:lnTo>
                  <a:lnTo>
                    <a:pt x="57" y="275"/>
                  </a:lnTo>
                  <a:lnTo>
                    <a:pt x="57" y="272"/>
                  </a:lnTo>
                  <a:lnTo>
                    <a:pt x="59" y="269"/>
                  </a:lnTo>
                  <a:lnTo>
                    <a:pt x="59" y="267"/>
                  </a:lnTo>
                  <a:lnTo>
                    <a:pt x="59" y="265"/>
                  </a:lnTo>
                  <a:lnTo>
                    <a:pt x="59" y="265"/>
                  </a:lnTo>
                  <a:lnTo>
                    <a:pt x="53" y="258"/>
                  </a:lnTo>
                  <a:lnTo>
                    <a:pt x="52" y="231"/>
                  </a:lnTo>
                  <a:lnTo>
                    <a:pt x="49" y="226"/>
                  </a:lnTo>
                  <a:lnTo>
                    <a:pt x="49" y="226"/>
                  </a:lnTo>
                  <a:lnTo>
                    <a:pt x="44" y="223"/>
                  </a:lnTo>
                  <a:lnTo>
                    <a:pt x="41" y="219"/>
                  </a:lnTo>
                  <a:lnTo>
                    <a:pt x="38" y="214"/>
                  </a:lnTo>
                  <a:lnTo>
                    <a:pt x="38" y="210"/>
                  </a:lnTo>
                  <a:lnTo>
                    <a:pt x="38" y="206"/>
                  </a:lnTo>
                  <a:lnTo>
                    <a:pt x="38" y="203"/>
                  </a:lnTo>
                  <a:lnTo>
                    <a:pt x="38" y="201"/>
                  </a:lnTo>
                  <a:lnTo>
                    <a:pt x="40" y="199"/>
                  </a:lnTo>
                  <a:lnTo>
                    <a:pt x="40" y="199"/>
                  </a:lnTo>
                  <a:lnTo>
                    <a:pt x="38" y="192"/>
                  </a:lnTo>
                  <a:lnTo>
                    <a:pt x="38" y="184"/>
                  </a:lnTo>
                  <a:lnTo>
                    <a:pt x="37" y="180"/>
                  </a:lnTo>
                  <a:lnTo>
                    <a:pt x="34" y="176"/>
                  </a:lnTo>
                  <a:lnTo>
                    <a:pt x="33" y="173"/>
                  </a:lnTo>
                  <a:lnTo>
                    <a:pt x="32" y="171"/>
                  </a:lnTo>
                  <a:lnTo>
                    <a:pt x="30" y="170"/>
                  </a:lnTo>
                  <a:lnTo>
                    <a:pt x="29" y="168"/>
                  </a:lnTo>
                  <a:lnTo>
                    <a:pt x="29" y="168"/>
                  </a:lnTo>
                  <a:lnTo>
                    <a:pt x="24" y="166"/>
                  </a:lnTo>
                  <a:lnTo>
                    <a:pt x="23" y="163"/>
                  </a:lnTo>
                  <a:lnTo>
                    <a:pt x="20" y="159"/>
                  </a:lnTo>
                  <a:lnTo>
                    <a:pt x="20" y="154"/>
                  </a:lnTo>
                  <a:lnTo>
                    <a:pt x="19" y="151"/>
                  </a:lnTo>
                  <a:lnTo>
                    <a:pt x="19" y="147"/>
                  </a:lnTo>
                  <a:lnTo>
                    <a:pt x="19" y="146"/>
                  </a:lnTo>
                  <a:lnTo>
                    <a:pt x="19" y="146"/>
                  </a:lnTo>
                  <a:lnTo>
                    <a:pt x="14" y="134"/>
                  </a:lnTo>
                  <a:lnTo>
                    <a:pt x="14" y="121"/>
                  </a:lnTo>
                  <a:lnTo>
                    <a:pt x="7" y="104"/>
                  </a:lnTo>
                  <a:lnTo>
                    <a:pt x="0" y="94"/>
                  </a:lnTo>
                  <a:lnTo>
                    <a:pt x="1" y="87"/>
                  </a:lnTo>
                  <a:lnTo>
                    <a:pt x="13" y="41"/>
                  </a:lnTo>
                  <a:lnTo>
                    <a:pt x="1" y="41"/>
                  </a:lnTo>
                  <a:lnTo>
                    <a:pt x="2" y="33"/>
                  </a:lnTo>
                  <a:lnTo>
                    <a:pt x="5" y="30"/>
                  </a:lnTo>
                  <a:lnTo>
                    <a:pt x="4" y="23"/>
                  </a:lnTo>
                  <a:lnTo>
                    <a:pt x="1" y="15"/>
                  </a:lnTo>
                  <a:lnTo>
                    <a:pt x="2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6" y="9"/>
                  </a:lnTo>
                  <a:lnTo>
                    <a:pt x="21" y="9"/>
                  </a:lnTo>
                  <a:lnTo>
                    <a:pt x="27" y="9"/>
                  </a:lnTo>
                  <a:lnTo>
                    <a:pt x="35" y="9"/>
                  </a:lnTo>
                  <a:lnTo>
                    <a:pt x="44" y="9"/>
                  </a:lnTo>
                  <a:lnTo>
                    <a:pt x="56" y="9"/>
                  </a:lnTo>
                  <a:lnTo>
                    <a:pt x="67" y="9"/>
                  </a:lnTo>
                  <a:lnTo>
                    <a:pt x="82" y="9"/>
                  </a:lnTo>
                  <a:lnTo>
                    <a:pt x="95" y="9"/>
                  </a:lnTo>
                  <a:lnTo>
                    <a:pt x="110" y="9"/>
                  </a:lnTo>
                  <a:lnTo>
                    <a:pt x="126" y="9"/>
                  </a:lnTo>
                  <a:lnTo>
                    <a:pt x="142" y="9"/>
                  </a:lnTo>
                  <a:lnTo>
                    <a:pt x="159" y="8"/>
                  </a:lnTo>
                  <a:lnTo>
                    <a:pt x="175" y="8"/>
                  </a:lnTo>
                  <a:lnTo>
                    <a:pt x="192" y="8"/>
                  </a:lnTo>
                  <a:lnTo>
                    <a:pt x="211" y="8"/>
                  </a:lnTo>
                  <a:lnTo>
                    <a:pt x="228" y="8"/>
                  </a:lnTo>
                  <a:lnTo>
                    <a:pt x="245" y="8"/>
                  </a:lnTo>
                  <a:lnTo>
                    <a:pt x="263" y="6"/>
                  </a:lnTo>
                  <a:lnTo>
                    <a:pt x="278" y="6"/>
                  </a:lnTo>
                  <a:lnTo>
                    <a:pt x="296" y="6"/>
                  </a:lnTo>
                  <a:lnTo>
                    <a:pt x="311" y="6"/>
                  </a:lnTo>
                  <a:lnTo>
                    <a:pt x="326" y="5"/>
                  </a:lnTo>
                  <a:lnTo>
                    <a:pt x="340" y="5"/>
                  </a:lnTo>
                  <a:lnTo>
                    <a:pt x="355" y="5"/>
                  </a:lnTo>
                  <a:lnTo>
                    <a:pt x="365" y="3"/>
                  </a:lnTo>
                  <a:lnTo>
                    <a:pt x="377" y="3"/>
                  </a:lnTo>
                  <a:lnTo>
                    <a:pt x="386" y="2"/>
                  </a:lnTo>
                  <a:lnTo>
                    <a:pt x="395" y="2"/>
                  </a:lnTo>
                  <a:lnTo>
                    <a:pt x="401" y="0"/>
                  </a:lnTo>
                  <a:lnTo>
                    <a:pt x="406" y="0"/>
                  </a:lnTo>
                  <a:lnTo>
                    <a:pt x="406" y="0"/>
                  </a:lnTo>
                  <a:lnTo>
                    <a:pt x="413" y="18"/>
                  </a:lnTo>
                  <a:lnTo>
                    <a:pt x="413" y="18"/>
                  </a:lnTo>
                  <a:lnTo>
                    <a:pt x="415" y="18"/>
                  </a:lnTo>
                  <a:lnTo>
                    <a:pt x="415" y="20"/>
                  </a:lnTo>
                  <a:lnTo>
                    <a:pt x="416" y="20"/>
                  </a:lnTo>
                  <a:lnTo>
                    <a:pt x="418" y="21"/>
                  </a:lnTo>
                  <a:lnTo>
                    <a:pt x="419" y="24"/>
                  </a:lnTo>
                  <a:lnTo>
                    <a:pt x="419" y="28"/>
                  </a:lnTo>
                  <a:lnTo>
                    <a:pt x="418" y="33"/>
                  </a:lnTo>
                  <a:lnTo>
                    <a:pt x="415" y="39"/>
                  </a:lnTo>
                  <a:lnTo>
                    <a:pt x="415" y="39"/>
                  </a:lnTo>
                  <a:lnTo>
                    <a:pt x="413" y="44"/>
                  </a:lnTo>
                  <a:lnTo>
                    <a:pt x="412" y="47"/>
                  </a:lnTo>
                  <a:lnTo>
                    <a:pt x="413" y="51"/>
                  </a:lnTo>
                  <a:lnTo>
                    <a:pt x="413" y="54"/>
                  </a:lnTo>
                  <a:lnTo>
                    <a:pt x="415" y="58"/>
                  </a:lnTo>
                  <a:lnTo>
                    <a:pt x="416" y="61"/>
                  </a:lnTo>
                  <a:lnTo>
                    <a:pt x="419" y="64"/>
                  </a:lnTo>
                  <a:lnTo>
                    <a:pt x="421" y="68"/>
                  </a:lnTo>
                  <a:lnTo>
                    <a:pt x="421" y="68"/>
                  </a:lnTo>
                  <a:lnTo>
                    <a:pt x="424" y="71"/>
                  </a:lnTo>
                  <a:lnTo>
                    <a:pt x="425" y="75"/>
                  </a:lnTo>
                  <a:lnTo>
                    <a:pt x="425" y="77"/>
                  </a:lnTo>
                  <a:lnTo>
                    <a:pt x="425" y="80"/>
                  </a:lnTo>
                  <a:lnTo>
                    <a:pt x="425" y="81"/>
                  </a:lnTo>
                  <a:lnTo>
                    <a:pt x="425" y="83"/>
                  </a:lnTo>
                  <a:lnTo>
                    <a:pt x="425" y="83"/>
                  </a:lnTo>
                  <a:lnTo>
                    <a:pt x="425" y="83"/>
                  </a:lnTo>
                  <a:lnTo>
                    <a:pt x="445" y="88"/>
                  </a:lnTo>
                  <a:lnTo>
                    <a:pt x="445" y="88"/>
                  </a:lnTo>
                  <a:lnTo>
                    <a:pt x="445" y="88"/>
                  </a:lnTo>
                  <a:lnTo>
                    <a:pt x="446" y="90"/>
                  </a:lnTo>
                  <a:lnTo>
                    <a:pt x="449" y="90"/>
                  </a:lnTo>
                  <a:lnTo>
                    <a:pt x="451" y="91"/>
                  </a:lnTo>
                  <a:lnTo>
                    <a:pt x="454" y="94"/>
                  </a:lnTo>
                  <a:lnTo>
                    <a:pt x="455" y="97"/>
                  </a:lnTo>
                  <a:lnTo>
                    <a:pt x="457" y="101"/>
                  </a:lnTo>
                  <a:lnTo>
                    <a:pt x="458" y="105"/>
                  </a:lnTo>
                  <a:lnTo>
                    <a:pt x="458" y="105"/>
                  </a:lnTo>
                  <a:lnTo>
                    <a:pt x="458" y="107"/>
                  </a:lnTo>
                  <a:lnTo>
                    <a:pt x="458" y="10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3" y="111"/>
                  </a:lnTo>
                  <a:lnTo>
                    <a:pt x="464" y="113"/>
                  </a:lnTo>
                  <a:lnTo>
                    <a:pt x="467" y="114"/>
                  </a:lnTo>
                  <a:lnTo>
                    <a:pt x="470" y="117"/>
                  </a:lnTo>
                  <a:lnTo>
                    <a:pt x="470" y="117"/>
                  </a:lnTo>
                  <a:lnTo>
                    <a:pt x="475" y="120"/>
                  </a:lnTo>
                  <a:lnTo>
                    <a:pt x="478" y="123"/>
                  </a:lnTo>
                  <a:lnTo>
                    <a:pt x="478" y="126"/>
                  </a:lnTo>
                  <a:lnTo>
                    <a:pt x="478" y="127"/>
                  </a:lnTo>
                  <a:lnTo>
                    <a:pt x="478" y="129"/>
                  </a:lnTo>
                  <a:lnTo>
                    <a:pt x="476" y="130"/>
                  </a:lnTo>
                  <a:lnTo>
                    <a:pt x="476" y="132"/>
                  </a:lnTo>
                  <a:lnTo>
                    <a:pt x="476" y="132"/>
                  </a:lnTo>
                  <a:lnTo>
                    <a:pt x="485" y="137"/>
                  </a:lnTo>
                  <a:lnTo>
                    <a:pt x="485" y="137"/>
                  </a:lnTo>
                  <a:lnTo>
                    <a:pt x="487" y="137"/>
                  </a:lnTo>
                  <a:lnTo>
                    <a:pt x="488" y="138"/>
                  </a:lnTo>
                  <a:lnTo>
                    <a:pt x="491" y="140"/>
                  </a:lnTo>
                  <a:lnTo>
                    <a:pt x="496" y="143"/>
                  </a:lnTo>
                  <a:lnTo>
                    <a:pt x="497" y="147"/>
                  </a:lnTo>
                  <a:lnTo>
                    <a:pt x="499" y="153"/>
                  </a:lnTo>
                  <a:lnTo>
                    <a:pt x="499" y="160"/>
                  </a:lnTo>
                  <a:lnTo>
                    <a:pt x="497" y="170"/>
                  </a:lnTo>
                  <a:lnTo>
                    <a:pt x="497" y="170"/>
                  </a:lnTo>
                  <a:lnTo>
                    <a:pt x="494" y="177"/>
                  </a:lnTo>
                  <a:lnTo>
                    <a:pt x="491" y="180"/>
                  </a:lnTo>
                  <a:lnTo>
                    <a:pt x="488" y="181"/>
                  </a:lnTo>
                  <a:lnTo>
                    <a:pt x="487" y="180"/>
                  </a:lnTo>
                  <a:lnTo>
                    <a:pt x="485" y="181"/>
                  </a:lnTo>
                  <a:lnTo>
                    <a:pt x="485" y="183"/>
                  </a:lnTo>
                  <a:lnTo>
                    <a:pt x="484" y="190"/>
                  </a:lnTo>
                  <a:lnTo>
                    <a:pt x="484" y="202"/>
                  </a:lnTo>
                  <a:lnTo>
                    <a:pt x="484" y="202"/>
                  </a:lnTo>
                  <a:lnTo>
                    <a:pt x="484" y="202"/>
                  </a:lnTo>
                  <a:lnTo>
                    <a:pt x="484" y="202"/>
                  </a:lnTo>
                  <a:lnTo>
                    <a:pt x="484" y="203"/>
                  </a:lnTo>
                  <a:lnTo>
                    <a:pt x="482" y="204"/>
                  </a:lnTo>
                  <a:lnTo>
                    <a:pt x="481" y="206"/>
                  </a:lnTo>
                  <a:lnTo>
                    <a:pt x="478" y="207"/>
                  </a:lnTo>
                  <a:lnTo>
                    <a:pt x="475" y="209"/>
                  </a:lnTo>
                  <a:lnTo>
                    <a:pt x="469" y="209"/>
                  </a:lnTo>
                  <a:lnTo>
                    <a:pt x="469" y="209"/>
                  </a:lnTo>
                  <a:lnTo>
                    <a:pt x="467" y="209"/>
                  </a:lnTo>
                  <a:lnTo>
                    <a:pt x="467" y="210"/>
                  </a:lnTo>
                  <a:lnTo>
                    <a:pt x="467" y="210"/>
                  </a:lnTo>
                  <a:lnTo>
                    <a:pt x="467" y="212"/>
                  </a:lnTo>
                  <a:lnTo>
                    <a:pt x="466" y="213"/>
                  </a:lnTo>
                  <a:lnTo>
                    <a:pt x="465" y="214"/>
                  </a:lnTo>
                  <a:lnTo>
                    <a:pt x="461" y="216"/>
                  </a:lnTo>
                  <a:lnTo>
                    <a:pt x="455" y="217"/>
                  </a:lnTo>
                  <a:lnTo>
                    <a:pt x="455" y="217"/>
                  </a:lnTo>
                  <a:lnTo>
                    <a:pt x="449" y="217"/>
                  </a:lnTo>
                  <a:lnTo>
                    <a:pt x="443" y="219"/>
                  </a:lnTo>
                  <a:lnTo>
                    <a:pt x="437" y="222"/>
                  </a:lnTo>
                  <a:lnTo>
                    <a:pt x="433" y="225"/>
                  </a:lnTo>
                  <a:lnTo>
                    <a:pt x="431" y="228"/>
                  </a:lnTo>
                  <a:lnTo>
                    <a:pt x="431" y="234"/>
                  </a:lnTo>
                  <a:lnTo>
                    <a:pt x="431" y="239"/>
                  </a:lnTo>
                  <a:lnTo>
                    <a:pt x="433" y="246"/>
                  </a:lnTo>
                  <a:lnTo>
                    <a:pt x="433" y="246"/>
                  </a:lnTo>
                  <a:lnTo>
                    <a:pt x="436" y="253"/>
                  </a:lnTo>
                  <a:lnTo>
                    <a:pt x="440" y="258"/>
                  </a:lnTo>
                  <a:lnTo>
                    <a:pt x="442" y="262"/>
                  </a:lnTo>
                  <a:lnTo>
                    <a:pt x="443" y="265"/>
                  </a:lnTo>
                  <a:lnTo>
                    <a:pt x="445" y="269"/>
                  </a:lnTo>
                  <a:lnTo>
                    <a:pt x="443" y="272"/>
                  </a:lnTo>
                  <a:lnTo>
                    <a:pt x="440" y="275"/>
                  </a:lnTo>
                  <a:lnTo>
                    <a:pt x="436" y="280"/>
                  </a:lnTo>
                  <a:lnTo>
                    <a:pt x="436" y="280"/>
                  </a:lnTo>
                  <a:lnTo>
                    <a:pt x="436" y="280"/>
                  </a:lnTo>
                  <a:lnTo>
                    <a:pt x="436" y="283"/>
                  </a:lnTo>
                  <a:lnTo>
                    <a:pt x="434" y="285"/>
                  </a:lnTo>
                  <a:lnTo>
                    <a:pt x="433" y="288"/>
                  </a:lnTo>
                  <a:lnTo>
                    <a:pt x="433" y="289"/>
                  </a:lnTo>
                  <a:lnTo>
                    <a:pt x="432" y="291"/>
                  </a:lnTo>
                  <a:lnTo>
                    <a:pt x="432" y="292"/>
                  </a:lnTo>
                  <a:lnTo>
                    <a:pt x="432" y="294"/>
                  </a:lnTo>
                  <a:lnTo>
                    <a:pt x="432" y="294"/>
                  </a:lnTo>
                  <a:lnTo>
                    <a:pt x="432" y="294"/>
                  </a:lnTo>
                  <a:lnTo>
                    <a:pt x="431" y="295"/>
                  </a:lnTo>
                  <a:lnTo>
                    <a:pt x="431" y="298"/>
                  </a:lnTo>
                  <a:lnTo>
                    <a:pt x="431" y="300"/>
                  </a:lnTo>
                  <a:lnTo>
                    <a:pt x="430" y="303"/>
                  </a:lnTo>
                  <a:lnTo>
                    <a:pt x="427" y="303"/>
                  </a:lnTo>
                  <a:lnTo>
                    <a:pt x="422" y="305"/>
                  </a:lnTo>
                  <a:lnTo>
                    <a:pt x="418" y="306"/>
                  </a:lnTo>
                  <a:lnTo>
                    <a:pt x="418" y="306"/>
                  </a:lnTo>
                  <a:lnTo>
                    <a:pt x="413" y="307"/>
                  </a:lnTo>
                  <a:lnTo>
                    <a:pt x="410" y="309"/>
                  </a:lnTo>
                  <a:lnTo>
                    <a:pt x="409" y="312"/>
                  </a:lnTo>
                  <a:lnTo>
                    <a:pt x="409" y="315"/>
                  </a:lnTo>
                  <a:lnTo>
                    <a:pt x="409" y="318"/>
                  </a:lnTo>
                  <a:lnTo>
                    <a:pt x="410" y="319"/>
                  </a:lnTo>
                  <a:lnTo>
                    <a:pt x="412" y="322"/>
                  </a:lnTo>
                  <a:lnTo>
                    <a:pt x="413" y="324"/>
                  </a:lnTo>
                  <a:lnTo>
                    <a:pt x="413" y="324"/>
                  </a:lnTo>
                  <a:lnTo>
                    <a:pt x="413" y="324"/>
                  </a:lnTo>
                  <a:lnTo>
                    <a:pt x="413" y="325"/>
                  </a:lnTo>
                  <a:lnTo>
                    <a:pt x="413" y="328"/>
                  </a:lnTo>
                  <a:lnTo>
                    <a:pt x="412" y="330"/>
                  </a:lnTo>
                  <a:lnTo>
                    <a:pt x="410" y="333"/>
                  </a:lnTo>
                  <a:lnTo>
                    <a:pt x="409" y="334"/>
                  </a:lnTo>
                  <a:lnTo>
                    <a:pt x="407" y="336"/>
                  </a:lnTo>
                  <a:lnTo>
                    <a:pt x="406" y="337"/>
                  </a:lnTo>
                  <a:lnTo>
                    <a:pt x="406" y="337"/>
                  </a:lnTo>
                  <a:lnTo>
                    <a:pt x="404" y="337"/>
                  </a:lnTo>
                  <a:lnTo>
                    <a:pt x="403" y="334"/>
                  </a:lnTo>
                  <a:lnTo>
                    <a:pt x="399" y="330"/>
                  </a:lnTo>
                  <a:lnTo>
                    <a:pt x="395" y="325"/>
                  </a:lnTo>
                  <a:lnTo>
                    <a:pt x="392" y="321"/>
                  </a:lnTo>
                  <a:lnTo>
                    <a:pt x="388" y="316"/>
                  </a:lnTo>
                  <a:lnTo>
                    <a:pt x="386" y="313"/>
                  </a:lnTo>
                  <a:lnTo>
                    <a:pt x="385" y="312"/>
                  </a:lnTo>
                  <a:lnTo>
                    <a:pt x="63" y="321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7" name="Freeform 41"/>
            <p:cNvSpPr>
              <a:spLocks/>
            </p:cNvSpPr>
            <p:nvPr/>
          </p:nvSpPr>
          <p:spPr bwMode="auto">
            <a:xfrm>
              <a:off x="2247497" y="4669032"/>
              <a:ext cx="377964" cy="324763"/>
            </a:xfrm>
            <a:custGeom>
              <a:avLst/>
              <a:gdLst>
                <a:gd name="T0" fmla="*/ 98 w 563"/>
                <a:gd name="T1" fmla="*/ 438 h 484"/>
                <a:gd name="T2" fmla="*/ 98 w 563"/>
                <a:gd name="T3" fmla="*/ 420 h 484"/>
                <a:gd name="T4" fmla="*/ 98 w 563"/>
                <a:gd name="T5" fmla="*/ 402 h 484"/>
                <a:gd name="T6" fmla="*/ 98 w 563"/>
                <a:gd name="T7" fmla="*/ 390 h 484"/>
                <a:gd name="T8" fmla="*/ 71 w 563"/>
                <a:gd name="T9" fmla="*/ 147 h 484"/>
                <a:gd name="T10" fmla="*/ 56 w 563"/>
                <a:gd name="T11" fmla="*/ 116 h 484"/>
                <a:gd name="T12" fmla="*/ 70 w 563"/>
                <a:gd name="T13" fmla="*/ 88 h 484"/>
                <a:gd name="T14" fmla="*/ 62 w 563"/>
                <a:gd name="T15" fmla="*/ 84 h 484"/>
                <a:gd name="T16" fmla="*/ 32 w 563"/>
                <a:gd name="T17" fmla="*/ 69 h 484"/>
                <a:gd name="T18" fmla="*/ 8 w 563"/>
                <a:gd name="T19" fmla="*/ 27 h 484"/>
                <a:gd name="T20" fmla="*/ 4 w 563"/>
                <a:gd name="T21" fmla="*/ 18 h 484"/>
                <a:gd name="T22" fmla="*/ 0 w 563"/>
                <a:gd name="T23" fmla="*/ 8 h 484"/>
                <a:gd name="T24" fmla="*/ 329 w 563"/>
                <a:gd name="T25" fmla="*/ 8 h 484"/>
                <a:gd name="T26" fmla="*/ 341 w 563"/>
                <a:gd name="T27" fmla="*/ 24 h 484"/>
                <a:gd name="T28" fmla="*/ 341 w 563"/>
                <a:gd name="T29" fmla="*/ 27 h 484"/>
                <a:gd name="T30" fmla="*/ 338 w 563"/>
                <a:gd name="T31" fmla="*/ 44 h 484"/>
                <a:gd name="T32" fmla="*/ 344 w 563"/>
                <a:gd name="T33" fmla="*/ 74 h 484"/>
                <a:gd name="T34" fmla="*/ 367 w 563"/>
                <a:gd name="T35" fmla="*/ 107 h 484"/>
                <a:gd name="T36" fmla="*/ 396 w 563"/>
                <a:gd name="T37" fmla="*/ 127 h 484"/>
                <a:gd name="T38" fmla="*/ 407 w 563"/>
                <a:gd name="T39" fmla="*/ 140 h 484"/>
                <a:gd name="T40" fmla="*/ 413 w 563"/>
                <a:gd name="T41" fmla="*/ 173 h 484"/>
                <a:gd name="T42" fmla="*/ 425 w 563"/>
                <a:gd name="T43" fmla="*/ 174 h 484"/>
                <a:gd name="T44" fmla="*/ 437 w 563"/>
                <a:gd name="T45" fmla="*/ 167 h 484"/>
                <a:gd name="T46" fmla="*/ 455 w 563"/>
                <a:gd name="T47" fmla="*/ 179 h 484"/>
                <a:gd name="T48" fmla="*/ 455 w 563"/>
                <a:gd name="T49" fmla="*/ 193 h 484"/>
                <a:gd name="T50" fmla="*/ 449 w 563"/>
                <a:gd name="T51" fmla="*/ 219 h 484"/>
                <a:gd name="T52" fmla="*/ 445 w 563"/>
                <a:gd name="T53" fmla="*/ 227 h 484"/>
                <a:gd name="T54" fmla="*/ 448 w 563"/>
                <a:gd name="T55" fmla="*/ 252 h 484"/>
                <a:gd name="T56" fmla="*/ 473 w 563"/>
                <a:gd name="T57" fmla="*/ 267 h 484"/>
                <a:gd name="T58" fmla="*/ 479 w 563"/>
                <a:gd name="T59" fmla="*/ 272 h 484"/>
                <a:gd name="T60" fmla="*/ 494 w 563"/>
                <a:gd name="T61" fmla="*/ 279 h 484"/>
                <a:gd name="T62" fmla="*/ 527 w 563"/>
                <a:gd name="T63" fmla="*/ 324 h 484"/>
                <a:gd name="T64" fmla="*/ 534 w 563"/>
                <a:gd name="T65" fmla="*/ 362 h 484"/>
                <a:gd name="T66" fmla="*/ 539 w 563"/>
                <a:gd name="T67" fmla="*/ 360 h 484"/>
                <a:gd name="T68" fmla="*/ 544 w 563"/>
                <a:gd name="T69" fmla="*/ 357 h 484"/>
                <a:gd name="T70" fmla="*/ 553 w 563"/>
                <a:gd name="T71" fmla="*/ 368 h 484"/>
                <a:gd name="T72" fmla="*/ 557 w 563"/>
                <a:gd name="T73" fmla="*/ 412 h 484"/>
                <a:gd name="T74" fmla="*/ 523 w 563"/>
                <a:gd name="T75" fmla="*/ 450 h 484"/>
                <a:gd name="T76" fmla="*/ 515 w 563"/>
                <a:gd name="T77" fmla="*/ 450 h 484"/>
                <a:gd name="T78" fmla="*/ 524 w 563"/>
                <a:gd name="T79" fmla="*/ 461 h 484"/>
                <a:gd name="T80" fmla="*/ 526 w 563"/>
                <a:gd name="T81" fmla="*/ 465 h 484"/>
                <a:gd name="T82" fmla="*/ 514 w 563"/>
                <a:gd name="T83" fmla="*/ 480 h 484"/>
                <a:gd name="T84" fmla="*/ 462 w 563"/>
                <a:gd name="T85" fmla="*/ 475 h 484"/>
                <a:gd name="T86" fmla="*/ 472 w 563"/>
                <a:gd name="T87" fmla="*/ 455 h 484"/>
                <a:gd name="T88" fmla="*/ 481 w 563"/>
                <a:gd name="T89" fmla="*/ 438 h 484"/>
                <a:gd name="T90" fmla="*/ 468 w 563"/>
                <a:gd name="T91" fmla="*/ 426 h 484"/>
                <a:gd name="T92" fmla="*/ 455 w 563"/>
                <a:gd name="T93" fmla="*/ 428 h 484"/>
                <a:gd name="T94" fmla="*/ 419 w 563"/>
                <a:gd name="T95" fmla="*/ 429 h 484"/>
                <a:gd name="T96" fmla="*/ 366 w 563"/>
                <a:gd name="T97" fmla="*/ 432 h 484"/>
                <a:gd name="T98" fmla="*/ 301 w 563"/>
                <a:gd name="T99" fmla="*/ 435 h 484"/>
                <a:gd name="T100" fmla="*/ 235 w 563"/>
                <a:gd name="T101" fmla="*/ 438 h 484"/>
                <a:gd name="T102" fmla="*/ 173 w 563"/>
                <a:gd name="T103" fmla="*/ 441 h 484"/>
                <a:gd name="T104" fmla="*/ 127 w 563"/>
                <a:gd name="T105" fmla="*/ 442 h 484"/>
                <a:gd name="T106" fmla="*/ 100 w 563"/>
                <a:gd name="T107" fmla="*/ 444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3" h="484">
                  <a:moveTo>
                    <a:pt x="99" y="444"/>
                  </a:moveTo>
                  <a:lnTo>
                    <a:pt x="99" y="442"/>
                  </a:lnTo>
                  <a:lnTo>
                    <a:pt x="98" y="441"/>
                  </a:lnTo>
                  <a:lnTo>
                    <a:pt x="98" y="438"/>
                  </a:lnTo>
                  <a:lnTo>
                    <a:pt x="98" y="435"/>
                  </a:lnTo>
                  <a:lnTo>
                    <a:pt x="98" y="431"/>
                  </a:lnTo>
                  <a:lnTo>
                    <a:pt x="98" y="426"/>
                  </a:lnTo>
                  <a:lnTo>
                    <a:pt x="98" y="420"/>
                  </a:lnTo>
                  <a:lnTo>
                    <a:pt x="98" y="417"/>
                  </a:lnTo>
                  <a:lnTo>
                    <a:pt x="98" y="412"/>
                  </a:lnTo>
                  <a:lnTo>
                    <a:pt x="98" y="406"/>
                  </a:lnTo>
                  <a:lnTo>
                    <a:pt x="98" y="402"/>
                  </a:lnTo>
                  <a:lnTo>
                    <a:pt x="98" y="398"/>
                  </a:lnTo>
                  <a:lnTo>
                    <a:pt x="98" y="395"/>
                  </a:lnTo>
                  <a:lnTo>
                    <a:pt x="98" y="392"/>
                  </a:lnTo>
                  <a:lnTo>
                    <a:pt x="98" y="390"/>
                  </a:lnTo>
                  <a:lnTo>
                    <a:pt x="98" y="389"/>
                  </a:lnTo>
                  <a:lnTo>
                    <a:pt x="96" y="159"/>
                  </a:lnTo>
                  <a:lnTo>
                    <a:pt x="82" y="159"/>
                  </a:lnTo>
                  <a:lnTo>
                    <a:pt x="71" y="147"/>
                  </a:lnTo>
                  <a:lnTo>
                    <a:pt x="70" y="137"/>
                  </a:lnTo>
                  <a:lnTo>
                    <a:pt x="67" y="131"/>
                  </a:lnTo>
                  <a:lnTo>
                    <a:pt x="56" y="123"/>
                  </a:lnTo>
                  <a:lnTo>
                    <a:pt x="56" y="116"/>
                  </a:lnTo>
                  <a:lnTo>
                    <a:pt x="67" y="99"/>
                  </a:lnTo>
                  <a:lnTo>
                    <a:pt x="70" y="96"/>
                  </a:lnTo>
                  <a:lnTo>
                    <a:pt x="71" y="91"/>
                  </a:lnTo>
                  <a:lnTo>
                    <a:pt x="70" y="88"/>
                  </a:lnTo>
                  <a:lnTo>
                    <a:pt x="68" y="87"/>
                  </a:lnTo>
                  <a:lnTo>
                    <a:pt x="66" y="86"/>
                  </a:lnTo>
                  <a:lnTo>
                    <a:pt x="63" y="84"/>
                  </a:lnTo>
                  <a:lnTo>
                    <a:pt x="62" y="84"/>
                  </a:lnTo>
                  <a:lnTo>
                    <a:pt x="60" y="83"/>
                  </a:lnTo>
                  <a:lnTo>
                    <a:pt x="52" y="84"/>
                  </a:lnTo>
                  <a:lnTo>
                    <a:pt x="41" y="75"/>
                  </a:lnTo>
                  <a:lnTo>
                    <a:pt x="32" y="69"/>
                  </a:lnTo>
                  <a:lnTo>
                    <a:pt x="33" y="71"/>
                  </a:lnTo>
                  <a:lnTo>
                    <a:pt x="23" y="47"/>
                  </a:lnTo>
                  <a:lnTo>
                    <a:pt x="11" y="36"/>
                  </a:lnTo>
                  <a:lnTo>
                    <a:pt x="8" y="27"/>
                  </a:lnTo>
                  <a:lnTo>
                    <a:pt x="8" y="26"/>
                  </a:lnTo>
                  <a:lnTo>
                    <a:pt x="7" y="24"/>
                  </a:lnTo>
                  <a:lnTo>
                    <a:pt x="5" y="21"/>
                  </a:lnTo>
                  <a:lnTo>
                    <a:pt x="4" y="18"/>
                  </a:lnTo>
                  <a:lnTo>
                    <a:pt x="2" y="14"/>
                  </a:lnTo>
                  <a:lnTo>
                    <a:pt x="1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322" y="0"/>
                  </a:lnTo>
                  <a:lnTo>
                    <a:pt x="323" y="0"/>
                  </a:lnTo>
                  <a:lnTo>
                    <a:pt x="325" y="3"/>
                  </a:lnTo>
                  <a:lnTo>
                    <a:pt x="329" y="8"/>
                  </a:lnTo>
                  <a:lnTo>
                    <a:pt x="331" y="12"/>
                  </a:lnTo>
                  <a:lnTo>
                    <a:pt x="335" y="17"/>
                  </a:lnTo>
                  <a:lnTo>
                    <a:pt x="340" y="21"/>
                  </a:lnTo>
                  <a:lnTo>
                    <a:pt x="341" y="24"/>
                  </a:lnTo>
                  <a:lnTo>
                    <a:pt x="343" y="24"/>
                  </a:lnTo>
                  <a:lnTo>
                    <a:pt x="343" y="24"/>
                  </a:lnTo>
                  <a:lnTo>
                    <a:pt x="341" y="26"/>
                  </a:lnTo>
                  <a:lnTo>
                    <a:pt x="341" y="27"/>
                  </a:lnTo>
                  <a:lnTo>
                    <a:pt x="341" y="30"/>
                  </a:lnTo>
                  <a:lnTo>
                    <a:pt x="340" y="33"/>
                  </a:lnTo>
                  <a:lnTo>
                    <a:pt x="340" y="38"/>
                  </a:lnTo>
                  <a:lnTo>
                    <a:pt x="338" y="44"/>
                  </a:lnTo>
                  <a:lnTo>
                    <a:pt x="340" y="51"/>
                  </a:lnTo>
                  <a:lnTo>
                    <a:pt x="340" y="58"/>
                  </a:lnTo>
                  <a:lnTo>
                    <a:pt x="341" y="65"/>
                  </a:lnTo>
                  <a:lnTo>
                    <a:pt x="344" y="74"/>
                  </a:lnTo>
                  <a:lnTo>
                    <a:pt x="349" y="81"/>
                  </a:lnTo>
                  <a:lnTo>
                    <a:pt x="353" y="90"/>
                  </a:lnTo>
                  <a:lnTo>
                    <a:pt x="361" y="98"/>
                  </a:lnTo>
                  <a:lnTo>
                    <a:pt x="367" y="107"/>
                  </a:lnTo>
                  <a:lnTo>
                    <a:pt x="377" y="116"/>
                  </a:lnTo>
                  <a:lnTo>
                    <a:pt x="389" y="124"/>
                  </a:lnTo>
                  <a:lnTo>
                    <a:pt x="392" y="126"/>
                  </a:lnTo>
                  <a:lnTo>
                    <a:pt x="396" y="127"/>
                  </a:lnTo>
                  <a:lnTo>
                    <a:pt x="399" y="128"/>
                  </a:lnTo>
                  <a:lnTo>
                    <a:pt x="402" y="131"/>
                  </a:lnTo>
                  <a:lnTo>
                    <a:pt x="404" y="134"/>
                  </a:lnTo>
                  <a:lnTo>
                    <a:pt x="407" y="140"/>
                  </a:lnTo>
                  <a:lnTo>
                    <a:pt x="409" y="149"/>
                  </a:lnTo>
                  <a:lnTo>
                    <a:pt x="410" y="160"/>
                  </a:lnTo>
                  <a:lnTo>
                    <a:pt x="410" y="167"/>
                  </a:lnTo>
                  <a:lnTo>
                    <a:pt x="413" y="173"/>
                  </a:lnTo>
                  <a:lnTo>
                    <a:pt x="415" y="176"/>
                  </a:lnTo>
                  <a:lnTo>
                    <a:pt x="418" y="177"/>
                  </a:lnTo>
                  <a:lnTo>
                    <a:pt x="421" y="177"/>
                  </a:lnTo>
                  <a:lnTo>
                    <a:pt x="425" y="174"/>
                  </a:lnTo>
                  <a:lnTo>
                    <a:pt x="428" y="171"/>
                  </a:lnTo>
                  <a:lnTo>
                    <a:pt x="430" y="168"/>
                  </a:lnTo>
                  <a:lnTo>
                    <a:pt x="433" y="167"/>
                  </a:lnTo>
                  <a:lnTo>
                    <a:pt x="437" y="167"/>
                  </a:lnTo>
                  <a:lnTo>
                    <a:pt x="442" y="168"/>
                  </a:lnTo>
                  <a:lnTo>
                    <a:pt x="448" y="171"/>
                  </a:lnTo>
                  <a:lnTo>
                    <a:pt x="452" y="174"/>
                  </a:lnTo>
                  <a:lnTo>
                    <a:pt x="455" y="179"/>
                  </a:lnTo>
                  <a:lnTo>
                    <a:pt x="458" y="182"/>
                  </a:lnTo>
                  <a:lnTo>
                    <a:pt x="458" y="184"/>
                  </a:lnTo>
                  <a:lnTo>
                    <a:pt x="458" y="187"/>
                  </a:lnTo>
                  <a:lnTo>
                    <a:pt x="455" y="193"/>
                  </a:lnTo>
                  <a:lnTo>
                    <a:pt x="454" y="198"/>
                  </a:lnTo>
                  <a:lnTo>
                    <a:pt x="452" y="206"/>
                  </a:lnTo>
                  <a:lnTo>
                    <a:pt x="451" y="213"/>
                  </a:lnTo>
                  <a:lnTo>
                    <a:pt x="449" y="219"/>
                  </a:lnTo>
                  <a:lnTo>
                    <a:pt x="448" y="222"/>
                  </a:lnTo>
                  <a:lnTo>
                    <a:pt x="448" y="223"/>
                  </a:lnTo>
                  <a:lnTo>
                    <a:pt x="446" y="225"/>
                  </a:lnTo>
                  <a:lnTo>
                    <a:pt x="445" y="227"/>
                  </a:lnTo>
                  <a:lnTo>
                    <a:pt x="443" y="233"/>
                  </a:lnTo>
                  <a:lnTo>
                    <a:pt x="443" y="239"/>
                  </a:lnTo>
                  <a:lnTo>
                    <a:pt x="445" y="245"/>
                  </a:lnTo>
                  <a:lnTo>
                    <a:pt x="448" y="252"/>
                  </a:lnTo>
                  <a:lnTo>
                    <a:pt x="457" y="258"/>
                  </a:lnTo>
                  <a:lnTo>
                    <a:pt x="468" y="264"/>
                  </a:lnTo>
                  <a:lnTo>
                    <a:pt x="470" y="266"/>
                  </a:lnTo>
                  <a:lnTo>
                    <a:pt x="473" y="267"/>
                  </a:lnTo>
                  <a:lnTo>
                    <a:pt x="476" y="269"/>
                  </a:lnTo>
                  <a:lnTo>
                    <a:pt x="478" y="270"/>
                  </a:lnTo>
                  <a:lnTo>
                    <a:pt x="478" y="270"/>
                  </a:lnTo>
                  <a:lnTo>
                    <a:pt x="479" y="272"/>
                  </a:lnTo>
                  <a:lnTo>
                    <a:pt x="479" y="272"/>
                  </a:lnTo>
                  <a:lnTo>
                    <a:pt x="479" y="272"/>
                  </a:lnTo>
                  <a:lnTo>
                    <a:pt x="479" y="279"/>
                  </a:lnTo>
                  <a:lnTo>
                    <a:pt x="494" y="279"/>
                  </a:lnTo>
                  <a:lnTo>
                    <a:pt x="506" y="291"/>
                  </a:lnTo>
                  <a:lnTo>
                    <a:pt x="520" y="296"/>
                  </a:lnTo>
                  <a:lnTo>
                    <a:pt x="521" y="315"/>
                  </a:lnTo>
                  <a:lnTo>
                    <a:pt x="527" y="324"/>
                  </a:lnTo>
                  <a:lnTo>
                    <a:pt x="523" y="339"/>
                  </a:lnTo>
                  <a:lnTo>
                    <a:pt x="523" y="346"/>
                  </a:lnTo>
                  <a:lnTo>
                    <a:pt x="531" y="354"/>
                  </a:lnTo>
                  <a:lnTo>
                    <a:pt x="534" y="362"/>
                  </a:lnTo>
                  <a:lnTo>
                    <a:pt x="539" y="366"/>
                  </a:lnTo>
                  <a:lnTo>
                    <a:pt x="539" y="366"/>
                  </a:lnTo>
                  <a:lnTo>
                    <a:pt x="539" y="363"/>
                  </a:lnTo>
                  <a:lnTo>
                    <a:pt x="539" y="360"/>
                  </a:lnTo>
                  <a:lnTo>
                    <a:pt x="539" y="357"/>
                  </a:lnTo>
                  <a:lnTo>
                    <a:pt x="539" y="356"/>
                  </a:lnTo>
                  <a:lnTo>
                    <a:pt x="541" y="356"/>
                  </a:lnTo>
                  <a:lnTo>
                    <a:pt x="544" y="357"/>
                  </a:lnTo>
                  <a:lnTo>
                    <a:pt x="545" y="362"/>
                  </a:lnTo>
                  <a:lnTo>
                    <a:pt x="547" y="363"/>
                  </a:lnTo>
                  <a:lnTo>
                    <a:pt x="550" y="366"/>
                  </a:lnTo>
                  <a:lnTo>
                    <a:pt x="553" y="368"/>
                  </a:lnTo>
                  <a:lnTo>
                    <a:pt x="554" y="369"/>
                  </a:lnTo>
                  <a:lnTo>
                    <a:pt x="562" y="375"/>
                  </a:lnTo>
                  <a:lnTo>
                    <a:pt x="557" y="382"/>
                  </a:lnTo>
                  <a:lnTo>
                    <a:pt x="557" y="412"/>
                  </a:lnTo>
                  <a:lnTo>
                    <a:pt x="541" y="414"/>
                  </a:lnTo>
                  <a:lnTo>
                    <a:pt x="526" y="425"/>
                  </a:lnTo>
                  <a:lnTo>
                    <a:pt x="524" y="450"/>
                  </a:lnTo>
                  <a:lnTo>
                    <a:pt x="523" y="450"/>
                  </a:lnTo>
                  <a:lnTo>
                    <a:pt x="521" y="450"/>
                  </a:lnTo>
                  <a:lnTo>
                    <a:pt x="520" y="450"/>
                  </a:lnTo>
                  <a:lnTo>
                    <a:pt x="517" y="450"/>
                  </a:lnTo>
                  <a:lnTo>
                    <a:pt x="515" y="450"/>
                  </a:lnTo>
                  <a:lnTo>
                    <a:pt x="515" y="452"/>
                  </a:lnTo>
                  <a:lnTo>
                    <a:pt x="517" y="455"/>
                  </a:lnTo>
                  <a:lnTo>
                    <a:pt x="520" y="458"/>
                  </a:lnTo>
                  <a:lnTo>
                    <a:pt x="524" y="461"/>
                  </a:lnTo>
                  <a:lnTo>
                    <a:pt x="526" y="464"/>
                  </a:lnTo>
                  <a:lnTo>
                    <a:pt x="526" y="465"/>
                  </a:lnTo>
                  <a:lnTo>
                    <a:pt x="526" y="465"/>
                  </a:lnTo>
                  <a:lnTo>
                    <a:pt x="526" y="465"/>
                  </a:lnTo>
                  <a:lnTo>
                    <a:pt x="524" y="465"/>
                  </a:lnTo>
                  <a:lnTo>
                    <a:pt x="523" y="465"/>
                  </a:lnTo>
                  <a:lnTo>
                    <a:pt x="523" y="465"/>
                  </a:lnTo>
                  <a:lnTo>
                    <a:pt x="514" y="480"/>
                  </a:lnTo>
                  <a:lnTo>
                    <a:pt x="460" y="483"/>
                  </a:lnTo>
                  <a:lnTo>
                    <a:pt x="460" y="481"/>
                  </a:lnTo>
                  <a:lnTo>
                    <a:pt x="461" y="478"/>
                  </a:lnTo>
                  <a:lnTo>
                    <a:pt x="462" y="475"/>
                  </a:lnTo>
                  <a:lnTo>
                    <a:pt x="463" y="469"/>
                  </a:lnTo>
                  <a:lnTo>
                    <a:pt x="466" y="465"/>
                  </a:lnTo>
                  <a:lnTo>
                    <a:pt x="469" y="459"/>
                  </a:lnTo>
                  <a:lnTo>
                    <a:pt x="472" y="455"/>
                  </a:lnTo>
                  <a:lnTo>
                    <a:pt x="478" y="450"/>
                  </a:lnTo>
                  <a:lnTo>
                    <a:pt x="481" y="447"/>
                  </a:lnTo>
                  <a:lnTo>
                    <a:pt x="482" y="442"/>
                  </a:lnTo>
                  <a:lnTo>
                    <a:pt x="481" y="438"/>
                  </a:lnTo>
                  <a:lnTo>
                    <a:pt x="478" y="434"/>
                  </a:lnTo>
                  <a:lnTo>
                    <a:pt x="475" y="431"/>
                  </a:lnTo>
                  <a:lnTo>
                    <a:pt x="470" y="428"/>
                  </a:lnTo>
                  <a:lnTo>
                    <a:pt x="468" y="426"/>
                  </a:lnTo>
                  <a:lnTo>
                    <a:pt x="465" y="426"/>
                  </a:lnTo>
                  <a:lnTo>
                    <a:pt x="463" y="428"/>
                  </a:lnTo>
                  <a:lnTo>
                    <a:pt x="461" y="428"/>
                  </a:lnTo>
                  <a:lnTo>
                    <a:pt x="455" y="428"/>
                  </a:lnTo>
                  <a:lnTo>
                    <a:pt x="448" y="428"/>
                  </a:lnTo>
                  <a:lnTo>
                    <a:pt x="440" y="429"/>
                  </a:lnTo>
                  <a:lnTo>
                    <a:pt x="430" y="429"/>
                  </a:lnTo>
                  <a:lnTo>
                    <a:pt x="419" y="429"/>
                  </a:lnTo>
                  <a:lnTo>
                    <a:pt x="407" y="431"/>
                  </a:lnTo>
                  <a:lnTo>
                    <a:pt x="395" y="431"/>
                  </a:lnTo>
                  <a:lnTo>
                    <a:pt x="380" y="432"/>
                  </a:lnTo>
                  <a:lnTo>
                    <a:pt x="366" y="432"/>
                  </a:lnTo>
                  <a:lnTo>
                    <a:pt x="350" y="432"/>
                  </a:lnTo>
                  <a:lnTo>
                    <a:pt x="334" y="434"/>
                  </a:lnTo>
                  <a:lnTo>
                    <a:pt x="319" y="434"/>
                  </a:lnTo>
                  <a:lnTo>
                    <a:pt x="301" y="435"/>
                  </a:lnTo>
                  <a:lnTo>
                    <a:pt x="286" y="435"/>
                  </a:lnTo>
                  <a:lnTo>
                    <a:pt x="268" y="436"/>
                  </a:lnTo>
                  <a:lnTo>
                    <a:pt x="251" y="436"/>
                  </a:lnTo>
                  <a:lnTo>
                    <a:pt x="235" y="438"/>
                  </a:lnTo>
                  <a:lnTo>
                    <a:pt x="220" y="438"/>
                  </a:lnTo>
                  <a:lnTo>
                    <a:pt x="203" y="439"/>
                  </a:lnTo>
                  <a:lnTo>
                    <a:pt x="188" y="439"/>
                  </a:lnTo>
                  <a:lnTo>
                    <a:pt x="173" y="441"/>
                  </a:lnTo>
                  <a:lnTo>
                    <a:pt x="161" y="441"/>
                  </a:lnTo>
                  <a:lnTo>
                    <a:pt x="148" y="441"/>
                  </a:lnTo>
                  <a:lnTo>
                    <a:pt x="137" y="442"/>
                  </a:lnTo>
                  <a:lnTo>
                    <a:pt x="127" y="442"/>
                  </a:lnTo>
                  <a:lnTo>
                    <a:pt x="118" y="442"/>
                  </a:lnTo>
                  <a:lnTo>
                    <a:pt x="110" y="442"/>
                  </a:lnTo>
                  <a:lnTo>
                    <a:pt x="104" y="442"/>
                  </a:lnTo>
                  <a:lnTo>
                    <a:pt x="100" y="444"/>
                  </a:lnTo>
                  <a:lnTo>
                    <a:pt x="99" y="44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8" name="Freeform 42"/>
            <p:cNvSpPr>
              <a:spLocks/>
            </p:cNvSpPr>
            <p:nvPr/>
          </p:nvSpPr>
          <p:spPr bwMode="auto">
            <a:xfrm>
              <a:off x="2247497" y="4669032"/>
              <a:ext cx="377964" cy="324763"/>
            </a:xfrm>
            <a:custGeom>
              <a:avLst/>
              <a:gdLst>
                <a:gd name="T0" fmla="*/ 98 w 563"/>
                <a:gd name="T1" fmla="*/ 441 h 484"/>
                <a:gd name="T2" fmla="*/ 98 w 563"/>
                <a:gd name="T3" fmla="*/ 426 h 484"/>
                <a:gd name="T4" fmla="*/ 98 w 563"/>
                <a:gd name="T5" fmla="*/ 406 h 484"/>
                <a:gd name="T6" fmla="*/ 98 w 563"/>
                <a:gd name="T7" fmla="*/ 392 h 484"/>
                <a:gd name="T8" fmla="*/ 82 w 563"/>
                <a:gd name="T9" fmla="*/ 159 h 484"/>
                <a:gd name="T10" fmla="*/ 56 w 563"/>
                <a:gd name="T11" fmla="*/ 123 h 484"/>
                <a:gd name="T12" fmla="*/ 70 w 563"/>
                <a:gd name="T13" fmla="*/ 96 h 484"/>
                <a:gd name="T14" fmla="*/ 66 w 563"/>
                <a:gd name="T15" fmla="*/ 86 h 484"/>
                <a:gd name="T16" fmla="*/ 52 w 563"/>
                <a:gd name="T17" fmla="*/ 84 h 484"/>
                <a:gd name="T18" fmla="*/ 23 w 563"/>
                <a:gd name="T19" fmla="*/ 47 h 484"/>
                <a:gd name="T20" fmla="*/ 8 w 563"/>
                <a:gd name="T21" fmla="*/ 26 h 484"/>
                <a:gd name="T22" fmla="*/ 2 w 563"/>
                <a:gd name="T23" fmla="*/ 14 h 484"/>
                <a:gd name="T24" fmla="*/ 322 w 563"/>
                <a:gd name="T25" fmla="*/ 0 h 484"/>
                <a:gd name="T26" fmla="*/ 329 w 563"/>
                <a:gd name="T27" fmla="*/ 8 h 484"/>
                <a:gd name="T28" fmla="*/ 341 w 563"/>
                <a:gd name="T29" fmla="*/ 24 h 484"/>
                <a:gd name="T30" fmla="*/ 341 w 563"/>
                <a:gd name="T31" fmla="*/ 26 h 484"/>
                <a:gd name="T32" fmla="*/ 340 w 563"/>
                <a:gd name="T33" fmla="*/ 38 h 484"/>
                <a:gd name="T34" fmla="*/ 341 w 563"/>
                <a:gd name="T35" fmla="*/ 65 h 484"/>
                <a:gd name="T36" fmla="*/ 361 w 563"/>
                <a:gd name="T37" fmla="*/ 98 h 484"/>
                <a:gd name="T38" fmla="*/ 389 w 563"/>
                <a:gd name="T39" fmla="*/ 124 h 484"/>
                <a:gd name="T40" fmla="*/ 402 w 563"/>
                <a:gd name="T41" fmla="*/ 131 h 484"/>
                <a:gd name="T42" fmla="*/ 410 w 563"/>
                <a:gd name="T43" fmla="*/ 160 h 484"/>
                <a:gd name="T44" fmla="*/ 415 w 563"/>
                <a:gd name="T45" fmla="*/ 176 h 484"/>
                <a:gd name="T46" fmla="*/ 428 w 563"/>
                <a:gd name="T47" fmla="*/ 171 h 484"/>
                <a:gd name="T48" fmla="*/ 437 w 563"/>
                <a:gd name="T49" fmla="*/ 167 h 484"/>
                <a:gd name="T50" fmla="*/ 455 w 563"/>
                <a:gd name="T51" fmla="*/ 179 h 484"/>
                <a:gd name="T52" fmla="*/ 458 w 563"/>
                <a:gd name="T53" fmla="*/ 187 h 484"/>
                <a:gd name="T54" fmla="*/ 451 w 563"/>
                <a:gd name="T55" fmla="*/ 213 h 484"/>
                <a:gd name="T56" fmla="*/ 448 w 563"/>
                <a:gd name="T57" fmla="*/ 223 h 484"/>
                <a:gd name="T58" fmla="*/ 443 w 563"/>
                <a:gd name="T59" fmla="*/ 239 h 484"/>
                <a:gd name="T60" fmla="*/ 468 w 563"/>
                <a:gd name="T61" fmla="*/ 264 h 484"/>
                <a:gd name="T62" fmla="*/ 476 w 563"/>
                <a:gd name="T63" fmla="*/ 269 h 484"/>
                <a:gd name="T64" fmla="*/ 479 w 563"/>
                <a:gd name="T65" fmla="*/ 272 h 484"/>
                <a:gd name="T66" fmla="*/ 506 w 563"/>
                <a:gd name="T67" fmla="*/ 291 h 484"/>
                <a:gd name="T68" fmla="*/ 523 w 563"/>
                <a:gd name="T69" fmla="*/ 339 h 484"/>
                <a:gd name="T70" fmla="*/ 539 w 563"/>
                <a:gd name="T71" fmla="*/ 366 h 484"/>
                <a:gd name="T72" fmla="*/ 539 w 563"/>
                <a:gd name="T73" fmla="*/ 360 h 484"/>
                <a:gd name="T74" fmla="*/ 544 w 563"/>
                <a:gd name="T75" fmla="*/ 357 h 484"/>
                <a:gd name="T76" fmla="*/ 550 w 563"/>
                <a:gd name="T77" fmla="*/ 366 h 484"/>
                <a:gd name="T78" fmla="*/ 557 w 563"/>
                <a:gd name="T79" fmla="*/ 382 h 484"/>
                <a:gd name="T80" fmla="*/ 524 w 563"/>
                <a:gd name="T81" fmla="*/ 450 h 484"/>
                <a:gd name="T82" fmla="*/ 520 w 563"/>
                <a:gd name="T83" fmla="*/ 450 h 484"/>
                <a:gd name="T84" fmla="*/ 517 w 563"/>
                <a:gd name="T85" fmla="*/ 455 h 484"/>
                <a:gd name="T86" fmla="*/ 526 w 563"/>
                <a:gd name="T87" fmla="*/ 464 h 484"/>
                <a:gd name="T88" fmla="*/ 524 w 563"/>
                <a:gd name="T89" fmla="*/ 465 h 484"/>
                <a:gd name="T90" fmla="*/ 460 w 563"/>
                <a:gd name="T91" fmla="*/ 483 h 484"/>
                <a:gd name="T92" fmla="*/ 462 w 563"/>
                <a:gd name="T93" fmla="*/ 475 h 484"/>
                <a:gd name="T94" fmla="*/ 472 w 563"/>
                <a:gd name="T95" fmla="*/ 455 h 484"/>
                <a:gd name="T96" fmla="*/ 482 w 563"/>
                <a:gd name="T97" fmla="*/ 442 h 484"/>
                <a:gd name="T98" fmla="*/ 470 w 563"/>
                <a:gd name="T99" fmla="*/ 428 h 484"/>
                <a:gd name="T100" fmla="*/ 463 w 563"/>
                <a:gd name="T101" fmla="*/ 428 h 484"/>
                <a:gd name="T102" fmla="*/ 440 w 563"/>
                <a:gd name="T103" fmla="*/ 429 h 484"/>
                <a:gd name="T104" fmla="*/ 395 w 563"/>
                <a:gd name="T105" fmla="*/ 431 h 484"/>
                <a:gd name="T106" fmla="*/ 334 w 563"/>
                <a:gd name="T107" fmla="*/ 434 h 484"/>
                <a:gd name="T108" fmla="*/ 268 w 563"/>
                <a:gd name="T109" fmla="*/ 436 h 484"/>
                <a:gd name="T110" fmla="*/ 203 w 563"/>
                <a:gd name="T111" fmla="*/ 439 h 484"/>
                <a:gd name="T112" fmla="*/ 148 w 563"/>
                <a:gd name="T113" fmla="*/ 441 h 484"/>
                <a:gd name="T114" fmla="*/ 110 w 563"/>
                <a:gd name="T115" fmla="*/ 442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63" h="484">
                  <a:moveTo>
                    <a:pt x="99" y="444"/>
                  </a:moveTo>
                  <a:lnTo>
                    <a:pt x="99" y="444"/>
                  </a:lnTo>
                  <a:lnTo>
                    <a:pt x="99" y="442"/>
                  </a:lnTo>
                  <a:lnTo>
                    <a:pt x="98" y="441"/>
                  </a:lnTo>
                  <a:lnTo>
                    <a:pt x="98" y="438"/>
                  </a:lnTo>
                  <a:lnTo>
                    <a:pt x="98" y="435"/>
                  </a:lnTo>
                  <a:lnTo>
                    <a:pt x="98" y="431"/>
                  </a:lnTo>
                  <a:lnTo>
                    <a:pt x="98" y="426"/>
                  </a:lnTo>
                  <a:lnTo>
                    <a:pt x="98" y="420"/>
                  </a:lnTo>
                  <a:lnTo>
                    <a:pt x="98" y="417"/>
                  </a:lnTo>
                  <a:lnTo>
                    <a:pt x="98" y="412"/>
                  </a:lnTo>
                  <a:lnTo>
                    <a:pt x="98" y="406"/>
                  </a:lnTo>
                  <a:lnTo>
                    <a:pt x="98" y="402"/>
                  </a:lnTo>
                  <a:lnTo>
                    <a:pt x="98" y="398"/>
                  </a:lnTo>
                  <a:lnTo>
                    <a:pt x="98" y="395"/>
                  </a:lnTo>
                  <a:lnTo>
                    <a:pt x="98" y="392"/>
                  </a:lnTo>
                  <a:lnTo>
                    <a:pt x="98" y="390"/>
                  </a:lnTo>
                  <a:lnTo>
                    <a:pt x="98" y="389"/>
                  </a:lnTo>
                  <a:lnTo>
                    <a:pt x="96" y="159"/>
                  </a:lnTo>
                  <a:lnTo>
                    <a:pt x="82" y="159"/>
                  </a:lnTo>
                  <a:lnTo>
                    <a:pt x="71" y="147"/>
                  </a:lnTo>
                  <a:lnTo>
                    <a:pt x="70" y="137"/>
                  </a:lnTo>
                  <a:lnTo>
                    <a:pt x="67" y="131"/>
                  </a:lnTo>
                  <a:lnTo>
                    <a:pt x="56" y="123"/>
                  </a:lnTo>
                  <a:lnTo>
                    <a:pt x="56" y="116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70" y="96"/>
                  </a:lnTo>
                  <a:lnTo>
                    <a:pt x="71" y="91"/>
                  </a:lnTo>
                  <a:lnTo>
                    <a:pt x="70" y="88"/>
                  </a:lnTo>
                  <a:lnTo>
                    <a:pt x="68" y="87"/>
                  </a:lnTo>
                  <a:lnTo>
                    <a:pt x="66" y="86"/>
                  </a:lnTo>
                  <a:lnTo>
                    <a:pt x="63" y="84"/>
                  </a:lnTo>
                  <a:lnTo>
                    <a:pt x="62" y="84"/>
                  </a:lnTo>
                  <a:lnTo>
                    <a:pt x="60" y="83"/>
                  </a:lnTo>
                  <a:lnTo>
                    <a:pt x="52" y="84"/>
                  </a:lnTo>
                  <a:lnTo>
                    <a:pt x="41" y="75"/>
                  </a:lnTo>
                  <a:lnTo>
                    <a:pt x="32" y="69"/>
                  </a:lnTo>
                  <a:lnTo>
                    <a:pt x="33" y="71"/>
                  </a:lnTo>
                  <a:lnTo>
                    <a:pt x="23" y="47"/>
                  </a:lnTo>
                  <a:lnTo>
                    <a:pt x="11" y="36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6"/>
                  </a:lnTo>
                  <a:lnTo>
                    <a:pt x="7" y="24"/>
                  </a:lnTo>
                  <a:lnTo>
                    <a:pt x="5" y="21"/>
                  </a:lnTo>
                  <a:lnTo>
                    <a:pt x="4" y="18"/>
                  </a:lnTo>
                  <a:lnTo>
                    <a:pt x="2" y="14"/>
                  </a:lnTo>
                  <a:lnTo>
                    <a:pt x="1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3" y="0"/>
                  </a:lnTo>
                  <a:lnTo>
                    <a:pt x="325" y="3"/>
                  </a:lnTo>
                  <a:lnTo>
                    <a:pt x="329" y="8"/>
                  </a:lnTo>
                  <a:lnTo>
                    <a:pt x="331" y="12"/>
                  </a:lnTo>
                  <a:lnTo>
                    <a:pt x="335" y="17"/>
                  </a:lnTo>
                  <a:lnTo>
                    <a:pt x="340" y="21"/>
                  </a:lnTo>
                  <a:lnTo>
                    <a:pt x="341" y="24"/>
                  </a:lnTo>
                  <a:lnTo>
                    <a:pt x="343" y="24"/>
                  </a:lnTo>
                  <a:lnTo>
                    <a:pt x="343" y="24"/>
                  </a:lnTo>
                  <a:lnTo>
                    <a:pt x="343" y="24"/>
                  </a:lnTo>
                  <a:lnTo>
                    <a:pt x="341" y="26"/>
                  </a:lnTo>
                  <a:lnTo>
                    <a:pt x="341" y="27"/>
                  </a:lnTo>
                  <a:lnTo>
                    <a:pt x="341" y="30"/>
                  </a:lnTo>
                  <a:lnTo>
                    <a:pt x="340" y="33"/>
                  </a:lnTo>
                  <a:lnTo>
                    <a:pt x="340" y="38"/>
                  </a:lnTo>
                  <a:lnTo>
                    <a:pt x="338" y="44"/>
                  </a:lnTo>
                  <a:lnTo>
                    <a:pt x="340" y="51"/>
                  </a:lnTo>
                  <a:lnTo>
                    <a:pt x="340" y="58"/>
                  </a:lnTo>
                  <a:lnTo>
                    <a:pt x="341" y="65"/>
                  </a:lnTo>
                  <a:lnTo>
                    <a:pt x="344" y="74"/>
                  </a:lnTo>
                  <a:lnTo>
                    <a:pt x="349" y="81"/>
                  </a:lnTo>
                  <a:lnTo>
                    <a:pt x="353" y="90"/>
                  </a:lnTo>
                  <a:lnTo>
                    <a:pt x="361" y="98"/>
                  </a:lnTo>
                  <a:lnTo>
                    <a:pt x="367" y="107"/>
                  </a:lnTo>
                  <a:lnTo>
                    <a:pt x="377" y="116"/>
                  </a:lnTo>
                  <a:lnTo>
                    <a:pt x="389" y="124"/>
                  </a:lnTo>
                  <a:lnTo>
                    <a:pt x="389" y="124"/>
                  </a:lnTo>
                  <a:lnTo>
                    <a:pt x="392" y="126"/>
                  </a:lnTo>
                  <a:lnTo>
                    <a:pt x="396" y="127"/>
                  </a:lnTo>
                  <a:lnTo>
                    <a:pt x="399" y="128"/>
                  </a:lnTo>
                  <a:lnTo>
                    <a:pt x="402" y="131"/>
                  </a:lnTo>
                  <a:lnTo>
                    <a:pt x="404" y="134"/>
                  </a:lnTo>
                  <a:lnTo>
                    <a:pt x="407" y="140"/>
                  </a:lnTo>
                  <a:lnTo>
                    <a:pt x="409" y="149"/>
                  </a:lnTo>
                  <a:lnTo>
                    <a:pt x="410" y="160"/>
                  </a:lnTo>
                  <a:lnTo>
                    <a:pt x="410" y="160"/>
                  </a:lnTo>
                  <a:lnTo>
                    <a:pt x="410" y="167"/>
                  </a:lnTo>
                  <a:lnTo>
                    <a:pt x="413" y="173"/>
                  </a:lnTo>
                  <a:lnTo>
                    <a:pt x="415" y="176"/>
                  </a:lnTo>
                  <a:lnTo>
                    <a:pt x="418" y="177"/>
                  </a:lnTo>
                  <a:lnTo>
                    <a:pt x="421" y="177"/>
                  </a:lnTo>
                  <a:lnTo>
                    <a:pt x="425" y="174"/>
                  </a:lnTo>
                  <a:lnTo>
                    <a:pt x="428" y="171"/>
                  </a:lnTo>
                  <a:lnTo>
                    <a:pt x="430" y="168"/>
                  </a:lnTo>
                  <a:lnTo>
                    <a:pt x="430" y="168"/>
                  </a:lnTo>
                  <a:lnTo>
                    <a:pt x="433" y="167"/>
                  </a:lnTo>
                  <a:lnTo>
                    <a:pt x="437" y="167"/>
                  </a:lnTo>
                  <a:lnTo>
                    <a:pt x="442" y="168"/>
                  </a:lnTo>
                  <a:lnTo>
                    <a:pt x="448" y="171"/>
                  </a:lnTo>
                  <a:lnTo>
                    <a:pt x="452" y="174"/>
                  </a:lnTo>
                  <a:lnTo>
                    <a:pt x="455" y="179"/>
                  </a:lnTo>
                  <a:lnTo>
                    <a:pt x="458" y="182"/>
                  </a:lnTo>
                  <a:lnTo>
                    <a:pt x="458" y="184"/>
                  </a:lnTo>
                  <a:lnTo>
                    <a:pt x="458" y="184"/>
                  </a:lnTo>
                  <a:lnTo>
                    <a:pt x="458" y="187"/>
                  </a:lnTo>
                  <a:lnTo>
                    <a:pt x="455" y="193"/>
                  </a:lnTo>
                  <a:lnTo>
                    <a:pt x="454" y="198"/>
                  </a:lnTo>
                  <a:lnTo>
                    <a:pt x="452" y="206"/>
                  </a:lnTo>
                  <a:lnTo>
                    <a:pt x="451" y="213"/>
                  </a:lnTo>
                  <a:lnTo>
                    <a:pt x="449" y="219"/>
                  </a:lnTo>
                  <a:lnTo>
                    <a:pt x="448" y="222"/>
                  </a:lnTo>
                  <a:lnTo>
                    <a:pt x="448" y="223"/>
                  </a:lnTo>
                  <a:lnTo>
                    <a:pt x="448" y="223"/>
                  </a:lnTo>
                  <a:lnTo>
                    <a:pt x="446" y="225"/>
                  </a:lnTo>
                  <a:lnTo>
                    <a:pt x="445" y="227"/>
                  </a:lnTo>
                  <a:lnTo>
                    <a:pt x="443" y="233"/>
                  </a:lnTo>
                  <a:lnTo>
                    <a:pt x="443" y="239"/>
                  </a:lnTo>
                  <a:lnTo>
                    <a:pt x="445" y="245"/>
                  </a:lnTo>
                  <a:lnTo>
                    <a:pt x="448" y="252"/>
                  </a:lnTo>
                  <a:lnTo>
                    <a:pt x="457" y="258"/>
                  </a:lnTo>
                  <a:lnTo>
                    <a:pt x="468" y="264"/>
                  </a:lnTo>
                  <a:lnTo>
                    <a:pt x="468" y="264"/>
                  </a:lnTo>
                  <a:lnTo>
                    <a:pt x="470" y="266"/>
                  </a:lnTo>
                  <a:lnTo>
                    <a:pt x="473" y="267"/>
                  </a:lnTo>
                  <a:lnTo>
                    <a:pt x="476" y="269"/>
                  </a:lnTo>
                  <a:lnTo>
                    <a:pt x="478" y="270"/>
                  </a:lnTo>
                  <a:lnTo>
                    <a:pt x="478" y="270"/>
                  </a:lnTo>
                  <a:lnTo>
                    <a:pt x="479" y="272"/>
                  </a:lnTo>
                  <a:lnTo>
                    <a:pt x="479" y="272"/>
                  </a:lnTo>
                  <a:lnTo>
                    <a:pt x="479" y="272"/>
                  </a:lnTo>
                  <a:lnTo>
                    <a:pt x="479" y="279"/>
                  </a:lnTo>
                  <a:lnTo>
                    <a:pt x="494" y="279"/>
                  </a:lnTo>
                  <a:lnTo>
                    <a:pt x="506" y="291"/>
                  </a:lnTo>
                  <a:lnTo>
                    <a:pt x="520" y="296"/>
                  </a:lnTo>
                  <a:lnTo>
                    <a:pt x="521" y="315"/>
                  </a:lnTo>
                  <a:lnTo>
                    <a:pt x="527" y="324"/>
                  </a:lnTo>
                  <a:lnTo>
                    <a:pt x="523" y="339"/>
                  </a:lnTo>
                  <a:lnTo>
                    <a:pt x="523" y="346"/>
                  </a:lnTo>
                  <a:lnTo>
                    <a:pt x="531" y="354"/>
                  </a:lnTo>
                  <a:lnTo>
                    <a:pt x="534" y="362"/>
                  </a:lnTo>
                  <a:lnTo>
                    <a:pt x="539" y="366"/>
                  </a:lnTo>
                  <a:lnTo>
                    <a:pt x="539" y="366"/>
                  </a:lnTo>
                  <a:lnTo>
                    <a:pt x="539" y="366"/>
                  </a:lnTo>
                  <a:lnTo>
                    <a:pt x="539" y="363"/>
                  </a:lnTo>
                  <a:lnTo>
                    <a:pt x="539" y="360"/>
                  </a:lnTo>
                  <a:lnTo>
                    <a:pt x="539" y="357"/>
                  </a:lnTo>
                  <a:lnTo>
                    <a:pt x="539" y="356"/>
                  </a:lnTo>
                  <a:lnTo>
                    <a:pt x="541" y="356"/>
                  </a:lnTo>
                  <a:lnTo>
                    <a:pt x="544" y="357"/>
                  </a:lnTo>
                  <a:lnTo>
                    <a:pt x="545" y="362"/>
                  </a:lnTo>
                  <a:lnTo>
                    <a:pt x="545" y="362"/>
                  </a:lnTo>
                  <a:lnTo>
                    <a:pt x="547" y="363"/>
                  </a:lnTo>
                  <a:lnTo>
                    <a:pt x="550" y="366"/>
                  </a:lnTo>
                  <a:lnTo>
                    <a:pt x="553" y="368"/>
                  </a:lnTo>
                  <a:lnTo>
                    <a:pt x="554" y="369"/>
                  </a:lnTo>
                  <a:lnTo>
                    <a:pt x="562" y="375"/>
                  </a:lnTo>
                  <a:lnTo>
                    <a:pt x="557" y="382"/>
                  </a:lnTo>
                  <a:lnTo>
                    <a:pt x="557" y="412"/>
                  </a:lnTo>
                  <a:lnTo>
                    <a:pt x="541" y="414"/>
                  </a:lnTo>
                  <a:lnTo>
                    <a:pt x="526" y="425"/>
                  </a:lnTo>
                  <a:lnTo>
                    <a:pt x="524" y="450"/>
                  </a:lnTo>
                  <a:lnTo>
                    <a:pt x="524" y="450"/>
                  </a:lnTo>
                  <a:lnTo>
                    <a:pt x="523" y="450"/>
                  </a:lnTo>
                  <a:lnTo>
                    <a:pt x="521" y="450"/>
                  </a:lnTo>
                  <a:lnTo>
                    <a:pt x="520" y="450"/>
                  </a:lnTo>
                  <a:lnTo>
                    <a:pt x="517" y="450"/>
                  </a:lnTo>
                  <a:lnTo>
                    <a:pt x="515" y="450"/>
                  </a:lnTo>
                  <a:lnTo>
                    <a:pt x="515" y="452"/>
                  </a:lnTo>
                  <a:lnTo>
                    <a:pt x="517" y="455"/>
                  </a:lnTo>
                  <a:lnTo>
                    <a:pt x="520" y="458"/>
                  </a:lnTo>
                  <a:lnTo>
                    <a:pt x="520" y="458"/>
                  </a:lnTo>
                  <a:lnTo>
                    <a:pt x="524" y="461"/>
                  </a:lnTo>
                  <a:lnTo>
                    <a:pt x="526" y="464"/>
                  </a:lnTo>
                  <a:lnTo>
                    <a:pt x="526" y="465"/>
                  </a:lnTo>
                  <a:lnTo>
                    <a:pt x="526" y="465"/>
                  </a:lnTo>
                  <a:lnTo>
                    <a:pt x="526" y="465"/>
                  </a:lnTo>
                  <a:lnTo>
                    <a:pt x="524" y="465"/>
                  </a:lnTo>
                  <a:lnTo>
                    <a:pt x="523" y="465"/>
                  </a:lnTo>
                  <a:lnTo>
                    <a:pt x="523" y="465"/>
                  </a:lnTo>
                  <a:lnTo>
                    <a:pt x="514" y="480"/>
                  </a:lnTo>
                  <a:lnTo>
                    <a:pt x="460" y="483"/>
                  </a:lnTo>
                  <a:lnTo>
                    <a:pt x="460" y="483"/>
                  </a:lnTo>
                  <a:lnTo>
                    <a:pt x="460" y="481"/>
                  </a:lnTo>
                  <a:lnTo>
                    <a:pt x="461" y="478"/>
                  </a:lnTo>
                  <a:lnTo>
                    <a:pt x="462" y="475"/>
                  </a:lnTo>
                  <a:lnTo>
                    <a:pt x="463" y="469"/>
                  </a:lnTo>
                  <a:lnTo>
                    <a:pt x="466" y="465"/>
                  </a:lnTo>
                  <a:lnTo>
                    <a:pt x="469" y="459"/>
                  </a:lnTo>
                  <a:lnTo>
                    <a:pt x="472" y="455"/>
                  </a:lnTo>
                  <a:lnTo>
                    <a:pt x="478" y="450"/>
                  </a:lnTo>
                  <a:lnTo>
                    <a:pt x="478" y="450"/>
                  </a:lnTo>
                  <a:lnTo>
                    <a:pt x="481" y="447"/>
                  </a:lnTo>
                  <a:lnTo>
                    <a:pt x="482" y="442"/>
                  </a:lnTo>
                  <a:lnTo>
                    <a:pt x="481" y="438"/>
                  </a:lnTo>
                  <a:lnTo>
                    <a:pt x="478" y="434"/>
                  </a:lnTo>
                  <a:lnTo>
                    <a:pt x="475" y="431"/>
                  </a:lnTo>
                  <a:lnTo>
                    <a:pt x="470" y="428"/>
                  </a:lnTo>
                  <a:lnTo>
                    <a:pt x="468" y="426"/>
                  </a:lnTo>
                  <a:lnTo>
                    <a:pt x="465" y="426"/>
                  </a:lnTo>
                  <a:lnTo>
                    <a:pt x="465" y="426"/>
                  </a:lnTo>
                  <a:lnTo>
                    <a:pt x="463" y="428"/>
                  </a:lnTo>
                  <a:lnTo>
                    <a:pt x="461" y="428"/>
                  </a:lnTo>
                  <a:lnTo>
                    <a:pt x="455" y="428"/>
                  </a:lnTo>
                  <a:lnTo>
                    <a:pt x="448" y="428"/>
                  </a:lnTo>
                  <a:lnTo>
                    <a:pt x="440" y="429"/>
                  </a:lnTo>
                  <a:lnTo>
                    <a:pt x="430" y="429"/>
                  </a:lnTo>
                  <a:lnTo>
                    <a:pt x="419" y="429"/>
                  </a:lnTo>
                  <a:lnTo>
                    <a:pt x="407" y="431"/>
                  </a:lnTo>
                  <a:lnTo>
                    <a:pt x="395" y="431"/>
                  </a:lnTo>
                  <a:lnTo>
                    <a:pt x="380" y="432"/>
                  </a:lnTo>
                  <a:lnTo>
                    <a:pt x="366" y="432"/>
                  </a:lnTo>
                  <a:lnTo>
                    <a:pt x="350" y="432"/>
                  </a:lnTo>
                  <a:lnTo>
                    <a:pt x="334" y="434"/>
                  </a:lnTo>
                  <a:lnTo>
                    <a:pt x="319" y="434"/>
                  </a:lnTo>
                  <a:lnTo>
                    <a:pt x="301" y="435"/>
                  </a:lnTo>
                  <a:lnTo>
                    <a:pt x="286" y="435"/>
                  </a:lnTo>
                  <a:lnTo>
                    <a:pt x="268" y="436"/>
                  </a:lnTo>
                  <a:lnTo>
                    <a:pt x="251" y="436"/>
                  </a:lnTo>
                  <a:lnTo>
                    <a:pt x="235" y="438"/>
                  </a:lnTo>
                  <a:lnTo>
                    <a:pt x="220" y="438"/>
                  </a:lnTo>
                  <a:lnTo>
                    <a:pt x="203" y="439"/>
                  </a:lnTo>
                  <a:lnTo>
                    <a:pt x="188" y="439"/>
                  </a:lnTo>
                  <a:lnTo>
                    <a:pt x="173" y="441"/>
                  </a:lnTo>
                  <a:lnTo>
                    <a:pt x="161" y="441"/>
                  </a:lnTo>
                  <a:lnTo>
                    <a:pt x="148" y="441"/>
                  </a:lnTo>
                  <a:lnTo>
                    <a:pt x="137" y="442"/>
                  </a:lnTo>
                  <a:lnTo>
                    <a:pt x="127" y="442"/>
                  </a:lnTo>
                  <a:lnTo>
                    <a:pt x="118" y="442"/>
                  </a:lnTo>
                  <a:lnTo>
                    <a:pt x="110" y="442"/>
                  </a:lnTo>
                  <a:lnTo>
                    <a:pt x="104" y="442"/>
                  </a:lnTo>
                  <a:lnTo>
                    <a:pt x="100" y="444"/>
                  </a:lnTo>
                  <a:lnTo>
                    <a:pt x="99" y="44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9" name="Freeform 43"/>
            <p:cNvSpPr>
              <a:spLocks/>
            </p:cNvSpPr>
            <p:nvPr/>
          </p:nvSpPr>
          <p:spPr bwMode="auto">
            <a:xfrm>
              <a:off x="2313807" y="4954674"/>
              <a:ext cx="281514" cy="257699"/>
            </a:xfrm>
            <a:custGeom>
              <a:avLst/>
              <a:gdLst>
                <a:gd name="T0" fmla="*/ 307 w 419"/>
                <a:gd name="T1" fmla="*/ 374 h 384"/>
                <a:gd name="T2" fmla="*/ 308 w 419"/>
                <a:gd name="T3" fmla="*/ 365 h 384"/>
                <a:gd name="T4" fmla="*/ 310 w 419"/>
                <a:gd name="T5" fmla="*/ 360 h 384"/>
                <a:gd name="T6" fmla="*/ 314 w 419"/>
                <a:gd name="T7" fmla="*/ 356 h 384"/>
                <a:gd name="T8" fmla="*/ 313 w 419"/>
                <a:gd name="T9" fmla="*/ 351 h 384"/>
                <a:gd name="T10" fmla="*/ 307 w 419"/>
                <a:gd name="T11" fmla="*/ 332 h 384"/>
                <a:gd name="T12" fmla="*/ 301 w 419"/>
                <a:gd name="T13" fmla="*/ 312 h 384"/>
                <a:gd name="T14" fmla="*/ 304 w 419"/>
                <a:gd name="T15" fmla="*/ 306 h 384"/>
                <a:gd name="T16" fmla="*/ 313 w 419"/>
                <a:gd name="T17" fmla="*/ 302 h 384"/>
                <a:gd name="T18" fmla="*/ 313 w 419"/>
                <a:gd name="T19" fmla="*/ 297 h 384"/>
                <a:gd name="T20" fmla="*/ 308 w 419"/>
                <a:gd name="T21" fmla="*/ 296 h 384"/>
                <a:gd name="T22" fmla="*/ 308 w 419"/>
                <a:gd name="T23" fmla="*/ 293 h 384"/>
                <a:gd name="T24" fmla="*/ 313 w 419"/>
                <a:gd name="T25" fmla="*/ 287 h 384"/>
                <a:gd name="T26" fmla="*/ 314 w 419"/>
                <a:gd name="T27" fmla="*/ 284 h 384"/>
                <a:gd name="T28" fmla="*/ 311 w 419"/>
                <a:gd name="T29" fmla="*/ 276 h 384"/>
                <a:gd name="T30" fmla="*/ 313 w 419"/>
                <a:gd name="T31" fmla="*/ 270 h 384"/>
                <a:gd name="T32" fmla="*/ 320 w 419"/>
                <a:gd name="T33" fmla="*/ 267 h 384"/>
                <a:gd name="T34" fmla="*/ 322 w 419"/>
                <a:gd name="T35" fmla="*/ 261 h 384"/>
                <a:gd name="T36" fmla="*/ 321 w 419"/>
                <a:gd name="T37" fmla="*/ 257 h 384"/>
                <a:gd name="T38" fmla="*/ 328 w 419"/>
                <a:gd name="T39" fmla="*/ 242 h 384"/>
                <a:gd name="T40" fmla="*/ 353 w 419"/>
                <a:gd name="T41" fmla="*/ 222 h 384"/>
                <a:gd name="T42" fmla="*/ 374 w 419"/>
                <a:gd name="T43" fmla="*/ 173 h 384"/>
                <a:gd name="T44" fmla="*/ 376 w 419"/>
                <a:gd name="T45" fmla="*/ 170 h 384"/>
                <a:gd name="T46" fmla="*/ 377 w 419"/>
                <a:gd name="T47" fmla="*/ 164 h 384"/>
                <a:gd name="T48" fmla="*/ 373 w 419"/>
                <a:gd name="T49" fmla="*/ 163 h 384"/>
                <a:gd name="T50" fmla="*/ 374 w 419"/>
                <a:gd name="T51" fmla="*/ 159 h 384"/>
                <a:gd name="T52" fmla="*/ 382 w 419"/>
                <a:gd name="T53" fmla="*/ 153 h 384"/>
                <a:gd name="T54" fmla="*/ 388 w 419"/>
                <a:gd name="T55" fmla="*/ 141 h 384"/>
                <a:gd name="T56" fmla="*/ 387 w 419"/>
                <a:gd name="T57" fmla="*/ 130 h 384"/>
                <a:gd name="T58" fmla="*/ 385 w 419"/>
                <a:gd name="T59" fmla="*/ 126 h 384"/>
                <a:gd name="T60" fmla="*/ 390 w 419"/>
                <a:gd name="T61" fmla="*/ 113 h 384"/>
                <a:gd name="T62" fmla="*/ 396 w 419"/>
                <a:gd name="T63" fmla="*/ 105 h 384"/>
                <a:gd name="T64" fmla="*/ 400 w 419"/>
                <a:gd name="T65" fmla="*/ 101 h 384"/>
                <a:gd name="T66" fmla="*/ 406 w 419"/>
                <a:gd name="T67" fmla="*/ 90 h 384"/>
                <a:gd name="T68" fmla="*/ 399 w 419"/>
                <a:gd name="T69" fmla="*/ 86 h 384"/>
                <a:gd name="T70" fmla="*/ 397 w 419"/>
                <a:gd name="T71" fmla="*/ 86 h 384"/>
                <a:gd name="T72" fmla="*/ 402 w 419"/>
                <a:gd name="T73" fmla="*/ 81 h 384"/>
                <a:gd name="T74" fmla="*/ 407 w 419"/>
                <a:gd name="T75" fmla="*/ 75 h 384"/>
                <a:gd name="T76" fmla="*/ 416 w 419"/>
                <a:gd name="T77" fmla="*/ 64 h 384"/>
                <a:gd name="T78" fmla="*/ 418 w 419"/>
                <a:gd name="T79" fmla="*/ 56 h 384"/>
                <a:gd name="T80" fmla="*/ 415 w 419"/>
                <a:gd name="T81" fmla="*/ 53 h 384"/>
                <a:gd name="T82" fmla="*/ 360 w 419"/>
                <a:gd name="T83" fmla="*/ 54 h 384"/>
                <a:gd name="T84" fmla="*/ 364 w 419"/>
                <a:gd name="T85" fmla="*/ 42 h 384"/>
                <a:gd name="T86" fmla="*/ 373 w 419"/>
                <a:gd name="T87" fmla="*/ 29 h 384"/>
                <a:gd name="T88" fmla="*/ 383 w 419"/>
                <a:gd name="T89" fmla="*/ 15 h 384"/>
                <a:gd name="T90" fmla="*/ 376 w 419"/>
                <a:gd name="T91" fmla="*/ 4 h 384"/>
                <a:gd name="T92" fmla="*/ 366 w 419"/>
                <a:gd name="T93" fmla="*/ 0 h 384"/>
                <a:gd name="T94" fmla="*/ 355 w 419"/>
                <a:gd name="T95" fmla="*/ 1 h 384"/>
                <a:gd name="T96" fmla="*/ 331 w 419"/>
                <a:gd name="T97" fmla="*/ 2 h 384"/>
                <a:gd name="T98" fmla="*/ 295 w 419"/>
                <a:gd name="T99" fmla="*/ 4 h 384"/>
                <a:gd name="T100" fmla="*/ 251 w 419"/>
                <a:gd name="T101" fmla="*/ 5 h 384"/>
                <a:gd name="T102" fmla="*/ 202 w 419"/>
                <a:gd name="T103" fmla="*/ 8 h 384"/>
                <a:gd name="T104" fmla="*/ 152 w 419"/>
                <a:gd name="T105" fmla="*/ 9 h 384"/>
                <a:gd name="T106" fmla="*/ 104 w 419"/>
                <a:gd name="T107" fmla="*/ 12 h 384"/>
                <a:gd name="T108" fmla="*/ 62 w 419"/>
                <a:gd name="T109" fmla="*/ 14 h 384"/>
                <a:gd name="T110" fmla="*/ 28 w 419"/>
                <a:gd name="T111" fmla="*/ 15 h 384"/>
                <a:gd name="T112" fmla="*/ 5 w 419"/>
                <a:gd name="T113" fmla="*/ 15 h 384"/>
                <a:gd name="T114" fmla="*/ 17 w 419"/>
                <a:gd name="T115" fmla="*/ 134 h 384"/>
                <a:gd name="T116" fmla="*/ 25 w 419"/>
                <a:gd name="T117" fmla="*/ 329 h 384"/>
                <a:gd name="T118" fmla="*/ 55 w 419"/>
                <a:gd name="T119" fmla="*/ 383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9" h="384">
                  <a:moveTo>
                    <a:pt x="307" y="375"/>
                  </a:moveTo>
                  <a:lnTo>
                    <a:pt x="307" y="375"/>
                  </a:lnTo>
                  <a:lnTo>
                    <a:pt x="307" y="374"/>
                  </a:lnTo>
                  <a:lnTo>
                    <a:pt x="307" y="371"/>
                  </a:lnTo>
                  <a:lnTo>
                    <a:pt x="307" y="368"/>
                  </a:lnTo>
                  <a:lnTo>
                    <a:pt x="308" y="365"/>
                  </a:lnTo>
                  <a:lnTo>
                    <a:pt x="308" y="362"/>
                  </a:lnTo>
                  <a:lnTo>
                    <a:pt x="310" y="360"/>
                  </a:lnTo>
                  <a:lnTo>
                    <a:pt x="310" y="360"/>
                  </a:lnTo>
                  <a:lnTo>
                    <a:pt x="313" y="359"/>
                  </a:lnTo>
                  <a:lnTo>
                    <a:pt x="314" y="357"/>
                  </a:lnTo>
                  <a:lnTo>
                    <a:pt x="314" y="356"/>
                  </a:lnTo>
                  <a:lnTo>
                    <a:pt x="314" y="354"/>
                  </a:lnTo>
                  <a:lnTo>
                    <a:pt x="313" y="352"/>
                  </a:lnTo>
                  <a:lnTo>
                    <a:pt x="313" y="351"/>
                  </a:lnTo>
                  <a:lnTo>
                    <a:pt x="311" y="350"/>
                  </a:lnTo>
                  <a:lnTo>
                    <a:pt x="311" y="350"/>
                  </a:lnTo>
                  <a:lnTo>
                    <a:pt x="307" y="332"/>
                  </a:lnTo>
                  <a:lnTo>
                    <a:pt x="305" y="326"/>
                  </a:lnTo>
                  <a:lnTo>
                    <a:pt x="298" y="319"/>
                  </a:lnTo>
                  <a:lnTo>
                    <a:pt x="301" y="312"/>
                  </a:lnTo>
                  <a:lnTo>
                    <a:pt x="301" y="308"/>
                  </a:lnTo>
                  <a:lnTo>
                    <a:pt x="303" y="306"/>
                  </a:lnTo>
                  <a:lnTo>
                    <a:pt x="304" y="306"/>
                  </a:lnTo>
                  <a:lnTo>
                    <a:pt x="307" y="305"/>
                  </a:lnTo>
                  <a:lnTo>
                    <a:pt x="308" y="305"/>
                  </a:lnTo>
                  <a:lnTo>
                    <a:pt x="313" y="302"/>
                  </a:lnTo>
                  <a:lnTo>
                    <a:pt x="314" y="300"/>
                  </a:lnTo>
                  <a:lnTo>
                    <a:pt x="314" y="299"/>
                  </a:lnTo>
                  <a:lnTo>
                    <a:pt x="313" y="297"/>
                  </a:lnTo>
                  <a:lnTo>
                    <a:pt x="311" y="296"/>
                  </a:lnTo>
                  <a:lnTo>
                    <a:pt x="310" y="296"/>
                  </a:lnTo>
                  <a:lnTo>
                    <a:pt x="308" y="296"/>
                  </a:lnTo>
                  <a:lnTo>
                    <a:pt x="307" y="296"/>
                  </a:lnTo>
                  <a:lnTo>
                    <a:pt x="307" y="294"/>
                  </a:lnTo>
                  <a:lnTo>
                    <a:pt x="308" y="293"/>
                  </a:lnTo>
                  <a:lnTo>
                    <a:pt x="310" y="291"/>
                  </a:lnTo>
                  <a:lnTo>
                    <a:pt x="311" y="290"/>
                  </a:lnTo>
                  <a:lnTo>
                    <a:pt x="313" y="287"/>
                  </a:lnTo>
                  <a:lnTo>
                    <a:pt x="314" y="287"/>
                  </a:lnTo>
                  <a:lnTo>
                    <a:pt x="314" y="285"/>
                  </a:lnTo>
                  <a:lnTo>
                    <a:pt x="314" y="284"/>
                  </a:lnTo>
                  <a:lnTo>
                    <a:pt x="313" y="281"/>
                  </a:lnTo>
                  <a:lnTo>
                    <a:pt x="311" y="279"/>
                  </a:lnTo>
                  <a:lnTo>
                    <a:pt x="311" y="276"/>
                  </a:lnTo>
                  <a:lnTo>
                    <a:pt x="311" y="273"/>
                  </a:lnTo>
                  <a:lnTo>
                    <a:pt x="311" y="272"/>
                  </a:lnTo>
                  <a:lnTo>
                    <a:pt x="313" y="270"/>
                  </a:lnTo>
                  <a:lnTo>
                    <a:pt x="314" y="269"/>
                  </a:lnTo>
                  <a:lnTo>
                    <a:pt x="316" y="269"/>
                  </a:lnTo>
                  <a:lnTo>
                    <a:pt x="320" y="267"/>
                  </a:lnTo>
                  <a:lnTo>
                    <a:pt x="322" y="266"/>
                  </a:lnTo>
                  <a:lnTo>
                    <a:pt x="322" y="263"/>
                  </a:lnTo>
                  <a:lnTo>
                    <a:pt x="322" y="261"/>
                  </a:lnTo>
                  <a:lnTo>
                    <a:pt x="322" y="260"/>
                  </a:lnTo>
                  <a:lnTo>
                    <a:pt x="321" y="258"/>
                  </a:lnTo>
                  <a:lnTo>
                    <a:pt x="321" y="257"/>
                  </a:lnTo>
                  <a:lnTo>
                    <a:pt x="320" y="257"/>
                  </a:lnTo>
                  <a:lnTo>
                    <a:pt x="333" y="251"/>
                  </a:lnTo>
                  <a:lnTo>
                    <a:pt x="328" y="242"/>
                  </a:lnTo>
                  <a:lnTo>
                    <a:pt x="341" y="228"/>
                  </a:lnTo>
                  <a:lnTo>
                    <a:pt x="346" y="228"/>
                  </a:lnTo>
                  <a:lnTo>
                    <a:pt x="353" y="222"/>
                  </a:lnTo>
                  <a:lnTo>
                    <a:pt x="353" y="195"/>
                  </a:lnTo>
                  <a:lnTo>
                    <a:pt x="361" y="18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1"/>
                  </a:lnTo>
                  <a:lnTo>
                    <a:pt x="376" y="170"/>
                  </a:lnTo>
                  <a:lnTo>
                    <a:pt x="376" y="167"/>
                  </a:lnTo>
                  <a:lnTo>
                    <a:pt x="376" y="165"/>
                  </a:lnTo>
                  <a:lnTo>
                    <a:pt x="377" y="164"/>
                  </a:lnTo>
                  <a:lnTo>
                    <a:pt x="377" y="163"/>
                  </a:lnTo>
                  <a:lnTo>
                    <a:pt x="377" y="163"/>
                  </a:lnTo>
                  <a:lnTo>
                    <a:pt x="373" y="163"/>
                  </a:lnTo>
                  <a:lnTo>
                    <a:pt x="371" y="161"/>
                  </a:lnTo>
                  <a:lnTo>
                    <a:pt x="371" y="160"/>
                  </a:lnTo>
                  <a:lnTo>
                    <a:pt x="374" y="159"/>
                  </a:lnTo>
                  <a:lnTo>
                    <a:pt x="377" y="156"/>
                  </a:lnTo>
                  <a:lnTo>
                    <a:pt x="379" y="155"/>
                  </a:lnTo>
                  <a:lnTo>
                    <a:pt x="382" y="153"/>
                  </a:lnTo>
                  <a:lnTo>
                    <a:pt x="383" y="153"/>
                  </a:lnTo>
                  <a:lnTo>
                    <a:pt x="387" y="147"/>
                  </a:lnTo>
                  <a:lnTo>
                    <a:pt x="388" y="141"/>
                  </a:lnTo>
                  <a:lnTo>
                    <a:pt x="390" y="137"/>
                  </a:lnTo>
                  <a:lnTo>
                    <a:pt x="388" y="133"/>
                  </a:lnTo>
                  <a:lnTo>
                    <a:pt x="387" y="130"/>
                  </a:lnTo>
                  <a:lnTo>
                    <a:pt x="385" y="128"/>
                  </a:lnTo>
                  <a:lnTo>
                    <a:pt x="385" y="126"/>
                  </a:lnTo>
                  <a:lnTo>
                    <a:pt x="385" y="126"/>
                  </a:lnTo>
                  <a:lnTo>
                    <a:pt x="388" y="116"/>
                  </a:lnTo>
                  <a:lnTo>
                    <a:pt x="388" y="114"/>
                  </a:lnTo>
                  <a:lnTo>
                    <a:pt x="390" y="113"/>
                  </a:lnTo>
                  <a:lnTo>
                    <a:pt x="391" y="111"/>
                  </a:lnTo>
                  <a:lnTo>
                    <a:pt x="393" y="108"/>
                  </a:lnTo>
                  <a:lnTo>
                    <a:pt x="396" y="105"/>
                  </a:lnTo>
                  <a:lnTo>
                    <a:pt x="397" y="102"/>
                  </a:lnTo>
                  <a:lnTo>
                    <a:pt x="399" y="101"/>
                  </a:lnTo>
                  <a:lnTo>
                    <a:pt x="400" y="101"/>
                  </a:lnTo>
                  <a:lnTo>
                    <a:pt x="405" y="95"/>
                  </a:lnTo>
                  <a:lnTo>
                    <a:pt x="406" y="92"/>
                  </a:lnTo>
                  <a:lnTo>
                    <a:pt x="406" y="90"/>
                  </a:lnTo>
                  <a:lnTo>
                    <a:pt x="405" y="87"/>
                  </a:lnTo>
                  <a:lnTo>
                    <a:pt x="402" y="87"/>
                  </a:lnTo>
                  <a:lnTo>
                    <a:pt x="399" y="86"/>
                  </a:lnTo>
                  <a:lnTo>
                    <a:pt x="397" y="86"/>
                  </a:lnTo>
                  <a:lnTo>
                    <a:pt x="397" y="86"/>
                  </a:lnTo>
                  <a:lnTo>
                    <a:pt x="397" y="86"/>
                  </a:lnTo>
                  <a:lnTo>
                    <a:pt x="399" y="84"/>
                  </a:lnTo>
                  <a:lnTo>
                    <a:pt x="400" y="83"/>
                  </a:lnTo>
                  <a:lnTo>
                    <a:pt x="402" y="81"/>
                  </a:lnTo>
                  <a:lnTo>
                    <a:pt x="405" y="78"/>
                  </a:lnTo>
                  <a:lnTo>
                    <a:pt x="406" y="77"/>
                  </a:lnTo>
                  <a:lnTo>
                    <a:pt x="407" y="75"/>
                  </a:lnTo>
                  <a:lnTo>
                    <a:pt x="409" y="74"/>
                  </a:lnTo>
                  <a:lnTo>
                    <a:pt x="413" y="68"/>
                  </a:lnTo>
                  <a:lnTo>
                    <a:pt x="416" y="64"/>
                  </a:lnTo>
                  <a:lnTo>
                    <a:pt x="418" y="62"/>
                  </a:lnTo>
                  <a:lnTo>
                    <a:pt x="418" y="59"/>
                  </a:lnTo>
                  <a:lnTo>
                    <a:pt x="418" y="56"/>
                  </a:lnTo>
                  <a:lnTo>
                    <a:pt x="416" y="54"/>
                  </a:lnTo>
                  <a:lnTo>
                    <a:pt x="415" y="53"/>
                  </a:lnTo>
                  <a:lnTo>
                    <a:pt x="415" y="53"/>
                  </a:lnTo>
                  <a:lnTo>
                    <a:pt x="415" y="53"/>
                  </a:lnTo>
                  <a:lnTo>
                    <a:pt x="360" y="56"/>
                  </a:lnTo>
                  <a:lnTo>
                    <a:pt x="360" y="54"/>
                  </a:lnTo>
                  <a:lnTo>
                    <a:pt x="361" y="51"/>
                  </a:lnTo>
                  <a:lnTo>
                    <a:pt x="363" y="48"/>
                  </a:lnTo>
                  <a:lnTo>
                    <a:pt x="364" y="42"/>
                  </a:lnTo>
                  <a:lnTo>
                    <a:pt x="367" y="38"/>
                  </a:lnTo>
                  <a:lnTo>
                    <a:pt x="370" y="32"/>
                  </a:lnTo>
                  <a:lnTo>
                    <a:pt x="373" y="29"/>
                  </a:lnTo>
                  <a:lnTo>
                    <a:pt x="379" y="24"/>
                  </a:lnTo>
                  <a:lnTo>
                    <a:pt x="382" y="20"/>
                  </a:lnTo>
                  <a:lnTo>
                    <a:pt x="383" y="15"/>
                  </a:lnTo>
                  <a:lnTo>
                    <a:pt x="382" y="11"/>
                  </a:lnTo>
                  <a:lnTo>
                    <a:pt x="379" y="7"/>
                  </a:lnTo>
                  <a:lnTo>
                    <a:pt x="376" y="4"/>
                  </a:lnTo>
                  <a:lnTo>
                    <a:pt x="371" y="1"/>
                  </a:lnTo>
                  <a:lnTo>
                    <a:pt x="369" y="0"/>
                  </a:lnTo>
                  <a:lnTo>
                    <a:pt x="366" y="0"/>
                  </a:lnTo>
                  <a:lnTo>
                    <a:pt x="364" y="1"/>
                  </a:lnTo>
                  <a:lnTo>
                    <a:pt x="361" y="1"/>
                  </a:lnTo>
                  <a:lnTo>
                    <a:pt x="355" y="1"/>
                  </a:lnTo>
                  <a:lnTo>
                    <a:pt x="349" y="1"/>
                  </a:lnTo>
                  <a:lnTo>
                    <a:pt x="341" y="2"/>
                  </a:lnTo>
                  <a:lnTo>
                    <a:pt x="331" y="2"/>
                  </a:lnTo>
                  <a:lnTo>
                    <a:pt x="320" y="2"/>
                  </a:lnTo>
                  <a:lnTo>
                    <a:pt x="308" y="4"/>
                  </a:lnTo>
                  <a:lnTo>
                    <a:pt x="295" y="4"/>
                  </a:lnTo>
                  <a:lnTo>
                    <a:pt x="281" y="5"/>
                  </a:lnTo>
                  <a:lnTo>
                    <a:pt x="267" y="5"/>
                  </a:lnTo>
                  <a:lnTo>
                    <a:pt x="251" y="5"/>
                  </a:lnTo>
                  <a:lnTo>
                    <a:pt x="235" y="7"/>
                  </a:lnTo>
                  <a:lnTo>
                    <a:pt x="220" y="7"/>
                  </a:lnTo>
                  <a:lnTo>
                    <a:pt x="202" y="8"/>
                  </a:lnTo>
                  <a:lnTo>
                    <a:pt x="187" y="8"/>
                  </a:lnTo>
                  <a:lnTo>
                    <a:pt x="169" y="9"/>
                  </a:lnTo>
                  <a:lnTo>
                    <a:pt x="152" y="9"/>
                  </a:lnTo>
                  <a:lnTo>
                    <a:pt x="136" y="11"/>
                  </a:lnTo>
                  <a:lnTo>
                    <a:pt x="121" y="11"/>
                  </a:lnTo>
                  <a:lnTo>
                    <a:pt x="104" y="12"/>
                  </a:lnTo>
                  <a:lnTo>
                    <a:pt x="89" y="12"/>
                  </a:lnTo>
                  <a:lnTo>
                    <a:pt x="74" y="14"/>
                  </a:lnTo>
                  <a:lnTo>
                    <a:pt x="62" y="14"/>
                  </a:lnTo>
                  <a:lnTo>
                    <a:pt x="49" y="14"/>
                  </a:lnTo>
                  <a:lnTo>
                    <a:pt x="38" y="15"/>
                  </a:lnTo>
                  <a:lnTo>
                    <a:pt x="28" y="15"/>
                  </a:lnTo>
                  <a:lnTo>
                    <a:pt x="19" y="15"/>
                  </a:lnTo>
                  <a:lnTo>
                    <a:pt x="11" y="15"/>
                  </a:lnTo>
                  <a:lnTo>
                    <a:pt x="5" y="15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17" y="134"/>
                  </a:lnTo>
                  <a:lnTo>
                    <a:pt x="16" y="319"/>
                  </a:lnTo>
                  <a:lnTo>
                    <a:pt x="14" y="317"/>
                  </a:lnTo>
                  <a:lnTo>
                    <a:pt x="25" y="329"/>
                  </a:lnTo>
                  <a:lnTo>
                    <a:pt x="46" y="326"/>
                  </a:lnTo>
                  <a:lnTo>
                    <a:pt x="55" y="327"/>
                  </a:lnTo>
                  <a:lnTo>
                    <a:pt x="55" y="383"/>
                  </a:lnTo>
                  <a:lnTo>
                    <a:pt x="307" y="37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0" name="Freeform 44"/>
            <p:cNvSpPr>
              <a:spLocks/>
            </p:cNvSpPr>
            <p:nvPr/>
          </p:nvSpPr>
          <p:spPr bwMode="auto">
            <a:xfrm>
              <a:off x="2313807" y="4954674"/>
              <a:ext cx="281514" cy="257699"/>
            </a:xfrm>
            <a:custGeom>
              <a:avLst/>
              <a:gdLst>
                <a:gd name="T0" fmla="*/ 307 w 419"/>
                <a:gd name="T1" fmla="*/ 374 h 384"/>
                <a:gd name="T2" fmla="*/ 308 w 419"/>
                <a:gd name="T3" fmla="*/ 362 h 384"/>
                <a:gd name="T4" fmla="*/ 313 w 419"/>
                <a:gd name="T5" fmla="*/ 359 h 384"/>
                <a:gd name="T6" fmla="*/ 313 w 419"/>
                <a:gd name="T7" fmla="*/ 352 h 384"/>
                <a:gd name="T8" fmla="*/ 307 w 419"/>
                <a:gd name="T9" fmla="*/ 332 h 384"/>
                <a:gd name="T10" fmla="*/ 301 w 419"/>
                <a:gd name="T11" fmla="*/ 308 h 384"/>
                <a:gd name="T12" fmla="*/ 307 w 419"/>
                <a:gd name="T13" fmla="*/ 305 h 384"/>
                <a:gd name="T14" fmla="*/ 314 w 419"/>
                <a:gd name="T15" fmla="*/ 300 h 384"/>
                <a:gd name="T16" fmla="*/ 310 w 419"/>
                <a:gd name="T17" fmla="*/ 296 h 384"/>
                <a:gd name="T18" fmla="*/ 307 w 419"/>
                <a:gd name="T19" fmla="*/ 294 h 384"/>
                <a:gd name="T20" fmla="*/ 313 w 419"/>
                <a:gd name="T21" fmla="*/ 287 h 384"/>
                <a:gd name="T22" fmla="*/ 314 w 419"/>
                <a:gd name="T23" fmla="*/ 284 h 384"/>
                <a:gd name="T24" fmla="*/ 311 w 419"/>
                <a:gd name="T25" fmla="*/ 273 h 384"/>
                <a:gd name="T26" fmla="*/ 316 w 419"/>
                <a:gd name="T27" fmla="*/ 269 h 384"/>
                <a:gd name="T28" fmla="*/ 322 w 419"/>
                <a:gd name="T29" fmla="*/ 263 h 384"/>
                <a:gd name="T30" fmla="*/ 321 w 419"/>
                <a:gd name="T31" fmla="*/ 257 h 384"/>
                <a:gd name="T32" fmla="*/ 341 w 419"/>
                <a:gd name="T33" fmla="*/ 228 h 384"/>
                <a:gd name="T34" fmla="*/ 361 w 419"/>
                <a:gd name="T35" fmla="*/ 183 h 384"/>
                <a:gd name="T36" fmla="*/ 374 w 419"/>
                <a:gd name="T37" fmla="*/ 171 h 384"/>
                <a:gd name="T38" fmla="*/ 377 w 419"/>
                <a:gd name="T39" fmla="*/ 164 h 384"/>
                <a:gd name="T40" fmla="*/ 373 w 419"/>
                <a:gd name="T41" fmla="*/ 163 h 384"/>
                <a:gd name="T42" fmla="*/ 377 w 419"/>
                <a:gd name="T43" fmla="*/ 156 h 384"/>
                <a:gd name="T44" fmla="*/ 383 w 419"/>
                <a:gd name="T45" fmla="*/ 153 h 384"/>
                <a:gd name="T46" fmla="*/ 388 w 419"/>
                <a:gd name="T47" fmla="*/ 133 h 384"/>
                <a:gd name="T48" fmla="*/ 385 w 419"/>
                <a:gd name="T49" fmla="*/ 126 h 384"/>
                <a:gd name="T50" fmla="*/ 390 w 419"/>
                <a:gd name="T51" fmla="*/ 113 h 384"/>
                <a:gd name="T52" fmla="*/ 397 w 419"/>
                <a:gd name="T53" fmla="*/ 102 h 384"/>
                <a:gd name="T54" fmla="*/ 405 w 419"/>
                <a:gd name="T55" fmla="*/ 95 h 384"/>
                <a:gd name="T56" fmla="*/ 402 w 419"/>
                <a:gd name="T57" fmla="*/ 87 h 384"/>
                <a:gd name="T58" fmla="*/ 397 w 419"/>
                <a:gd name="T59" fmla="*/ 86 h 384"/>
                <a:gd name="T60" fmla="*/ 402 w 419"/>
                <a:gd name="T61" fmla="*/ 81 h 384"/>
                <a:gd name="T62" fmla="*/ 409 w 419"/>
                <a:gd name="T63" fmla="*/ 74 h 384"/>
                <a:gd name="T64" fmla="*/ 418 w 419"/>
                <a:gd name="T65" fmla="*/ 62 h 384"/>
                <a:gd name="T66" fmla="*/ 415 w 419"/>
                <a:gd name="T67" fmla="*/ 53 h 384"/>
                <a:gd name="T68" fmla="*/ 360 w 419"/>
                <a:gd name="T69" fmla="*/ 56 h 384"/>
                <a:gd name="T70" fmla="*/ 364 w 419"/>
                <a:gd name="T71" fmla="*/ 42 h 384"/>
                <a:gd name="T72" fmla="*/ 379 w 419"/>
                <a:gd name="T73" fmla="*/ 24 h 384"/>
                <a:gd name="T74" fmla="*/ 382 w 419"/>
                <a:gd name="T75" fmla="*/ 11 h 384"/>
                <a:gd name="T76" fmla="*/ 369 w 419"/>
                <a:gd name="T77" fmla="*/ 0 h 384"/>
                <a:gd name="T78" fmla="*/ 361 w 419"/>
                <a:gd name="T79" fmla="*/ 1 h 384"/>
                <a:gd name="T80" fmla="*/ 331 w 419"/>
                <a:gd name="T81" fmla="*/ 2 h 384"/>
                <a:gd name="T82" fmla="*/ 281 w 419"/>
                <a:gd name="T83" fmla="*/ 5 h 384"/>
                <a:gd name="T84" fmla="*/ 220 w 419"/>
                <a:gd name="T85" fmla="*/ 7 h 384"/>
                <a:gd name="T86" fmla="*/ 152 w 419"/>
                <a:gd name="T87" fmla="*/ 9 h 384"/>
                <a:gd name="T88" fmla="*/ 89 w 419"/>
                <a:gd name="T89" fmla="*/ 12 h 384"/>
                <a:gd name="T90" fmla="*/ 38 w 419"/>
                <a:gd name="T91" fmla="*/ 15 h 384"/>
                <a:gd name="T92" fmla="*/ 5 w 419"/>
                <a:gd name="T93" fmla="*/ 15 h 384"/>
                <a:gd name="T94" fmla="*/ 16 w 419"/>
                <a:gd name="T95" fmla="*/ 319 h 384"/>
                <a:gd name="T96" fmla="*/ 55 w 419"/>
                <a:gd name="T97" fmla="*/ 327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19" h="384">
                  <a:moveTo>
                    <a:pt x="307" y="375"/>
                  </a:moveTo>
                  <a:lnTo>
                    <a:pt x="307" y="375"/>
                  </a:lnTo>
                  <a:lnTo>
                    <a:pt x="307" y="375"/>
                  </a:lnTo>
                  <a:lnTo>
                    <a:pt x="307" y="374"/>
                  </a:lnTo>
                  <a:lnTo>
                    <a:pt x="307" y="371"/>
                  </a:lnTo>
                  <a:lnTo>
                    <a:pt x="307" y="368"/>
                  </a:lnTo>
                  <a:lnTo>
                    <a:pt x="308" y="365"/>
                  </a:lnTo>
                  <a:lnTo>
                    <a:pt x="308" y="362"/>
                  </a:lnTo>
                  <a:lnTo>
                    <a:pt x="310" y="360"/>
                  </a:lnTo>
                  <a:lnTo>
                    <a:pt x="310" y="360"/>
                  </a:lnTo>
                  <a:lnTo>
                    <a:pt x="310" y="360"/>
                  </a:lnTo>
                  <a:lnTo>
                    <a:pt x="313" y="359"/>
                  </a:lnTo>
                  <a:lnTo>
                    <a:pt x="314" y="357"/>
                  </a:lnTo>
                  <a:lnTo>
                    <a:pt x="314" y="356"/>
                  </a:lnTo>
                  <a:lnTo>
                    <a:pt x="314" y="354"/>
                  </a:lnTo>
                  <a:lnTo>
                    <a:pt x="313" y="352"/>
                  </a:lnTo>
                  <a:lnTo>
                    <a:pt x="313" y="351"/>
                  </a:lnTo>
                  <a:lnTo>
                    <a:pt x="311" y="350"/>
                  </a:lnTo>
                  <a:lnTo>
                    <a:pt x="311" y="350"/>
                  </a:lnTo>
                  <a:lnTo>
                    <a:pt x="307" y="332"/>
                  </a:lnTo>
                  <a:lnTo>
                    <a:pt x="305" y="326"/>
                  </a:lnTo>
                  <a:lnTo>
                    <a:pt x="298" y="319"/>
                  </a:lnTo>
                  <a:lnTo>
                    <a:pt x="301" y="312"/>
                  </a:lnTo>
                  <a:lnTo>
                    <a:pt x="301" y="308"/>
                  </a:lnTo>
                  <a:lnTo>
                    <a:pt x="301" y="308"/>
                  </a:lnTo>
                  <a:lnTo>
                    <a:pt x="303" y="306"/>
                  </a:lnTo>
                  <a:lnTo>
                    <a:pt x="304" y="306"/>
                  </a:lnTo>
                  <a:lnTo>
                    <a:pt x="307" y="305"/>
                  </a:lnTo>
                  <a:lnTo>
                    <a:pt x="308" y="305"/>
                  </a:lnTo>
                  <a:lnTo>
                    <a:pt x="308" y="305"/>
                  </a:lnTo>
                  <a:lnTo>
                    <a:pt x="313" y="302"/>
                  </a:lnTo>
                  <a:lnTo>
                    <a:pt x="314" y="300"/>
                  </a:lnTo>
                  <a:lnTo>
                    <a:pt x="314" y="299"/>
                  </a:lnTo>
                  <a:lnTo>
                    <a:pt x="313" y="297"/>
                  </a:lnTo>
                  <a:lnTo>
                    <a:pt x="311" y="296"/>
                  </a:lnTo>
                  <a:lnTo>
                    <a:pt x="310" y="296"/>
                  </a:lnTo>
                  <a:lnTo>
                    <a:pt x="308" y="296"/>
                  </a:lnTo>
                  <a:lnTo>
                    <a:pt x="307" y="296"/>
                  </a:lnTo>
                  <a:lnTo>
                    <a:pt x="307" y="296"/>
                  </a:lnTo>
                  <a:lnTo>
                    <a:pt x="307" y="294"/>
                  </a:lnTo>
                  <a:lnTo>
                    <a:pt x="308" y="293"/>
                  </a:lnTo>
                  <a:lnTo>
                    <a:pt x="310" y="291"/>
                  </a:lnTo>
                  <a:lnTo>
                    <a:pt x="311" y="290"/>
                  </a:lnTo>
                  <a:lnTo>
                    <a:pt x="313" y="287"/>
                  </a:lnTo>
                  <a:lnTo>
                    <a:pt x="314" y="287"/>
                  </a:lnTo>
                  <a:lnTo>
                    <a:pt x="314" y="285"/>
                  </a:lnTo>
                  <a:lnTo>
                    <a:pt x="314" y="284"/>
                  </a:lnTo>
                  <a:lnTo>
                    <a:pt x="314" y="284"/>
                  </a:lnTo>
                  <a:lnTo>
                    <a:pt x="313" y="281"/>
                  </a:lnTo>
                  <a:lnTo>
                    <a:pt x="311" y="279"/>
                  </a:lnTo>
                  <a:lnTo>
                    <a:pt x="311" y="276"/>
                  </a:lnTo>
                  <a:lnTo>
                    <a:pt x="311" y="273"/>
                  </a:lnTo>
                  <a:lnTo>
                    <a:pt x="311" y="272"/>
                  </a:lnTo>
                  <a:lnTo>
                    <a:pt x="313" y="270"/>
                  </a:lnTo>
                  <a:lnTo>
                    <a:pt x="314" y="269"/>
                  </a:lnTo>
                  <a:lnTo>
                    <a:pt x="316" y="269"/>
                  </a:lnTo>
                  <a:lnTo>
                    <a:pt x="316" y="269"/>
                  </a:lnTo>
                  <a:lnTo>
                    <a:pt x="320" y="267"/>
                  </a:lnTo>
                  <a:lnTo>
                    <a:pt x="322" y="266"/>
                  </a:lnTo>
                  <a:lnTo>
                    <a:pt x="322" y="263"/>
                  </a:lnTo>
                  <a:lnTo>
                    <a:pt x="322" y="261"/>
                  </a:lnTo>
                  <a:lnTo>
                    <a:pt x="322" y="260"/>
                  </a:lnTo>
                  <a:lnTo>
                    <a:pt x="321" y="258"/>
                  </a:lnTo>
                  <a:lnTo>
                    <a:pt x="321" y="257"/>
                  </a:lnTo>
                  <a:lnTo>
                    <a:pt x="320" y="257"/>
                  </a:lnTo>
                  <a:lnTo>
                    <a:pt x="333" y="251"/>
                  </a:lnTo>
                  <a:lnTo>
                    <a:pt x="328" y="242"/>
                  </a:lnTo>
                  <a:lnTo>
                    <a:pt x="341" y="228"/>
                  </a:lnTo>
                  <a:lnTo>
                    <a:pt x="346" y="228"/>
                  </a:lnTo>
                  <a:lnTo>
                    <a:pt x="353" y="222"/>
                  </a:lnTo>
                  <a:lnTo>
                    <a:pt x="353" y="195"/>
                  </a:lnTo>
                  <a:lnTo>
                    <a:pt x="361" y="18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1"/>
                  </a:lnTo>
                  <a:lnTo>
                    <a:pt x="376" y="170"/>
                  </a:lnTo>
                  <a:lnTo>
                    <a:pt x="376" y="167"/>
                  </a:lnTo>
                  <a:lnTo>
                    <a:pt x="376" y="165"/>
                  </a:lnTo>
                  <a:lnTo>
                    <a:pt x="377" y="164"/>
                  </a:lnTo>
                  <a:lnTo>
                    <a:pt x="377" y="163"/>
                  </a:lnTo>
                  <a:lnTo>
                    <a:pt x="377" y="163"/>
                  </a:lnTo>
                  <a:lnTo>
                    <a:pt x="377" y="163"/>
                  </a:lnTo>
                  <a:lnTo>
                    <a:pt x="373" y="163"/>
                  </a:lnTo>
                  <a:lnTo>
                    <a:pt x="371" y="161"/>
                  </a:lnTo>
                  <a:lnTo>
                    <a:pt x="371" y="160"/>
                  </a:lnTo>
                  <a:lnTo>
                    <a:pt x="374" y="159"/>
                  </a:lnTo>
                  <a:lnTo>
                    <a:pt x="377" y="156"/>
                  </a:lnTo>
                  <a:lnTo>
                    <a:pt x="379" y="155"/>
                  </a:lnTo>
                  <a:lnTo>
                    <a:pt x="382" y="153"/>
                  </a:lnTo>
                  <a:lnTo>
                    <a:pt x="383" y="153"/>
                  </a:lnTo>
                  <a:lnTo>
                    <a:pt x="383" y="153"/>
                  </a:lnTo>
                  <a:lnTo>
                    <a:pt x="387" y="147"/>
                  </a:lnTo>
                  <a:lnTo>
                    <a:pt x="388" y="141"/>
                  </a:lnTo>
                  <a:lnTo>
                    <a:pt x="390" y="137"/>
                  </a:lnTo>
                  <a:lnTo>
                    <a:pt x="388" y="133"/>
                  </a:lnTo>
                  <a:lnTo>
                    <a:pt x="387" y="130"/>
                  </a:lnTo>
                  <a:lnTo>
                    <a:pt x="385" y="128"/>
                  </a:lnTo>
                  <a:lnTo>
                    <a:pt x="385" y="126"/>
                  </a:lnTo>
                  <a:lnTo>
                    <a:pt x="385" y="126"/>
                  </a:lnTo>
                  <a:lnTo>
                    <a:pt x="388" y="116"/>
                  </a:lnTo>
                  <a:lnTo>
                    <a:pt x="388" y="116"/>
                  </a:lnTo>
                  <a:lnTo>
                    <a:pt x="388" y="114"/>
                  </a:lnTo>
                  <a:lnTo>
                    <a:pt x="390" y="113"/>
                  </a:lnTo>
                  <a:lnTo>
                    <a:pt x="391" y="111"/>
                  </a:lnTo>
                  <a:lnTo>
                    <a:pt x="393" y="108"/>
                  </a:lnTo>
                  <a:lnTo>
                    <a:pt x="396" y="105"/>
                  </a:lnTo>
                  <a:lnTo>
                    <a:pt x="397" y="102"/>
                  </a:lnTo>
                  <a:lnTo>
                    <a:pt x="399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5" y="95"/>
                  </a:lnTo>
                  <a:lnTo>
                    <a:pt x="406" y="92"/>
                  </a:lnTo>
                  <a:lnTo>
                    <a:pt x="406" y="90"/>
                  </a:lnTo>
                  <a:lnTo>
                    <a:pt x="405" y="87"/>
                  </a:lnTo>
                  <a:lnTo>
                    <a:pt x="402" y="87"/>
                  </a:lnTo>
                  <a:lnTo>
                    <a:pt x="399" y="86"/>
                  </a:lnTo>
                  <a:lnTo>
                    <a:pt x="397" y="86"/>
                  </a:lnTo>
                  <a:lnTo>
                    <a:pt x="397" y="86"/>
                  </a:lnTo>
                  <a:lnTo>
                    <a:pt x="397" y="86"/>
                  </a:lnTo>
                  <a:lnTo>
                    <a:pt x="397" y="86"/>
                  </a:lnTo>
                  <a:lnTo>
                    <a:pt x="399" y="84"/>
                  </a:lnTo>
                  <a:lnTo>
                    <a:pt x="400" y="83"/>
                  </a:lnTo>
                  <a:lnTo>
                    <a:pt x="402" y="81"/>
                  </a:lnTo>
                  <a:lnTo>
                    <a:pt x="405" y="78"/>
                  </a:lnTo>
                  <a:lnTo>
                    <a:pt x="406" y="77"/>
                  </a:lnTo>
                  <a:lnTo>
                    <a:pt x="407" y="75"/>
                  </a:lnTo>
                  <a:lnTo>
                    <a:pt x="409" y="74"/>
                  </a:lnTo>
                  <a:lnTo>
                    <a:pt x="409" y="74"/>
                  </a:lnTo>
                  <a:lnTo>
                    <a:pt x="413" y="68"/>
                  </a:lnTo>
                  <a:lnTo>
                    <a:pt x="416" y="64"/>
                  </a:lnTo>
                  <a:lnTo>
                    <a:pt x="418" y="62"/>
                  </a:lnTo>
                  <a:lnTo>
                    <a:pt x="418" y="59"/>
                  </a:lnTo>
                  <a:lnTo>
                    <a:pt x="418" y="56"/>
                  </a:lnTo>
                  <a:lnTo>
                    <a:pt x="416" y="54"/>
                  </a:lnTo>
                  <a:lnTo>
                    <a:pt x="415" y="53"/>
                  </a:lnTo>
                  <a:lnTo>
                    <a:pt x="415" y="53"/>
                  </a:lnTo>
                  <a:lnTo>
                    <a:pt x="415" y="53"/>
                  </a:lnTo>
                  <a:lnTo>
                    <a:pt x="360" y="56"/>
                  </a:lnTo>
                  <a:lnTo>
                    <a:pt x="360" y="56"/>
                  </a:lnTo>
                  <a:lnTo>
                    <a:pt x="360" y="54"/>
                  </a:lnTo>
                  <a:lnTo>
                    <a:pt x="361" y="51"/>
                  </a:lnTo>
                  <a:lnTo>
                    <a:pt x="363" y="48"/>
                  </a:lnTo>
                  <a:lnTo>
                    <a:pt x="364" y="42"/>
                  </a:lnTo>
                  <a:lnTo>
                    <a:pt x="367" y="38"/>
                  </a:lnTo>
                  <a:lnTo>
                    <a:pt x="370" y="32"/>
                  </a:lnTo>
                  <a:lnTo>
                    <a:pt x="373" y="29"/>
                  </a:lnTo>
                  <a:lnTo>
                    <a:pt x="379" y="24"/>
                  </a:lnTo>
                  <a:lnTo>
                    <a:pt x="379" y="24"/>
                  </a:lnTo>
                  <a:lnTo>
                    <a:pt x="382" y="20"/>
                  </a:lnTo>
                  <a:lnTo>
                    <a:pt x="383" y="15"/>
                  </a:lnTo>
                  <a:lnTo>
                    <a:pt x="382" y="11"/>
                  </a:lnTo>
                  <a:lnTo>
                    <a:pt x="379" y="7"/>
                  </a:lnTo>
                  <a:lnTo>
                    <a:pt x="376" y="4"/>
                  </a:lnTo>
                  <a:lnTo>
                    <a:pt x="371" y="1"/>
                  </a:lnTo>
                  <a:lnTo>
                    <a:pt x="369" y="0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364" y="1"/>
                  </a:lnTo>
                  <a:lnTo>
                    <a:pt x="361" y="1"/>
                  </a:lnTo>
                  <a:lnTo>
                    <a:pt x="355" y="1"/>
                  </a:lnTo>
                  <a:lnTo>
                    <a:pt x="349" y="1"/>
                  </a:lnTo>
                  <a:lnTo>
                    <a:pt x="341" y="2"/>
                  </a:lnTo>
                  <a:lnTo>
                    <a:pt x="331" y="2"/>
                  </a:lnTo>
                  <a:lnTo>
                    <a:pt x="320" y="2"/>
                  </a:lnTo>
                  <a:lnTo>
                    <a:pt x="308" y="4"/>
                  </a:lnTo>
                  <a:lnTo>
                    <a:pt x="295" y="4"/>
                  </a:lnTo>
                  <a:lnTo>
                    <a:pt x="281" y="5"/>
                  </a:lnTo>
                  <a:lnTo>
                    <a:pt x="267" y="5"/>
                  </a:lnTo>
                  <a:lnTo>
                    <a:pt x="251" y="5"/>
                  </a:lnTo>
                  <a:lnTo>
                    <a:pt x="235" y="7"/>
                  </a:lnTo>
                  <a:lnTo>
                    <a:pt x="220" y="7"/>
                  </a:lnTo>
                  <a:lnTo>
                    <a:pt x="202" y="8"/>
                  </a:lnTo>
                  <a:lnTo>
                    <a:pt x="187" y="8"/>
                  </a:lnTo>
                  <a:lnTo>
                    <a:pt x="169" y="9"/>
                  </a:lnTo>
                  <a:lnTo>
                    <a:pt x="152" y="9"/>
                  </a:lnTo>
                  <a:lnTo>
                    <a:pt x="136" y="11"/>
                  </a:lnTo>
                  <a:lnTo>
                    <a:pt x="121" y="11"/>
                  </a:lnTo>
                  <a:lnTo>
                    <a:pt x="104" y="12"/>
                  </a:lnTo>
                  <a:lnTo>
                    <a:pt x="89" y="12"/>
                  </a:lnTo>
                  <a:lnTo>
                    <a:pt x="74" y="14"/>
                  </a:lnTo>
                  <a:lnTo>
                    <a:pt x="62" y="14"/>
                  </a:lnTo>
                  <a:lnTo>
                    <a:pt x="49" y="14"/>
                  </a:lnTo>
                  <a:lnTo>
                    <a:pt x="38" y="15"/>
                  </a:lnTo>
                  <a:lnTo>
                    <a:pt x="28" y="15"/>
                  </a:lnTo>
                  <a:lnTo>
                    <a:pt x="19" y="15"/>
                  </a:lnTo>
                  <a:lnTo>
                    <a:pt x="11" y="15"/>
                  </a:lnTo>
                  <a:lnTo>
                    <a:pt x="5" y="15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17" y="134"/>
                  </a:lnTo>
                  <a:lnTo>
                    <a:pt x="16" y="319"/>
                  </a:lnTo>
                  <a:lnTo>
                    <a:pt x="14" y="317"/>
                  </a:lnTo>
                  <a:lnTo>
                    <a:pt x="25" y="329"/>
                  </a:lnTo>
                  <a:lnTo>
                    <a:pt x="46" y="326"/>
                  </a:lnTo>
                  <a:lnTo>
                    <a:pt x="55" y="327"/>
                  </a:lnTo>
                  <a:lnTo>
                    <a:pt x="55" y="383"/>
                  </a:lnTo>
                  <a:lnTo>
                    <a:pt x="307" y="37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1" name="Freeform 45"/>
            <p:cNvSpPr>
              <a:spLocks/>
            </p:cNvSpPr>
            <p:nvPr/>
          </p:nvSpPr>
          <p:spPr bwMode="auto">
            <a:xfrm>
              <a:off x="2351784" y="5207405"/>
              <a:ext cx="315874" cy="278190"/>
            </a:xfrm>
            <a:custGeom>
              <a:avLst/>
              <a:gdLst>
                <a:gd name="T0" fmla="*/ 33 w 471"/>
                <a:gd name="T1" fmla="*/ 296 h 415"/>
                <a:gd name="T2" fmla="*/ 33 w 471"/>
                <a:gd name="T3" fmla="*/ 264 h 415"/>
                <a:gd name="T4" fmla="*/ 49 w 471"/>
                <a:gd name="T5" fmla="*/ 223 h 415"/>
                <a:gd name="T6" fmla="*/ 41 w 471"/>
                <a:gd name="T7" fmla="*/ 194 h 415"/>
                <a:gd name="T8" fmla="*/ 251 w 471"/>
                <a:gd name="T9" fmla="*/ 0 h 415"/>
                <a:gd name="T10" fmla="*/ 252 w 471"/>
                <a:gd name="T11" fmla="*/ 9 h 415"/>
                <a:gd name="T12" fmla="*/ 255 w 471"/>
                <a:gd name="T13" fmla="*/ 37 h 415"/>
                <a:gd name="T14" fmla="*/ 261 w 471"/>
                <a:gd name="T15" fmla="*/ 56 h 415"/>
                <a:gd name="T16" fmla="*/ 269 w 471"/>
                <a:gd name="T17" fmla="*/ 65 h 415"/>
                <a:gd name="T18" fmla="*/ 273 w 471"/>
                <a:gd name="T19" fmla="*/ 78 h 415"/>
                <a:gd name="T20" fmla="*/ 255 w 471"/>
                <a:gd name="T21" fmla="*/ 87 h 415"/>
                <a:gd name="T22" fmla="*/ 258 w 471"/>
                <a:gd name="T23" fmla="*/ 105 h 415"/>
                <a:gd name="T24" fmla="*/ 240 w 471"/>
                <a:gd name="T25" fmla="*/ 150 h 415"/>
                <a:gd name="T26" fmla="*/ 233 w 471"/>
                <a:gd name="T27" fmla="*/ 164 h 415"/>
                <a:gd name="T28" fmla="*/ 230 w 471"/>
                <a:gd name="T29" fmla="*/ 177 h 415"/>
                <a:gd name="T30" fmla="*/ 219 w 471"/>
                <a:gd name="T31" fmla="*/ 194 h 415"/>
                <a:gd name="T32" fmla="*/ 222 w 471"/>
                <a:gd name="T33" fmla="*/ 206 h 415"/>
                <a:gd name="T34" fmla="*/ 387 w 471"/>
                <a:gd name="T35" fmla="*/ 226 h 415"/>
                <a:gd name="T36" fmla="*/ 395 w 471"/>
                <a:gd name="T37" fmla="*/ 254 h 415"/>
                <a:gd name="T38" fmla="*/ 405 w 471"/>
                <a:gd name="T39" fmla="*/ 289 h 415"/>
                <a:gd name="T40" fmla="*/ 376 w 471"/>
                <a:gd name="T41" fmla="*/ 284 h 415"/>
                <a:gd name="T42" fmla="*/ 350 w 471"/>
                <a:gd name="T43" fmla="*/ 278 h 415"/>
                <a:gd name="T44" fmla="*/ 339 w 471"/>
                <a:gd name="T45" fmla="*/ 292 h 415"/>
                <a:gd name="T46" fmla="*/ 357 w 471"/>
                <a:gd name="T47" fmla="*/ 308 h 415"/>
                <a:gd name="T48" fmla="*/ 386 w 471"/>
                <a:gd name="T49" fmla="*/ 297 h 415"/>
                <a:gd name="T50" fmla="*/ 399 w 471"/>
                <a:gd name="T51" fmla="*/ 306 h 415"/>
                <a:gd name="T52" fmla="*/ 399 w 471"/>
                <a:gd name="T53" fmla="*/ 317 h 415"/>
                <a:gd name="T54" fmla="*/ 413 w 471"/>
                <a:gd name="T55" fmla="*/ 314 h 415"/>
                <a:gd name="T56" fmla="*/ 422 w 471"/>
                <a:gd name="T57" fmla="*/ 302 h 415"/>
                <a:gd name="T58" fmla="*/ 425 w 471"/>
                <a:gd name="T59" fmla="*/ 308 h 415"/>
                <a:gd name="T60" fmla="*/ 428 w 471"/>
                <a:gd name="T61" fmla="*/ 333 h 415"/>
                <a:gd name="T62" fmla="*/ 410 w 471"/>
                <a:gd name="T63" fmla="*/ 360 h 415"/>
                <a:gd name="T64" fmla="*/ 459 w 471"/>
                <a:gd name="T65" fmla="*/ 385 h 415"/>
                <a:gd name="T66" fmla="*/ 446 w 471"/>
                <a:gd name="T67" fmla="*/ 407 h 415"/>
                <a:gd name="T68" fmla="*/ 438 w 471"/>
                <a:gd name="T69" fmla="*/ 398 h 415"/>
                <a:gd name="T70" fmla="*/ 425 w 471"/>
                <a:gd name="T71" fmla="*/ 386 h 415"/>
                <a:gd name="T72" fmla="*/ 398 w 471"/>
                <a:gd name="T73" fmla="*/ 382 h 415"/>
                <a:gd name="T74" fmla="*/ 390 w 471"/>
                <a:gd name="T75" fmla="*/ 365 h 415"/>
                <a:gd name="T76" fmla="*/ 362 w 471"/>
                <a:gd name="T77" fmla="*/ 359 h 415"/>
                <a:gd name="T78" fmla="*/ 374 w 471"/>
                <a:gd name="T79" fmla="*/ 381 h 415"/>
                <a:gd name="T80" fmla="*/ 374 w 471"/>
                <a:gd name="T81" fmla="*/ 393 h 415"/>
                <a:gd name="T82" fmla="*/ 359 w 471"/>
                <a:gd name="T83" fmla="*/ 408 h 415"/>
                <a:gd name="T84" fmla="*/ 327 w 471"/>
                <a:gd name="T85" fmla="*/ 396 h 415"/>
                <a:gd name="T86" fmla="*/ 297 w 471"/>
                <a:gd name="T87" fmla="*/ 404 h 415"/>
                <a:gd name="T88" fmla="*/ 276 w 471"/>
                <a:gd name="T89" fmla="*/ 398 h 415"/>
                <a:gd name="T90" fmla="*/ 240 w 471"/>
                <a:gd name="T91" fmla="*/ 371 h 415"/>
                <a:gd name="T92" fmla="*/ 228 w 471"/>
                <a:gd name="T93" fmla="*/ 352 h 415"/>
                <a:gd name="T94" fmla="*/ 214 w 471"/>
                <a:gd name="T95" fmla="*/ 350 h 415"/>
                <a:gd name="T96" fmla="*/ 207 w 471"/>
                <a:gd name="T97" fmla="*/ 341 h 415"/>
                <a:gd name="T98" fmla="*/ 171 w 471"/>
                <a:gd name="T99" fmla="*/ 372 h 415"/>
                <a:gd name="T100" fmla="*/ 140 w 471"/>
                <a:gd name="T101" fmla="*/ 369 h 415"/>
                <a:gd name="T102" fmla="*/ 94 w 471"/>
                <a:gd name="T103" fmla="*/ 352 h 415"/>
                <a:gd name="T104" fmla="*/ 74 w 471"/>
                <a:gd name="T105" fmla="*/ 350 h 415"/>
                <a:gd name="T106" fmla="*/ 71 w 471"/>
                <a:gd name="T107" fmla="*/ 345 h 415"/>
                <a:gd name="T108" fmla="*/ 35 w 471"/>
                <a:gd name="T109" fmla="*/ 355 h 415"/>
                <a:gd name="T110" fmla="*/ 24 w 471"/>
                <a:gd name="T111" fmla="*/ 35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1" h="415">
                  <a:moveTo>
                    <a:pt x="33" y="329"/>
                  </a:moveTo>
                  <a:lnTo>
                    <a:pt x="39" y="322"/>
                  </a:lnTo>
                  <a:lnTo>
                    <a:pt x="42" y="315"/>
                  </a:lnTo>
                  <a:lnTo>
                    <a:pt x="42" y="309"/>
                  </a:lnTo>
                  <a:lnTo>
                    <a:pt x="41" y="305"/>
                  </a:lnTo>
                  <a:lnTo>
                    <a:pt x="38" y="300"/>
                  </a:lnTo>
                  <a:lnTo>
                    <a:pt x="36" y="297"/>
                  </a:lnTo>
                  <a:lnTo>
                    <a:pt x="33" y="296"/>
                  </a:lnTo>
                  <a:lnTo>
                    <a:pt x="33" y="296"/>
                  </a:lnTo>
                  <a:lnTo>
                    <a:pt x="36" y="278"/>
                  </a:lnTo>
                  <a:lnTo>
                    <a:pt x="36" y="278"/>
                  </a:lnTo>
                  <a:lnTo>
                    <a:pt x="35" y="276"/>
                  </a:lnTo>
                  <a:lnTo>
                    <a:pt x="33" y="275"/>
                  </a:lnTo>
                  <a:lnTo>
                    <a:pt x="32" y="272"/>
                  </a:lnTo>
                  <a:lnTo>
                    <a:pt x="32" y="269"/>
                  </a:lnTo>
                  <a:lnTo>
                    <a:pt x="33" y="264"/>
                  </a:lnTo>
                  <a:lnTo>
                    <a:pt x="36" y="259"/>
                  </a:lnTo>
                  <a:lnTo>
                    <a:pt x="42" y="252"/>
                  </a:lnTo>
                  <a:lnTo>
                    <a:pt x="45" y="248"/>
                  </a:lnTo>
                  <a:lnTo>
                    <a:pt x="46" y="243"/>
                  </a:lnTo>
                  <a:lnTo>
                    <a:pt x="48" y="237"/>
                  </a:lnTo>
                  <a:lnTo>
                    <a:pt x="49" y="233"/>
                  </a:lnTo>
                  <a:lnTo>
                    <a:pt x="49" y="229"/>
                  </a:lnTo>
                  <a:lnTo>
                    <a:pt x="49" y="223"/>
                  </a:lnTo>
                  <a:lnTo>
                    <a:pt x="49" y="219"/>
                  </a:lnTo>
                  <a:lnTo>
                    <a:pt x="48" y="215"/>
                  </a:lnTo>
                  <a:lnTo>
                    <a:pt x="46" y="210"/>
                  </a:lnTo>
                  <a:lnTo>
                    <a:pt x="45" y="206"/>
                  </a:lnTo>
                  <a:lnTo>
                    <a:pt x="45" y="203"/>
                  </a:lnTo>
                  <a:lnTo>
                    <a:pt x="43" y="198"/>
                  </a:lnTo>
                  <a:lnTo>
                    <a:pt x="42" y="196"/>
                  </a:lnTo>
                  <a:lnTo>
                    <a:pt x="41" y="194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35" y="176"/>
                  </a:lnTo>
                  <a:lnTo>
                    <a:pt x="24" y="164"/>
                  </a:lnTo>
                  <a:lnTo>
                    <a:pt x="24" y="138"/>
                  </a:lnTo>
                  <a:lnTo>
                    <a:pt x="3" y="113"/>
                  </a:lnTo>
                  <a:lnTo>
                    <a:pt x="0" y="7"/>
                  </a:lnTo>
                  <a:lnTo>
                    <a:pt x="251" y="0"/>
                  </a:lnTo>
                  <a:lnTo>
                    <a:pt x="250" y="0"/>
                  </a:lnTo>
                  <a:lnTo>
                    <a:pt x="250" y="1"/>
                  </a:lnTo>
                  <a:lnTo>
                    <a:pt x="250" y="2"/>
                  </a:lnTo>
                  <a:lnTo>
                    <a:pt x="250" y="4"/>
                  </a:lnTo>
                  <a:lnTo>
                    <a:pt x="250" y="7"/>
                  </a:lnTo>
                  <a:lnTo>
                    <a:pt x="250" y="8"/>
                  </a:lnTo>
                  <a:lnTo>
                    <a:pt x="251" y="9"/>
                  </a:lnTo>
                  <a:lnTo>
                    <a:pt x="252" y="9"/>
                  </a:lnTo>
                  <a:lnTo>
                    <a:pt x="254" y="8"/>
                  </a:lnTo>
                  <a:lnTo>
                    <a:pt x="255" y="8"/>
                  </a:lnTo>
                  <a:lnTo>
                    <a:pt x="257" y="11"/>
                  </a:lnTo>
                  <a:lnTo>
                    <a:pt x="257" y="12"/>
                  </a:lnTo>
                  <a:lnTo>
                    <a:pt x="258" y="14"/>
                  </a:lnTo>
                  <a:lnTo>
                    <a:pt x="257" y="24"/>
                  </a:lnTo>
                  <a:lnTo>
                    <a:pt x="263" y="29"/>
                  </a:lnTo>
                  <a:lnTo>
                    <a:pt x="255" y="37"/>
                  </a:lnTo>
                  <a:lnTo>
                    <a:pt x="257" y="41"/>
                  </a:lnTo>
                  <a:lnTo>
                    <a:pt x="267" y="40"/>
                  </a:lnTo>
                  <a:lnTo>
                    <a:pt x="267" y="50"/>
                  </a:lnTo>
                  <a:lnTo>
                    <a:pt x="266" y="50"/>
                  </a:lnTo>
                  <a:lnTo>
                    <a:pt x="266" y="51"/>
                  </a:lnTo>
                  <a:lnTo>
                    <a:pt x="264" y="53"/>
                  </a:lnTo>
                  <a:lnTo>
                    <a:pt x="263" y="54"/>
                  </a:lnTo>
                  <a:lnTo>
                    <a:pt x="261" y="56"/>
                  </a:lnTo>
                  <a:lnTo>
                    <a:pt x="263" y="57"/>
                  </a:lnTo>
                  <a:lnTo>
                    <a:pt x="264" y="59"/>
                  </a:lnTo>
                  <a:lnTo>
                    <a:pt x="270" y="59"/>
                  </a:lnTo>
                  <a:lnTo>
                    <a:pt x="270" y="59"/>
                  </a:lnTo>
                  <a:lnTo>
                    <a:pt x="270" y="60"/>
                  </a:lnTo>
                  <a:lnTo>
                    <a:pt x="270" y="62"/>
                  </a:lnTo>
                  <a:lnTo>
                    <a:pt x="269" y="63"/>
                  </a:lnTo>
                  <a:lnTo>
                    <a:pt x="269" y="65"/>
                  </a:lnTo>
                  <a:lnTo>
                    <a:pt x="270" y="67"/>
                  </a:lnTo>
                  <a:lnTo>
                    <a:pt x="273" y="68"/>
                  </a:lnTo>
                  <a:lnTo>
                    <a:pt x="278" y="68"/>
                  </a:lnTo>
                  <a:lnTo>
                    <a:pt x="278" y="68"/>
                  </a:lnTo>
                  <a:lnTo>
                    <a:pt x="276" y="71"/>
                  </a:lnTo>
                  <a:lnTo>
                    <a:pt x="275" y="72"/>
                  </a:lnTo>
                  <a:lnTo>
                    <a:pt x="275" y="75"/>
                  </a:lnTo>
                  <a:lnTo>
                    <a:pt x="273" y="78"/>
                  </a:lnTo>
                  <a:lnTo>
                    <a:pt x="272" y="81"/>
                  </a:lnTo>
                  <a:lnTo>
                    <a:pt x="270" y="83"/>
                  </a:lnTo>
                  <a:lnTo>
                    <a:pt x="270" y="84"/>
                  </a:lnTo>
                  <a:lnTo>
                    <a:pt x="269" y="84"/>
                  </a:lnTo>
                  <a:lnTo>
                    <a:pt x="266" y="84"/>
                  </a:lnTo>
                  <a:lnTo>
                    <a:pt x="261" y="86"/>
                  </a:lnTo>
                  <a:lnTo>
                    <a:pt x="258" y="86"/>
                  </a:lnTo>
                  <a:lnTo>
                    <a:pt x="255" y="87"/>
                  </a:lnTo>
                  <a:lnTo>
                    <a:pt x="255" y="89"/>
                  </a:lnTo>
                  <a:lnTo>
                    <a:pt x="258" y="90"/>
                  </a:lnTo>
                  <a:lnTo>
                    <a:pt x="264" y="93"/>
                  </a:lnTo>
                  <a:lnTo>
                    <a:pt x="264" y="95"/>
                  </a:lnTo>
                  <a:lnTo>
                    <a:pt x="264" y="95"/>
                  </a:lnTo>
                  <a:lnTo>
                    <a:pt x="263" y="100"/>
                  </a:lnTo>
                  <a:lnTo>
                    <a:pt x="260" y="103"/>
                  </a:lnTo>
                  <a:lnTo>
                    <a:pt x="258" y="105"/>
                  </a:lnTo>
                  <a:lnTo>
                    <a:pt x="255" y="108"/>
                  </a:lnTo>
                  <a:lnTo>
                    <a:pt x="255" y="111"/>
                  </a:lnTo>
                  <a:lnTo>
                    <a:pt x="254" y="113"/>
                  </a:lnTo>
                  <a:lnTo>
                    <a:pt x="252" y="123"/>
                  </a:lnTo>
                  <a:lnTo>
                    <a:pt x="246" y="123"/>
                  </a:lnTo>
                  <a:lnTo>
                    <a:pt x="240" y="146"/>
                  </a:lnTo>
                  <a:lnTo>
                    <a:pt x="233" y="150"/>
                  </a:lnTo>
                  <a:lnTo>
                    <a:pt x="240" y="150"/>
                  </a:lnTo>
                  <a:lnTo>
                    <a:pt x="240" y="152"/>
                  </a:lnTo>
                  <a:lnTo>
                    <a:pt x="239" y="152"/>
                  </a:lnTo>
                  <a:lnTo>
                    <a:pt x="236" y="155"/>
                  </a:lnTo>
                  <a:lnTo>
                    <a:pt x="234" y="156"/>
                  </a:lnTo>
                  <a:lnTo>
                    <a:pt x="231" y="159"/>
                  </a:lnTo>
                  <a:lnTo>
                    <a:pt x="231" y="160"/>
                  </a:lnTo>
                  <a:lnTo>
                    <a:pt x="231" y="163"/>
                  </a:lnTo>
                  <a:lnTo>
                    <a:pt x="233" y="164"/>
                  </a:lnTo>
                  <a:lnTo>
                    <a:pt x="233" y="166"/>
                  </a:lnTo>
                  <a:lnTo>
                    <a:pt x="231" y="167"/>
                  </a:lnTo>
                  <a:lnTo>
                    <a:pt x="230" y="168"/>
                  </a:lnTo>
                  <a:lnTo>
                    <a:pt x="227" y="171"/>
                  </a:lnTo>
                  <a:lnTo>
                    <a:pt x="227" y="174"/>
                  </a:lnTo>
                  <a:lnTo>
                    <a:pt x="225" y="176"/>
                  </a:lnTo>
                  <a:lnTo>
                    <a:pt x="227" y="177"/>
                  </a:lnTo>
                  <a:lnTo>
                    <a:pt x="230" y="177"/>
                  </a:lnTo>
                  <a:lnTo>
                    <a:pt x="231" y="179"/>
                  </a:lnTo>
                  <a:lnTo>
                    <a:pt x="231" y="182"/>
                  </a:lnTo>
                  <a:lnTo>
                    <a:pt x="230" y="183"/>
                  </a:lnTo>
                  <a:lnTo>
                    <a:pt x="225" y="188"/>
                  </a:lnTo>
                  <a:lnTo>
                    <a:pt x="222" y="189"/>
                  </a:lnTo>
                  <a:lnTo>
                    <a:pt x="219" y="191"/>
                  </a:lnTo>
                  <a:lnTo>
                    <a:pt x="219" y="191"/>
                  </a:lnTo>
                  <a:lnTo>
                    <a:pt x="219" y="194"/>
                  </a:lnTo>
                  <a:lnTo>
                    <a:pt x="219" y="196"/>
                  </a:lnTo>
                  <a:lnTo>
                    <a:pt x="219" y="197"/>
                  </a:lnTo>
                  <a:lnTo>
                    <a:pt x="221" y="198"/>
                  </a:lnTo>
                  <a:lnTo>
                    <a:pt x="222" y="198"/>
                  </a:lnTo>
                  <a:lnTo>
                    <a:pt x="224" y="200"/>
                  </a:lnTo>
                  <a:lnTo>
                    <a:pt x="222" y="201"/>
                  </a:lnTo>
                  <a:lnTo>
                    <a:pt x="222" y="204"/>
                  </a:lnTo>
                  <a:lnTo>
                    <a:pt x="222" y="206"/>
                  </a:lnTo>
                  <a:lnTo>
                    <a:pt x="221" y="209"/>
                  </a:lnTo>
                  <a:lnTo>
                    <a:pt x="221" y="212"/>
                  </a:lnTo>
                  <a:lnTo>
                    <a:pt x="221" y="213"/>
                  </a:lnTo>
                  <a:lnTo>
                    <a:pt x="221" y="215"/>
                  </a:lnTo>
                  <a:lnTo>
                    <a:pt x="390" y="203"/>
                  </a:lnTo>
                  <a:lnTo>
                    <a:pt x="390" y="223"/>
                  </a:lnTo>
                  <a:lnTo>
                    <a:pt x="389" y="223"/>
                  </a:lnTo>
                  <a:lnTo>
                    <a:pt x="387" y="226"/>
                  </a:lnTo>
                  <a:lnTo>
                    <a:pt x="386" y="230"/>
                  </a:lnTo>
                  <a:lnTo>
                    <a:pt x="384" y="233"/>
                  </a:lnTo>
                  <a:lnTo>
                    <a:pt x="383" y="239"/>
                  </a:lnTo>
                  <a:lnTo>
                    <a:pt x="383" y="243"/>
                  </a:lnTo>
                  <a:lnTo>
                    <a:pt x="386" y="248"/>
                  </a:lnTo>
                  <a:lnTo>
                    <a:pt x="390" y="251"/>
                  </a:lnTo>
                  <a:lnTo>
                    <a:pt x="392" y="252"/>
                  </a:lnTo>
                  <a:lnTo>
                    <a:pt x="395" y="254"/>
                  </a:lnTo>
                  <a:lnTo>
                    <a:pt x="398" y="259"/>
                  </a:lnTo>
                  <a:lnTo>
                    <a:pt x="402" y="264"/>
                  </a:lnTo>
                  <a:lnTo>
                    <a:pt x="405" y="270"/>
                  </a:lnTo>
                  <a:lnTo>
                    <a:pt x="407" y="276"/>
                  </a:lnTo>
                  <a:lnTo>
                    <a:pt x="407" y="284"/>
                  </a:lnTo>
                  <a:lnTo>
                    <a:pt x="407" y="289"/>
                  </a:lnTo>
                  <a:lnTo>
                    <a:pt x="407" y="289"/>
                  </a:lnTo>
                  <a:lnTo>
                    <a:pt x="405" y="289"/>
                  </a:lnTo>
                  <a:lnTo>
                    <a:pt x="404" y="289"/>
                  </a:lnTo>
                  <a:lnTo>
                    <a:pt x="401" y="289"/>
                  </a:lnTo>
                  <a:lnTo>
                    <a:pt x="399" y="289"/>
                  </a:lnTo>
                  <a:lnTo>
                    <a:pt x="398" y="289"/>
                  </a:lnTo>
                  <a:lnTo>
                    <a:pt x="396" y="289"/>
                  </a:lnTo>
                  <a:lnTo>
                    <a:pt x="395" y="289"/>
                  </a:lnTo>
                  <a:lnTo>
                    <a:pt x="380" y="282"/>
                  </a:lnTo>
                  <a:lnTo>
                    <a:pt x="376" y="284"/>
                  </a:lnTo>
                  <a:lnTo>
                    <a:pt x="375" y="282"/>
                  </a:lnTo>
                  <a:lnTo>
                    <a:pt x="374" y="281"/>
                  </a:lnTo>
                  <a:lnTo>
                    <a:pt x="372" y="278"/>
                  </a:lnTo>
                  <a:lnTo>
                    <a:pt x="369" y="275"/>
                  </a:lnTo>
                  <a:lnTo>
                    <a:pt x="365" y="272"/>
                  </a:lnTo>
                  <a:lnTo>
                    <a:pt x="360" y="272"/>
                  </a:lnTo>
                  <a:lnTo>
                    <a:pt x="356" y="273"/>
                  </a:lnTo>
                  <a:lnTo>
                    <a:pt x="350" y="278"/>
                  </a:lnTo>
                  <a:lnTo>
                    <a:pt x="349" y="279"/>
                  </a:lnTo>
                  <a:lnTo>
                    <a:pt x="347" y="281"/>
                  </a:lnTo>
                  <a:lnTo>
                    <a:pt x="346" y="284"/>
                  </a:lnTo>
                  <a:lnTo>
                    <a:pt x="344" y="286"/>
                  </a:lnTo>
                  <a:lnTo>
                    <a:pt x="342" y="287"/>
                  </a:lnTo>
                  <a:lnTo>
                    <a:pt x="341" y="290"/>
                  </a:lnTo>
                  <a:lnTo>
                    <a:pt x="341" y="292"/>
                  </a:lnTo>
                  <a:lnTo>
                    <a:pt x="339" y="292"/>
                  </a:lnTo>
                  <a:lnTo>
                    <a:pt x="339" y="293"/>
                  </a:lnTo>
                  <a:lnTo>
                    <a:pt x="338" y="294"/>
                  </a:lnTo>
                  <a:lnTo>
                    <a:pt x="336" y="297"/>
                  </a:lnTo>
                  <a:lnTo>
                    <a:pt x="336" y="300"/>
                  </a:lnTo>
                  <a:lnTo>
                    <a:pt x="338" y="303"/>
                  </a:lnTo>
                  <a:lnTo>
                    <a:pt x="341" y="305"/>
                  </a:lnTo>
                  <a:lnTo>
                    <a:pt x="347" y="308"/>
                  </a:lnTo>
                  <a:lnTo>
                    <a:pt x="357" y="308"/>
                  </a:lnTo>
                  <a:lnTo>
                    <a:pt x="357" y="308"/>
                  </a:lnTo>
                  <a:lnTo>
                    <a:pt x="360" y="309"/>
                  </a:lnTo>
                  <a:lnTo>
                    <a:pt x="362" y="309"/>
                  </a:lnTo>
                  <a:lnTo>
                    <a:pt x="366" y="309"/>
                  </a:lnTo>
                  <a:lnTo>
                    <a:pt x="369" y="308"/>
                  </a:lnTo>
                  <a:lnTo>
                    <a:pt x="375" y="306"/>
                  </a:lnTo>
                  <a:lnTo>
                    <a:pt x="380" y="303"/>
                  </a:lnTo>
                  <a:lnTo>
                    <a:pt x="386" y="297"/>
                  </a:lnTo>
                  <a:lnTo>
                    <a:pt x="387" y="297"/>
                  </a:lnTo>
                  <a:lnTo>
                    <a:pt x="390" y="297"/>
                  </a:lnTo>
                  <a:lnTo>
                    <a:pt x="392" y="300"/>
                  </a:lnTo>
                  <a:lnTo>
                    <a:pt x="393" y="300"/>
                  </a:lnTo>
                  <a:lnTo>
                    <a:pt x="401" y="293"/>
                  </a:lnTo>
                  <a:lnTo>
                    <a:pt x="407" y="297"/>
                  </a:lnTo>
                  <a:lnTo>
                    <a:pt x="401" y="306"/>
                  </a:lnTo>
                  <a:lnTo>
                    <a:pt x="399" y="306"/>
                  </a:lnTo>
                  <a:lnTo>
                    <a:pt x="396" y="308"/>
                  </a:lnTo>
                  <a:lnTo>
                    <a:pt x="393" y="309"/>
                  </a:lnTo>
                  <a:lnTo>
                    <a:pt x="390" y="311"/>
                  </a:lnTo>
                  <a:lnTo>
                    <a:pt x="389" y="312"/>
                  </a:lnTo>
                  <a:lnTo>
                    <a:pt x="387" y="315"/>
                  </a:lnTo>
                  <a:lnTo>
                    <a:pt x="390" y="315"/>
                  </a:lnTo>
                  <a:lnTo>
                    <a:pt x="398" y="317"/>
                  </a:lnTo>
                  <a:lnTo>
                    <a:pt x="399" y="317"/>
                  </a:lnTo>
                  <a:lnTo>
                    <a:pt x="401" y="318"/>
                  </a:lnTo>
                  <a:lnTo>
                    <a:pt x="405" y="319"/>
                  </a:lnTo>
                  <a:lnTo>
                    <a:pt x="409" y="320"/>
                  </a:lnTo>
                  <a:lnTo>
                    <a:pt x="412" y="322"/>
                  </a:lnTo>
                  <a:lnTo>
                    <a:pt x="415" y="320"/>
                  </a:lnTo>
                  <a:lnTo>
                    <a:pt x="415" y="319"/>
                  </a:lnTo>
                  <a:lnTo>
                    <a:pt x="413" y="315"/>
                  </a:lnTo>
                  <a:lnTo>
                    <a:pt x="413" y="314"/>
                  </a:lnTo>
                  <a:lnTo>
                    <a:pt x="415" y="312"/>
                  </a:lnTo>
                  <a:lnTo>
                    <a:pt x="416" y="311"/>
                  </a:lnTo>
                  <a:lnTo>
                    <a:pt x="418" y="308"/>
                  </a:lnTo>
                  <a:lnTo>
                    <a:pt x="419" y="306"/>
                  </a:lnTo>
                  <a:lnTo>
                    <a:pt x="419" y="305"/>
                  </a:lnTo>
                  <a:lnTo>
                    <a:pt x="420" y="303"/>
                  </a:lnTo>
                  <a:lnTo>
                    <a:pt x="420" y="303"/>
                  </a:lnTo>
                  <a:lnTo>
                    <a:pt x="422" y="302"/>
                  </a:lnTo>
                  <a:lnTo>
                    <a:pt x="422" y="302"/>
                  </a:lnTo>
                  <a:lnTo>
                    <a:pt x="425" y="302"/>
                  </a:lnTo>
                  <a:lnTo>
                    <a:pt x="426" y="302"/>
                  </a:lnTo>
                  <a:lnTo>
                    <a:pt x="426" y="302"/>
                  </a:lnTo>
                  <a:lnTo>
                    <a:pt x="428" y="302"/>
                  </a:lnTo>
                  <a:lnTo>
                    <a:pt x="426" y="303"/>
                  </a:lnTo>
                  <a:lnTo>
                    <a:pt x="425" y="305"/>
                  </a:lnTo>
                  <a:lnTo>
                    <a:pt x="425" y="308"/>
                  </a:lnTo>
                  <a:lnTo>
                    <a:pt x="426" y="309"/>
                  </a:lnTo>
                  <a:lnTo>
                    <a:pt x="428" y="312"/>
                  </a:lnTo>
                  <a:lnTo>
                    <a:pt x="429" y="312"/>
                  </a:lnTo>
                  <a:lnTo>
                    <a:pt x="428" y="323"/>
                  </a:lnTo>
                  <a:lnTo>
                    <a:pt x="431" y="327"/>
                  </a:lnTo>
                  <a:lnTo>
                    <a:pt x="442" y="327"/>
                  </a:lnTo>
                  <a:lnTo>
                    <a:pt x="440" y="333"/>
                  </a:lnTo>
                  <a:lnTo>
                    <a:pt x="428" y="333"/>
                  </a:lnTo>
                  <a:lnTo>
                    <a:pt x="422" y="338"/>
                  </a:lnTo>
                  <a:lnTo>
                    <a:pt x="410" y="338"/>
                  </a:lnTo>
                  <a:lnTo>
                    <a:pt x="410" y="352"/>
                  </a:lnTo>
                  <a:lnTo>
                    <a:pt x="410" y="352"/>
                  </a:lnTo>
                  <a:lnTo>
                    <a:pt x="410" y="353"/>
                  </a:lnTo>
                  <a:lnTo>
                    <a:pt x="410" y="356"/>
                  </a:lnTo>
                  <a:lnTo>
                    <a:pt x="410" y="357"/>
                  </a:lnTo>
                  <a:lnTo>
                    <a:pt x="410" y="360"/>
                  </a:lnTo>
                  <a:lnTo>
                    <a:pt x="412" y="362"/>
                  </a:lnTo>
                  <a:lnTo>
                    <a:pt x="413" y="363"/>
                  </a:lnTo>
                  <a:lnTo>
                    <a:pt x="418" y="365"/>
                  </a:lnTo>
                  <a:lnTo>
                    <a:pt x="422" y="369"/>
                  </a:lnTo>
                  <a:lnTo>
                    <a:pt x="426" y="374"/>
                  </a:lnTo>
                  <a:lnTo>
                    <a:pt x="437" y="374"/>
                  </a:lnTo>
                  <a:lnTo>
                    <a:pt x="442" y="380"/>
                  </a:lnTo>
                  <a:lnTo>
                    <a:pt x="459" y="385"/>
                  </a:lnTo>
                  <a:lnTo>
                    <a:pt x="458" y="390"/>
                  </a:lnTo>
                  <a:lnTo>
                    <a:pt x="470" y="390"/>
                  </a:lnTo>
                  <a:lnTo>
                    <a:pt x="468" y="401"/>
                  </a:lnTo>
                  <a:lnTo>
                    <a:pt x="458" y="405"/>
                  </a:lnTo>
                  <a:lnTo>
                    <a:pt x="456" y="411"/>
                  </a:lnTo>
                  <a:lnTo>
                    <a:pt x="449" y="404"/>
                  </a:lnTo>
                  <a:lnTo>
                    <a:pt x="448" y="404"/>
                  </a:lnTo>
                  <a:lnTo>
                    <a:pt x="446" y="407"/>
                  </a:lnTo>
                  <a:lnTo>
                    <a:pt x="443" y="410"/>
                  </a:lnTo>
                  <a:lnTo>
                    <a:pt x="440" y="413"/>
                  </a:lnTo>
                  <a:lnTo>
                    <a:pt x="439" y="414"/>
                  </a:lnTo>
                  <a:lnTo>
                    <a:pt x="438" y="414"/>
                  </a:lnTo>
                  <a:lnTo>
                    <a:pt x="438" y="411"/>
                  </a:lnTo>
                  <a:lnTo>
                    <a:pt x="440" y="404"/>
                  </a:lnTo>
                  <a:lnTo>
                    <a:pt x="440" y="401"/>
                  </a:lnTo>
                  <a:lnTo>
                    <a:pt x="438" y="398"/>
                  </a:lnTo>
                  <a:lnTo>
                    <a:pt x="435" y="396"/>
                  </a:lnTo>
                  <a:lnTo>
                    <a:pt x="434" y="395"/>
                  </a:lnTo>
                  <a:lnTo>
                    <a:pt x="434" y="393"/>
                  </a:lnTo>
                  <a:lnTo>
                    <a:pt x="434" y="393"/>
                  </a:lnTo>
                  <a:lnTo>
                    <a:pt x="434" y="392"/>
                  </a:lnTo>
                  <a:lnTo>
                    <a:pt x="432" y="390"/>
                  </a:lnTo>
                  <a:lnTo>
                    <a:pt x="429" y="389"/>
                  </a:lnTo>
                  <a:lnTo>
                    <a:pt x="425" y="386"/>
                  </a:lnTo>
                  <a:lnTo>
                    <a:pt x="418" y="385"/>
                  </a:lnTo>
                  <a:lnTo>
                    <a:pt x="409" y="383"/>
                  </a:lnTo>
                  <a:lnTo>
                    <a:pt x="407" y="383"/>
                  </a:lnTo>
                  <a:lnTo>
                    <a:pt x="404" y="383"/>
                  </a:lnTo>
                  <a:lnTo>
                    <a:pt x="402" y="382"/>
                  </a:lnTo>
                  <a:lnTo>
                    <a:pt x="399" y="382"/>
                  </a:lnTo>
                  <a:lnTo>
                    <a:pt x="399" y="382"/>
                  </a:lnTo>
                  <a:lnTo>
                    <a:pt x="398" y="382"/>
                  </a:lnTo>
                  <a:lnTo>
                    <a:pt x="396" y="381"/>
                  </a:lnTo>
                  <a:lnTo>
                    <a:pt x="396" y="381"/>
                  </a:lnTo>
                  <a:lnTo>
                    <a:pt x="396" y="381"/>
                  </a:lnTo>
                  <a:lnTo>
                    <a:pt x="396" y="378"/>
                  </a:lnTo>
                  <a:lnTo>
                    <a:pt x="395" y="374"/>
                  </a:lnTo>
                  <a:lnTo>
                    <a:pt x="393" y="371"/>
                  </a:lnTo>
                  <a:lnTo>
                    <a:pt x="392" y="368"/>
                  </a:lnTo>
                  <a:lnTo>
                    <a:pt x="390" y="365"/>
                  </a:lnTo>
                  <a:lnTo>
                    <a:pt x="387" y="365"/>
                  </a:lnTo>
                  <a:lnTo>
                    <a:pt x="383" y="368"/>
                  </a:lnTo>
                  <a:lnTo>
                    <a:pt x="382" y="368"/>
                  </a:lnTo>
                  <a:lnTo>
                    <a:pt x="377" y="365"/>
                  </a:lnTo>
                  <a:lnTo>
                    <a:pt x="372" y="362"/>
                  </a:lnTo>
                  <a:lnTo>
                    <a:pt x="368" y="359"/>
                  </a:lnTo>
                  <a:lnTo>
                    <a:pt x="363" y="357"/>
                  </a:lnTo>
                  <a:lnTo>
                    <a:pt x="362" y="359"/>
                  </a:lnTo>
                  <a:lnTo>
                    <a:pt x="366" y="363"/>
                  </a:lnTo>
                  <a:lnTo>
                    <a:pt x="375" y="372"/>
                  </a:lnTo>
                  <a:lnTo>
                    <a:pt x="375" y="375"/>
                  </a:lnTo>
                  <a:lnTo>
                    <a:pt x="375" y="377"/>
                  </a:lnTo>
                  <a:lnTo>
                    <a:pt x="376" y="380"/>
                  </a:lnTo>
                  <a:lnTo>
                    <a:pt x="376" y="381"/>
                  </a:lnTo>
                  <a:lnTo>
                    <a:pt x="375" y="381"/>
                  </a:lnTo>
                  <a:lnTo>
                    <a:pt x="374" y="381"/>
                  </a:lnTo>
                  <a:lnTo>
                    <a:pt x="371" y="380"/>
                  </a:lnTo>
                  <a:lnTo>
                    <a:pt x="368" y="381"/>
                  </a:lnTo>
                  <a:lnTo>
                    <a:pt x="366" y="381"/>
                  </a:lnTo>
                  <a:lnTo>
                    <a:pt x="365" y="382"/>
                  </a:lnTo>
                  <a:lnTo>
                    <a:pt x="366" y="385"/>
                  </a:lnTo>
                  <a:lnTo>
                    <a:pt x="369" y="389"/>
                  </a:lnTo>
                  <a:lnTo>
                    <a:pt x="371" y="390"/>
                  </a:lnTo>
                  <a:lnTo>
                    <a:pt x="374" y="393"/>
                  </a:lnTo>
                  <a:lnTo>
                    <a:pt x="376" y="396"/>
                  </a:lnTo>
                  <a:lnTo>
                    <a:pt x="376" y="398"/>
                  </a:lnTo>
                  <a:lnTo>
                    <a:pt x="365" y="410"/>
                  </a:lnTo>
                  <a:lnTo>
                    <a:pt x="365" y="410"/>
                  </a:lnTo>
                  <a:lnTo>
                    <a:pt x="363" y="410"/>
                  </a:lnTo>
                  <a:lnTo>
                    <a:pt x="363" y="410"/>
                  </a:lnTo>
                  <a:lnTo>
                    <a:pt x="362" y="410"/>
                  </a:lnTo>
                  <a:lnTo>
                    <a:pt x="359" y="408"/>
                  </a:lnTo>
                  <a:lnTo>
                    <a:pt x="359" y="407"/>
                  </a:lnTo>
                  <a:lnTo>
                    <a:pt x="357" y="404"/>
                  </a:lnTo>
                  <a:lnTo>
                    <a:pt x="357" y="399"/>
                  </a:lnTo>
                  <a:lnTo>
                    <a:pt x="347" y="387"/>
                  </a:lnTo>
                  <a:lnTo>
                    <a:pt x="339" y="383"/>
                  </a:lnTo>
                  <a:lnTo>
                    <a:pt x="332" y="390"/>
                  </a:lnTo>
                  <a:lnTo>
                    <a:pt x="326" y="387"/>
                  </a:lnTo>
                  <a:lnTo>
                    <a:pt x="327" y="396"/>
                  </a:lnTo>
                  <a:lnTo>
                    <a:pt x="312" y="410"/>
                  </a:lnTo>
                  <a:lnTo>
                    <a:pt x="312" y="410"/>
                  </a:lnTo>
                  <a:lnTo>
                    <a:pt x="309" y="411"/>
                  </a:lnTo>
                  <a:lnTo>
                    <a:pt x="306" y="411"/>
                  </a:lnTo>
                  <a:lnTo>
                    <a:pt x="303" y="411"/>
                  </a:lnTo>
                  <a:lnTo>
                    <a:pt x="300" y="410"/>
                  </a:lnTo>
                  <a:lnTo>
                    <a:pt x="297" y="407"/>
                  </a:lnTo>
                  <a:lnTo>
                    <a:pt x="297" y="404"/>
                  </a:lnTo>
                  <a:lnTo>
                    <a:pt x="300" y="398"/>
                  </a:lnTo>
                  <a:lnTo>
                    <a:pt x="300" y="396"/>
                  </a:lnTo>
                  <a:lnTo>
                    <a:pt x="303" y="395"/>
                  </a:lnTo>
                  <a:lnTo>
                    <a:pt x="305" y="393"/>
                  </a:lnTo>
                  <a:lnTo>
                    <a:pt x="306" y="393"/>
                  </a:lnTo>
                  <a:lnTo>
                    <a:pt x="291" y="395"/>
                  </a:lnTo>
                  <a:lnTo>
                    <a:pt x="288" y="404"/>
                  </a:lnTo>
                  <a:lnTo>
                    <a:pt x="276" y="398"/>
                  </a:lnTo>
                  <a:lnTo>
                    <a:pt x="279" y="390"/>
                  </a:lnTo>
                  <a:lnTo>
                    <a:pt x="260" y="372"/>
                  </a:lnTo>
                  <a:lnTo>
                    <a:pt x="254" y="372"/>
                  </a:lnTo>
                  <a:lnTo>
                    <a:pt x="245" y="368"/>
                  </a:lnTo>
                  <a:lnTo>
                    <a:pt x="245" y="368"/>
                  </a:lnTo>
                  <a:lnTo>
                    <a:pt x="243" y="369"/>
                  </a:lnTo>
                  <a:lnTo>
                    <a:pt x="242" y="369"/>
                  </a:lnTo>
                  <a:lnTo>
                    <a:pt x="240" y="371"/>
                  </a:lnTo>
                  <a:lnTo>
                    <a:pt x="237" y="371"/>
                  </a:lnTo>
                  <a:lnTo>
                    <a:pt x="237" y="369"/>
                  </a:lnTo>
                  <a:lnTo>
                    <a:pt x="236" y="368"/>
                  </a:lnTo>
                  <a:lnTo>
                    <a:pt x="234" y="365"/>
                  </a:lnTo>
                  <a:lnTo>
                    <a:pt x="234" y="357"/>
                  </a:lnTo>
                  <a:lnTo>
                    <a:pt x="228" y="355"/>
                  </a:lnTo>
                  <a:lnTo>
                    <a:pt x="228" y="353"/>
                  </a:lnTo>
                  <a:lnTo>
                    <a:pt x="228" y="352"/>
                  </a:lnTo>
                  <a:lnTo>
                    <a:pt x="227" y="350"/>
                  </a:lnTo>
                  <a:lnTo>
                    <a:pt x="227" y="348"/>
                  </a:lnTo>
                  <a:lnTo>
                    <a:pt x="225" y="345"/>
                  </a:lnTo>
                  <a:lnTo>
                    <a:pt x="222" y="344"/>
                  </a:lnTo>
                  <a:lnTo>
                    <a:pt x="219" y="345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4" y="350"/>
                  </a:lnTo>
                  <a:lnTo>
                    <a:pt x="213" y="350"/>
                  </a:lnTo>
                  <a:lnTo>
                    <a:pt x="212" y="352"/>
                  </a:lnTo>
                  <a:lnTo>
                    <a:pt x="209" y="352"/>
                  </a:lnTo>
                  <a:lnTo>
                    <a:pt x="207" y="350"/>
                  </a:lnTo>
                  <a:lnTo>
                    <a:pt x="206" y="348"/>
                  </a:lnTo>
                  <a:lnTo>
                    <a:pt x="206" y="342"/>
                  </a:lnTo>
                  <a:lnTo>
                    <a:pt x="206" y="342"/>
                  </a:lnTo>
                  <a:lnTo>
                    <a:pt x="207" y="341"/>
                  </a:lnTo>
                  <a:lnTo>
                    <a:pt x="207" y="339"/>
                  </a:lnTo>
                  <a:lnTo>
                    <a:pt x="207" y="338"/>
                  </a:lnTo>
                  <a:lnTo>
                    <a:pt x="195" y="339"/>
                  </a:lnTo>
                  <a:lnTo>
                    <a:pt x="181" y="348"/>
                  </a:lnTo>
                  <a:lnTo>
                    <a:pt x="177" y="350"/>
                  </a:lnTo>
                  <a:lnTo>
                    <a:pt x="189" y="362"/>
                  </a:lnTo>
                  <a:lnTo>
                    <a:pt x="188" y="368"/>
                  </a:lnTo>
                  <a:lnTo>
                    <a:pt x="171" y="372"/>
                  </a:lnTo>
                  <a:lnTo>
                    <a:pt x="171" y="372"/>
                  </a:lnTo>
                  <a:lnTo>
                    <a:pt x="168" y="372"/>
                  </a:lnTo>
                  <a:lnTo>
                    <a:pt x="165" y="372"/>
                  </a:lnTo>
                  <a:lnTo>
                    <a:pt x="162" y="372"/>
                  </a:lnTo>
                  <a:lnTo>
                    <a:pt x="156" y="372"/>
                  </a:lnTo>
                  <a:lnTo>
                    <a:pt x="151" y="371"/>
                  </a:lnTo>
                  <a:lnTo>
                    <a:pt x="145" y="371"/>
                  </a:lnTo>
                  <a:lnTo>
                    <a:pt x="140" y="369"/>
                  </a:lnTo>
                  <a:lnTo>
                    <a:pt x="134" y="368"/>
                  </a:lnTo>
                  <a:lnTo>
                    <a:pt x="126" y="366"/>
                  </a:lnTo>
                  <a:lnTo>
                    <a:pt x="120" y="365"/>
                  </a:lnTo>
                  <a:lnTo>
                    <a:pt x="114" y="363"/>
                  </a:lnTo>
                  <a:lnTo>
                    <a:pt x="108" y="360"/>
                  </a:lnTo>
                  <a:lnTo>
                    <a:pt x="102" y="357"/>
                  </a:lnTo>
                  <a:lnTo>
                    <a:pt x="98" y="355"/>
                  </a:lnTo>
                  <a:lnTo>
                    <a:pt x="94" y="352"/>
                  </a:lnTo>
                  <a:lnTo>
                    <a:pt x="94" y="352"/>
                  </a:lnTo>
                  <a:lnTo>
                    <a:pt x="91" y="352"/>
                  </a:lnTo>
                  <a:lnTo>
                    <a:pt x="88" y="352"/>
                  </a:lnTo>
                  <a:lnTo>
                    <a:pt x="84" y="350"/>
                  </a:lnTo>
                  <a:lnTo>
                    <a:pt x="79" y="350"/>
                  </a:lnTo>
                  <a:lnTo>
                    <a:pt x="76" y="350"/>
                  </a:lnTo>
                  <a:lnTo>
                    <a:pt x="75" y="350"/>
                  </a:lnTo>
                  <a:lnTo>
                    <a:pt x="74" y="350"/>
                  </a:lnTo>
                  <a:lnTo>
                    <a:pt x="75" y="344"/>
                  </a:lnTo>
                  <a:lnTo>
                    <a:pt x="82" y="338"/>
                  </a:lnTo>
                  <a:lnTo>
                    <a:pt x="74" y="322"/>
                  </a:lnTo>
                  <a:lnTo>
                    <a:pt x="68" y="330"/>
                  </a:lnTo>
                  <a:lnTo>
                    <a:pt x="71" y="335"/>
                  </a:lnTo>
                  <a:lnTo>
                    <a:pt x="68" y="338"/>
                  </a:lnTo>
                  <a:lnTo>
                    <a:pt x="63" y="342"/>
                  </a:lnTo>
                  <a:lnTo>
                    <a:pt x="71" y="345"/>
                  </a:lnTo>
                  <a:lnTo>
                    <a:pt x="68" y="352"/>
                  </a:lnTo>
                  <a:lnTo>
                    <a:pt x="68" y="352"/>
                  </a:lnTo>
                  <a:lnTo>
                    <a:pt x="63" y="352"/>
                  </a:lnTo>
                  <a:lnTo>
                    <a:pt x="60" y="352"/>
                  </a:lnTo>
                  <a:lnTo>
                    <a:pt x="54" y="352"/>
                  </a:lnTo>
                  <a:lnTo>
                    <a:pt x="46" y="352"/>
                  </a:lnTo>
                  <a:lnTo>
                    <a:pt x="41" y="353"/>
                  </a:lnTo>
                  <a:lnTo>
                    <a:pt x="35" y="355"/>
                  </a:lnTo>
                  <a:lnTo>
                    <a:pt x="30" y="357"/>
                  </a:lnTo>
                  <a:lnTo>
                    <a:pt x="30" y="357"/>
                  </a:lnTo>
                  <a:lnTo>
                    <a:pt x="28" y="357"/>
                  </a:lnTo>
                  <a:lnTo>
                    <a:pt x="27" y="356"/>
                  </a:lnTo>
                  <a:lnTo>
                    <a:pt x="27" y="355"/>
                  </a:lnTo>
                  <a:lnTo>
                    <a:pt x="25" y="352"/>
                  </a:lnTo>
                  <a:lnTo>
                    <a:pt x="24" y="350"/>
                  </a:lnTo>
                  <a:lnTo>
                    <a:pt x="24" y="350"/>
                  </a:lnTo>
                  <a:lnTo>
                    <a:pt x="22" y="350"/>
                  </a:lnTo>
                  <a:lnTo>
                    <a:pt x="32" y="338"/>
                  </a:lnTo>
                  <a:lnTo>
                    <a:pt x="33" y="32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2" name="Freeform 46"/>
            <p:cNvSpPr>
              <a:spLocks/>
            </p:cNvSpPr>
            <p:nvPr/>
          </p:nvSpPr>
          <p:spPr bwMode="auto">
            <a:xfrm>
              <a:off x="2351784" y="5207405"/>
              <a:ext cx="315874" cy="278190"/>
            </a:xfrm>
            <a:custGeom>
              <a:avLst/>
              <a:gdLst>
                <a:gd name="T0" fmla="*/ 36 w 471"/>
                <a:gd name="T1" fmla="*/ 297 h 415"/>
                <a:gd name="T2" fmla="*/ 32 w 471"/>
                <a:gd name="T3" fmla="*/ 272 h 415"/>
                <a:gd name="T4" fmla="*/ 48 w 471"/>
                <a:gd name="T5" fmla="*/ 237 h 415"/>
                <a:gd name="T6" fmla="*/ 45 w 471"/>
                <a:gd name="T7" fmla="*/ 203 h 415"/>
                <a:gd name="T8" fmla="*/ 24 w 471"/>
                <a:gd name="T9" fmla="*/ 138 h 415"/>
                <a:gd name="T10" fmla="*/ 250 w 471"/>
                <a:gd name="T11" fmla="*/ 4 h 415"/>
                <a:gd name="T12" fmla="*/ 257 w 471"/>
                <a:gd name="T13" fmla="*/ 11 h 415"/>
                <a:gd name="T14" fmla="*/ 267 w 471"/>
                <a:gd name="T15" fmla="*/ 50 h 415"/>
                <a:gd name="T16" fmla="*/ 264 w 471"/>
                <a:gd name="T17" fmla="*/ 59 h 415"/>
                <a:gd name="T18" fmla="*/ 270 w 471"/>
                <a:gd name="T19" fmla="*/ 67 h 415"/>
                <a:gd name="T20" fmla="*/ 273 w 471"/>
                <a:gd name="T21" fmla="*/ 78 h 415"/>
                <a:gd name="T22" fmla="*/ 258 w 471"/>
                <a:gd name="T23" fmla="*/ 86 h 415"/>
                <a:gd name="T24" fmla="*/ 263 w 471"/>
                <a:gd name="T25" fmla="*/ 100 h 415"/>
                <a:gd name="T26" fmla="*/ 240 w 471"/>
                <a:gd name="T27" fmla="*/ 146 h 415"/>
                <a:gd name="T28" fmla="*/ 231 w 471"/>
                <a:gd name="T29" fmla="*/ 159 h 415"/>
                <a:gd name="T30" fmla="*/ 227 w 471"/>
                <a:gd name="T31" fmla="*/ 171 h 415"/>
                <a:gd name="T32" fmla="*/ 230 w 471"/>
                <a:gd name="T33" fmla="*/ 183 h 415"/>
                <a:gd name="T34" fmla="*/ 219 w 471"/>
                <a:gd name="T35" fmla="*/ 197 h 415"/>
                <a:gd name="T36" fmla="*/ 221 w 471"/>
                <a:gd name="T37" fmla="*/ 209 h 415"/>
                <a:gd name="T38" fmla="*/ 387 w 471"/>
                <a:gd name="T39" fmla="*/ 226 h 415"/>
                <a:gd name="T40" fmla="*/ 392 w 471"/>
                <a:gd name="T41" fmla="*/ 252 h 415"/>
                <a:gd name="T42" fmla="*/ 407 w 471"/>
                <a:gd name="T43" fmla="*/ 289 h 415"/>
                <a:gd name="T44" fmla="*/ 395 w 471"/>
                <a:gd name="T45" fmla="*/ 289 h 415"/>
                <a:gd name="T46" fmla="*/ 365 w 471"/>
                <a:gd name="T47" fmla="*/ 272 h 415"/>
                <a:gd name="T48" fmla="*/ 344 w 471"/>
                <a:gd name="T49" fmla="*/ 286 h 415"/>
                <a:gd name="T50" fmla="*/ 336 w 471"/>
                <a:gd name="T51" fmla="*/ 297 h 415"/>
                <a:gd name="T52" fmla="*/ 360 w 471"/>
                <a:gd name="T53" fmla="*/ 309 h 415"/>
                <a:gd name="T54" fmla="*/ 387 w 471"/>
                <a:gd name="T55" fmla="*/ 297 h 415"/>
                <a:gd name="T56" fmla="*/ 399 w 471"/>
                <a:gd name="T57" fmla="*/ 306 h 415"/>
                <a:gd name="T58" fmla="*/ 398 w 471"/>
                <a:gd name="T59" fmla="*/ 317 h 415"/>
                <a:gd name="T60" fmla="*/ 413 w 471"/>
                <a:gd name="T61" fmla="*/ 315 h 415"/>
                <a:gd name="T62" fmla="*/ 420 w 471"/>
                <a:gd name="T63" fmla="*/ 303 h 415"/>
                <a:gd name="T64" fmla="*/ 428 w 471"/>
                <a:gd name="T65" fmla="*/ 302 h 415"/>
                <a:gd name="T66" fmla="*/ 428 w 471"/>
                <a:gd name="T67" fmla="*/ 323 h 415"/>
                <a:gd name="T68" fmla="*/ 410 w 471"/>
                <a:gd name="T69" fmla="*/ 352 h 415"/>
                <a:gd name="T70" fmla="*/ 418 w 471"/>
                <a:gd name="T71" fmla="*/ 365 h 415"/>
                <a:gd name="T72" fmla="*/ 468 w 471"/>
                <a:gd name="T73" fmla="*/ 401 h 415"/>
                <a:gd name="T74" fmla="*/ 440 w 471"/>
                <a:gd name="T75" fmla="*/ 413 h 415"/>
                <a:gd name="T76" fmla="*/ 435 w 471"/>
                <a:gd name="T77" fmla="*/ 396 h 415"/>
                <a:gd name="T78" fmla="*/ 425 w 471"/>
                <a:gd name="T79" fmla="*/ 386 h 415"/>
                <a:gd name="T80" fmla="*/ 399 w 471"/>
                <a:gd name="T81" fmla="*/ 382 h 415"/>
                <a:gd name="T82" fmla="*/ 393 w 471"/>
                <a:gd name="T83" fmla="*/ 371 h 415"/>
                <a:gd name="T84" fmla="*/ 372 w 471"/>
                <a:gd name="T85" fmla="*/ 362 h 415"/>
                <a:gd name="T86" fmla="*/ 375 w 471"/>
                <a:gd name="T87" fmla="*/ 377 h 415"/>
                <a:gd name="T88" fmla="*/ 366 w 471"/>
                <a:gd name="T89" fmla="*/ 381 h 415"/>
                <a:gd name="T90" fmla="*/ 376 w 471"/>
                <a:gd name="T91" fmla="*/ 398 h 415"/>
                <a:gd name="T92" fmla="*/ 359 w 471"/>
                <a:gd name="T93" fmla="*/ 407 h 415"/>
                <a:gd name="T94" fmla="*/ 312 w 471"/>
                <a:gd name="T95" fmla="*/ 410 h 415"/>
                <a:gd name="T96" fmla="*/ 297 w 471"/>
                <a:gd name="T97" fmla="*/ 404 h 415"/>
                <a:gd name="T98" fmla="*/ 288 w 471"/>
                <a:gd name="T99" fmla="*/ 404 h 415"/>
                <a:gd name="T100" fmla="*/ 243 w 471"/>
                <a:gd name="T101" fmla="*/ 369 h 415"/>
                <a:gd name="T102" fmla="*/ 228 w 471"/>
                <a:gd name="T103" fmla="*/ 355 h 415"/>
                <a:gd name="T104" fmla="*/ 219 w 471"/>
                <a:gd name="T105" fmla="*/ 345 h 415"/>
                <a:gd name="T106" fmla="*/ 207 w 471"/>
                <a:gd name="T107" fmla="*/ 350 h 415"/>
                <a:gd name="T108" fmla="*/ 195 w 471"/>
                <a:gd name="T109" fmla="*/ 339 h 415"/>
                <a:gd name="T110" fmla="*/ 168 w 471"/>
                <a:gd name="T111" fmla="*/ 372 h 415"/>
                <a:gd name="T112" fmla="*/ 126 w 471"/>
                <a:gd name="T113" fmla="*/ 366 h 415"/>
                <a:gd name="T114" fmla="*/ 94 w 471"/>
                <a:gd name="T115" fmla="*/ 352 h 415"/>
                <a:gd name="T116" fmla="*/ 75 w 471"/>
                <a:gd name="T117" fmla="*/ 344 h 415"/>
                <a:gd name="T118" fmla="*/ 68 w 471"/>
                <a:gd name="T119" fmla="*/ 352 h 415"/>
                <a:gd name="T120" fmla="*/ 35 w 471"/>
                <a:gd name="T121" fmla="*/ 355 h 415"/>
                <a:gd name="T122" fmla="*/ 24 w 471"/>
                <a:gd name="T123" fmla="*/ 350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1" h="415">
                  <a:moveTo>
                    <a:pt x="33" y="329"/>
                  </a:moveTo>
                  <a:lnTo>
                    <a:pt x="33" y="329"/>
                  </a:lnTo>
                  <a:lnTo>
                    <a:pt x="39" y="322"/>
                  </a:lnTo>
                  <a:lnTo>
                    <a:pt x="42" y="315"/>
                  </a:lnTo>
                  <a:lnTo>
                    <a:pt x="42" y="309"/>
                  </a:lnTo>
                  <a:lnTo>
                    <a:pt x="41" y="305"/>
                  </a:lnTo>
                  <a:lnTo>
                    <a:pt x="38" y="300"/>
                  </a:lnTo>
                  <a:lnTo>
                    <a:pt x="36" y="297"/>
                  </a:lnTo>
                  <a:lnTo>
                    <a:pt x="33" y="296"/>
                  </a:lnTo>
                  <a:lnTo>
                    <a:pt x="33" y="296"/>
                  </a:lnTo>
                  <a:lnTo>
                    <a:pt x="36" y="278"/>
                  </a:lnTo>
                  <a:lnTo>
                    <a:pt x="36" y="278"/>
                  </a:lnTo>
                  <a:lnTo>
                    <a:pt x="36" y="278"/>
                  </a:lnTo>
                  <a:lnTo>
                    <a:pt x="35" y="276"/>
                  </a:lnTo>
                  <a:lnTo>
                    <a:pt x="33" y="275"/>
                  </a:lnTo>
                  <a:lnTo>
                    <a:pt x="32" y="272"/>
                  </a:lnTo>
                  <a:lnTo>
                    <a:pt x="32" y="269"/>
                  </a:lnTo>
                  <a:lnTo>
                    <a:pt x="33" y="264"/>
                  </a:lnTo>
                  <a:lnTo>
                    <a:pt x="36" y="259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45" y="248"/>
                  </a:lnTo>
                  <a:lnTo>
                    <a:pt x="46" y="243"/>
                  </a:lnTo>
                  <a:lnTo>
                    <a:pt x="48" y="237"/>
                  </a:lnTo>
                  <a:lnTo>
                    <a:pt x="49" y="233"/>
                  </a:lnTo>
                  <a:lnTo>
                    <a:pt x="49" y="229"/>
                  </a:lnTo>
                  <a:lnTo>
                    <a:pt x="49" y="223"/>
                  </a:lnTo>
                  <a:lnTo>
                    <a:pt x="49" y="219"/>
                  </a:lnTo>
                  <a:lnTo>
                    <a:pt x="48" y="215"/>
                  </a:lnTo>
                  <a:lnTo>
                    <a:pt x="46" y="210"/>
                  </a:lnTo>
                  <a:lnTo>
                    <a:pt x="45" y="206"/>
                  </a:lnTo>
                  <a:lnTo>
                    <a:pt x="45" y="203"/>
                  </a:lnTo>
                  <a:lnTo>
                    <a:pt x="43" y="198"/>
                  </a:lnTo>
                  <a:lnTo>
                    <a:pt x="42" y="196"/>
                  </a:lnTo>
                  <a:lnTo>
                    <a:pt x="41" y="194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35" y="176"/>
                  </a:lnTo>
                  <a:lnTo>
                    <a:pt x="24" y="164"/>
                  </a:lnTo>
                  <a:lnTo>
                    <a:pt x="24" y="138"/>
                  </a:lnTo>
                  <a:lnTo>
                    <a:pt x="3" y="113"/>
                  </a:lnTo>
                  <a:lnTo>
                    <a:pt x="0" y="7"/>
                  </a:lnTo>
                  <a:lnTo>
                    <a:pt x="251" y="0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50" y="1"/>
                  </a:lnTo>
                  <a:lnTo>
                    <a:pt x="250" y="2"/>
                  </a:lnTo>
                  <a:lnTo>
                    <a:pt x="250" y="4"/>
                  </a:lnTo>
                  <a:lnTo>
                    <a:pt x="250" y="7"/>
                  </a:lnTo>
                  <a:lnTo>
                    <a:pt x="250" y="8"/>
                  </a:lnTo>
                  <a:lnTo>
                    <a:pt x="251" y="9"/>
                  </a:lnTo>
                  <a:lnTo>
                    <a:pt x="252" y="9"/>
                  </a:lnTo>
                  <a:lnTo>
                    <a:pt x="254" y="8"/>
                  </a:lnTo>
                  <a:lnTo>
                    <a:pt x="254" y="8"/>
                  </a:lnTo>
                  <a:lnTo>
                    <a:pt x="255" y="8"/>
                  </a:lnTo>
                  <a:lnTo>
                    <a:pt x="257" y="11"/>
                  </a:lnTo>
                  <a:lnTo>
                    <a:pt x="257" y="12"/>
                  </a:lnTo>
                  <a:lnTo>
                    <a:pt x="258" y="14"/>
                  </a:lnTo>
                  <a:lnTo>
                    <a:pt x="257" y="24"/>
                  </a:lnTo>
                  <a:lnTo>
                    <a:pt x="263" y="29"/>
                  </a:lnTo>
                  <a:lnTo>
                    <a:pt x="255" y="37"/>
                  </a:lnTo>
                  <a:lnTo>
                    <a:pt x="257" y="41"/>
                  </a:lnTo>
                  <a:lnTo>
                    <a:pt x="267" y="40"/>
                  </a:lnTo>
                  <a:lnTo>
                    <a:pt x="267" y="50"/>
                  </a:lnTo>
                  <a:lnTo>
                    <a:pt x="267" y="50"/>
                  </a:lnTo>
                  <a:lnTo>
                    <a:pt x="266" y="50"/>
                  </a:lnTo>
                  <a:lnTo>
                    <a:pt x="266" y="51"/>
                  </a:lnTo>
                  <a:lnTo>
                    <a:pt x="264" y="53"/>
                  </a:lnTo>
                  <a:lnTo>
                    <a:pt x="263" y="54"/>
                  </a:lnTo>
                  <a:lnTo>
                    <a:pt x="261" y="56"/>
                  </a:lnTo>
                  <a:lnTo>
                    <a:pt x="263" y="57"/>
                  </a:lnTo>
                  <a:lnTo>
                    <a:pt x="264" y="59"/>
                  </a:lnTo>
                  <a:lnTo>
                    <a:pt x="270" y="59"/>
                  </a:lnTo>
                  <a:lnTo>
                    <a:pt x="270" y="59"/>
                  </a:lnTo>
                  <a:lnTo>
                    <a:pt x="270" y="59"/>
                  </a:lnTo>
                  <a:lnTo>
                    <a:pt x="270" y="60"/>
                  </a:lnTo>
                  <a:lnTo>
                    <a:pt x="270" y="62"/>
                  </a:lnTo>
                  <a:lnTo>
                    <a:pt x="269" y="63"/>
                  </a:lnTo>
                  <a:lnTo>
                    <a:pt x="269" y="65"/>
                  </a:lnTo>
                  <a:lnTo>
                    <a:pt x="270" y="67"/>
                  </a:lnTo>
                  <a:lnTo>
                    <a:pt x="273" y="68"/>
                  </a:lnTo>
                  <a:lnTo>
                    <a:pt x="278" y="68"/>
                  </a:lnTo>
                  <a:lnTo>
                    <a:pt x="278" y="68"/>
                  </a:lnTo>
                  <a:lnTo>
                    <a:pt x="278" y="68"/>
                  </a:lnTo>
                  <a:lnTo>
                    <a:pt x="276" y="71"/>
                  </a:lnTo>
                  <a:lnTo>
                    <a:pt x="275" y="72"/>
                  </a:lnTo>
                  <a:lnTo>
                    <a:pt x="275" y="75"/>
                  </a:lnTo>
                  <a:lnTo>
                    <a:pt x="273" y="78"/>
                  </a:lnTo>
                  <a:lnTo>
                    <a:pt x="272" y="81"/>
                  </a:lnTo>
                  <a:lnTo>
                    <a:pt x="270" y="83"/>
                  </a:lnTo>
                  <a:lnTo>
                    <a:pt x="270" y="84"/>
                  </a:lnTo>
                  <a:lnTo>
                    <a:pt x="270" y="84"/>
                  </a:lnTo>
                  <a:lnTo>
                    <a:pt x="269" y="84"/>
                  </a:lnTo>
                  <a:lnTo>
                    <a:pt x="266" y="84"/>
                  </a:lnTo>
                  <a:lnTo>
                    <a:pt x="261" y="86"/>
                  </a:lnTo>
                  <a:lnTo>
                    <a:pt x="258" y="86"/>
                  </a:lnTo>
                  <a:lnTo>
                    <a:pt x="255" y="87"/>
                  </a:lnTo>
                  <a:lnTo>
                    <a:pt x="255" y="89"/>
                  </a:lnTo>
                  <a:lnTo>
                    <a:pt x="258" y="90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4" y="95"/>
                  </a:lnTo>
                  <a:lnTo>
                    <a:pt x="264" y="95"/>
                  </a:lnTo>
                  <a:lnTo>
                    <a:pt x="263" y="100"/>
                  </a:lnTo>
                  <a:lnTo>
                    <a:pt x="260" y="103"/>
                  </a:lnTo>
                  <a:lnTo>
                    <a:pt x="258" y="105"/>
                  </a:lnTo>
                  <a:lnTo>
                    <a:pt x="255" y="108"/>
                  </a:lnTo>
                  <a:lnTo>
                    <a:pt x="255" y="111"/>
                  </a:lnTo>
                  <a:lnTo>
                    <a:pt x="254" y="113"/>
                  </a:lnTo>
                  <a:lnTo>
                    <a:pt x="252" y="123"/>
                  </a:lnTo>
                  <a:lnTo>
                    <a:pt x="246" y="123"/>
                  </a:lnTo>
                  <a:lnTo>
                    <a:pt x="240" y="146"/>
                  </a:lnTo>
                  <a:lnTo>
                    <a:pt x="233" y="150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40" y="152"/>
                  </a:lnTo>
                  <a:lnTo>
                    <a:pt x="239" y="152"/>
                  </a:lnTo>
                  <a:lnTo>
                    <a:pt x="236" y="155"/>
                  </a:lnTo>
                  <a:lnTo>
                    <a:pt x="234" y="156"/>
                  </a:lnTo>
                  <a:lnTo>
                    <a:pt x="231" y="159"/>
                  </a:lnTo>
                  <a:lnTo>
                    <a:pt x="231" y="160"/>
                  </a:lnTo>
                  <a:lnTo>
                    <a:pt x="231" y="163"/>
                  </a:lnTo>
                  <a:lnTo>
                    <a:pt x="233" y="164"/>
                  </a:lnTo>
                  <a:lnTo>
                    <a:pt x="233" y="164"/>
                  </a:lnTo>
                  <a:lnTo>
                    <a:pt x="233" y="166"/>
                  </a:lnTo>
                  <a:lnTo>
                    <a:pt x="231" y="167"/>
                  </a:lnTo>
                  <a:lnTo>
                    <a:pt x="230" y="168"/>
                  </a:lnTo>
                  <a:lnTo>
                    <a:pt x="227" y="171"/>
                  </a:lnTo>
                  <a:lnTo>
                    <a:pt x="227" y="174"/>
                  </a:lnTo>
                  <a:lnTo>
                    <a:pt x="225" y="176"/>
                  </a:lnTo>
                  <a:lnTo>
                    <a:pt x="227" y="177"/>
                  </a:lnTo>
                  <a:lnTo>
                    <a:pt x="230" y="177"/>
                  </a:lnTo>
                  <a:lnTo>
                    <a:pt x="230" y="177"/>
                  </a:lnTo>
                  <a:lnTo>
                    <a:pt x="231" y="179"/>
                  </a:lnTo>
                  <a:lnTo>
                    <a:pt x="231" y="182"/>
                  </a:lnTo>
                  <a:lnTo>
                    <a:pt x="230" y="183"/>
                  </a:lnTo>
                  <a:lnTo>
                    <a:pt x="225" y="188"/>
                  </a:lnTo>
                  <a:lnTo>
                    <a:pt x="225" y="188"/>
                  </a:lnTo>
                  <a:lnTo>
                    <a:pt x="222" y="189"/>
                  </a:lnTo>
                  <a:lnTo>
                    <a:pt x="219" y="191"/>
                  </a:lnTo>
                  <a:lnTo>
                    <a:pt x="219" y="191"/>
                  </a:lnTo>
                  <a:lnTo>
                    <a:pt x="219" y="194"/>
                  </a:lnTo>
                  <a:lnTo>
                    <a:pt x="219" y="196"/>
                  </a:lnTo>
                  <a:lnTo>
                    <a:pt x="219" y="197"/>
                  </a:lnTo>
                  <a:lnTo>
                    <a:pt x="221" y="198"/>
                  </a:lnTo>
                  <a:lnTo>
                    <a:pt x="222" y="198"/>
                  </a:lnTo>
                  <a:lnTo>
                    <a:pt x="222" y="198"/>
                  </a:lnTo>
                  <a:lnTo>
                    <a:pt x="224" y="200"/>
                  </a:lnTo>
                  <a:lnTo>
                    <a:pt x="222" y="201"/>
                  </a:lnTo>
                  <a:lnTo>
                    <a:pt x="222" y="204"/>
                  </a:lnTo>
                  <a:lnTo>
                    <a:pt x="222" y="206"/>
                  </a:lnTo>
                  <a:lnTo>
                    <a:pt x="221" y="209"/>
                  </a:lnTo>
                  <a:lnTo>
                    <a:pt x="221" y="212"/>
                  </a:lnTo>
                  <a:lnTo>
                    <a:pt x="221" y="213"/>
                  </a:lnTo>
                  <a:lnTo>
                    <a:pt x="221" y="215"/>
                  </a:lnTo>
                  <a:lnTo>
                    <a:pt x="390" y="203"/>
                  </a:lnTo>
                  <a:lnTo>
                    <a:pt x="390" y="223"/>
                  </a:lnTo>
                  <a:lnTo>
                    <a:pt x="390" y="223"/>
                  </a:lnTo>
                  <a:lnTo>
                    <a:pt x="389" y="223"/>
                  </a:lnTo>
                  <a:lnTo>
                    <a:pt x="387" y="226"/>
                  </a:lnTo>
                  <a:lnTo>
                    <a:pt x="386" y="230"/>
                  </a:lnTo>
                  <a:lnTo>
                    <a:pt x="384" y="233"/>
                  </a:lnTo>
                  <a:lnTo>
                    <a:pt x="383" y="239"/>
                  </a:lnTo>
                  <a:lnTo>
                    <a:pt x="383" y="243"/>
                  </a:lnTo>
                  <a:lnTo>
                    <a:pt x="386" y="248"/>
                  </a:lnTo>
                  <a:lnTo>
                    <a:pt x="390" y="251"/>
                  </a:lnTo>
                  <a:lnTo>
                    <a:pt x="390" y="251"/>
                  </a:lnTo>
                  <a:lnTo>
                    <a:pt x="392" y="252"/>
                  </a:lnTo>
                  <a:lnTo>
                    <a:pt x="395" y="254"/>
                  </a:lnTo>
                  <a:lnTo>
                    <a:pt x="398" y="259"/>
                  </a:lnTo>
                  <a:lnTo>
                    <a:pt x="402" y="264"/>
                  </a:lnTo>
                  <a:lnTo>
                    <a:pt x="405" y="270"/>
                  </a:lnTo>
                  <a:lnTo>
                    <a:pt x="407" y="276"/>
                  </a:lnTo>
                  <a:lnTo>
                    <a:pt x="407" y="284"/>
                  </a:lnTo>
                  <a:lnTo>
                    <a:pt x="407" y="289"/>
                  </a:lnTo>
                  <a:lnTo>
                    <a:pt x="407" y="289"/>
                  </a:lnTo>
                  <a:lnTo>
                    <a:pt x="407" y="289"/>
                  </a:lnTo>
                  <a:lnTo>
                    <a:pt x="405" y="289"/>
                  </a:lnTo>
                  <a:lnTo>
                    <a:pt x="404" y="289"/>
                  </a:lnTo>
                  <a:lnTo>
                    <a:pt x="401" y="289"/>
                  </a:lnTo>
                  <a:lnTo>
                    <a:pt x="399" y="289"/>
                  </a:lnTo>
                  <a:lnTo>
                    <a:pt x="398" y="289"/>
                  </a:lnTo>
                  <a:lnTo>
                    <a:pt x="396" y="289"/>
                  </a:lnTo>
                  <a:lnTo>
                    <a:pt x="395" y="289"/>
                  </a:lnTo>
                  <a:lnTo>
                    <a:pt x="380" y="282"/>
                  </a:lnTo>
                  <a:lnTo>
                    <a:pt x="376" y="284"/>
                  </a:lnTo>
                  <a:lnTo>
                    <a:pt x="376" y="284"/>
                  </a:lnTo>
                  <a:lnTo>
                    <a:pt x="375" y="282"/>
                  </a:lnTo>
                  <a:lnTo>
                    <a:pt x="374" y="281"/>
                  </a:lnTo>
                  <a:lnTo>
                    <a:pt x="372" y="278"/>
                  </a:lnTo>
                  <a:lnTo>
                    <a:pt x="369" y="275"/>
                  </a:lnTo>
                  <a:lnTo>
                    <a:pt x="365" y="272"/>
                  </a:lnTo>
                  <a:lnTo>
                    <a:pt x="360" y="272"/>
                  </a:lnTo>
                  <a:lnTo>
                    <a:pt x="356" y="273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49" y="279"/>
                  </a:lnTo>
                  <a:lnTo>
                    <a:pt x="347" y="281"/>
                  </a:lnTo>
                  <a:lnTo>
                    <a:pt x="346" y="284"/>
                  </a:lnTo>
                  <a:lnTo>
                    <a:pt x="344" y="286"/>
                  </a:lnTo>
                  <a:lnTo>
                    <a:pt x="342" y="287"/>
                  </a:lnTo>
                  <a:lnTo>
                    <a:pt x="341" y="290"/>
                  </a:lnTo>
                  <a:lnTo>
                    <a:pt x="341" y="292"/>
                  </a:lnTo>
                  <a:lnTo>
                    <a:pt x="339" y="292"/>
                  </a:lnTo>
                  <a:lnTo>
                    <a:pt x="339" y="292"/>
                  </a:lnTo>
                  <a:lnTo>
                    <a:pt x="339" y="293"/>
                  </a:lnTo>
                  <a:lnTo>
                    <a:pt x="338" y="294"/>
                  </a:lnTo>
                  <a:lnTo>
                    <a:pt x="336" y="297"/>
                  </a:lnTo>
                  <a:lnTo>
                    <a:pt x="336" y="300"/>
                  </a:lnTo>
                  <a:lnTo>
                    <a:pt x="338" y="303"/>
                  </a:lnTo>
                  <a:lnTo>
                    <a:pt x="341" y="305"/>
                  </a:lnTo>
                  <a:lnTo>
                    <a:pt x="347" y="308"/>
                  </a:lnTo>
                  <a:lnTo>
                    <a:pt x="357" y="308"/>
                  </a:lnTo>
                  <a:lnTo>
                    <a:pt x="357" y="308"/>
                  </a:lnTo>
                  <a:lnTo>
                    <a:pt x="357" y="308"/>
                  </a:lnTo>
                  <a:lnTo>
                    <a:pt x="360" y="309"/>
                  </a:lnTo>
                  <a:lnTo>
                    <a:pt x="362" y="309"/>
                  </a:lnTo>
                  <a:lnTo>
                    <a:pt x="366" y="309"/>
                  </a:lnTo>
                  <a:lnTo>
                    <a:pt x="369" y="308"/>
                  </a:lnTo>
                  <a:lnTo>
                    <a:pt x="375" y="306"/>
                  </a:lnTo>
                  <a:lnTo>
                    <a:pt x="380" y="303"/>
                  </a:lnTo>
                  <a:lnTo>
                    <a:pt x="386" y="297"/>
                  </a:lnTo>
                  <a:lnTo>
                    <a:pt x="386" y="297"/>
                  </a:lnTo>
                  <a:lnTo>
                    <a:pt x="387" y="297"/>
                  </a:lnTo>
                  <a:lnTo>
                    <a:pt x="390" y="297"/>
                  </a:lnTo>
                  <a:lnTo>
                    <a:pt x="392" y="300"/>
                  </a:lnTo>
                  <a:lnTo>
                    <a:pt x="393" y="300"/>
                  </a:lnTo>
                  <a:lnTo>
                    <a:pt x="401" y="293"/>
                  </a:lnTo>
                  <a:lnTo>
                    <a:pt x="407" y="297"/>
                  </a:lnTo>
                  <a:lnTo>
                    <a:pt x="401" y="306"/>
                  </a:lnTo>
                  <a:lnTo>
                    <a:pt x="401" y="306"/>
                  </a:lnTo>
                  <a:lnTo>
                    <a:pt x="399" y="306"/>
                  </a:lnTo>
                  <a:lnTo>
                    <a:pt x="396" y="308"/>
                  </a:lnTo>
                  <a:lnTo>
                    <a:pt x="393" y="309"/>
                  </a:lnTo>
                  <a:lnTo>
                    <a:pt x="390" y="311"/>
                  </a:lnTo>
                  <a:lnTo>
                    <a:pt x="389" y="312"/>
                  </a:lnTo>
                  <a:lnTo>
                    <a:pt x="387" y="315"/>
                  </a:lnTo>
                  <a:lnTo>
                    <a:pt x="390" y="315"/>
                  </a:lnTo>
                  <a:lnTo>
                    <a:pt x="398" y="317"/>
                  </a:lnTo>
                  <a:lnTo>
                    <a:pt x="398" y="317"/>
                  </a:lnTo>
                  <a:lnTo>
                    <a:pt x="399" y="317"/>
                  </a:lnTo>
                  <a:lnTo>
                    <a:pt x="401" y="318"/>
                  </a:lnTo>
                  <a:lnTo>
                    <a:pt x="405" y="319"/>
                  </a:lnTo>
                  <a:lnTo>
                    <a:pt x="409" y="320"/>
                  </a:lnTo>
                  <a:lnTo>
                    <a:pt x="412" y="322"/>
                  </a:lnTo>
                  <a:lnTo>
                    <a:pt x="415" y="320"/>
                  </a:lnTo>
                  <a:lnTo>
                    <a:pt x="415" y="319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4"/>
                  </a:lnTo>
                  <a:lnTo>
                    <a:pt x="415" y="312"/>
                  </a:lnTo>
                  <a:lnTo>
                    <a:pt x="416" y="311"/>
                  </a:lnTo>
                  <a:lnTo>
                    <a:pt x="418" y="308"/>
                  </a:lnTo>
                  <a:lnTo>
                    <a:pt x="419" y="306"/>
                  </a:lnTo>
                  <a:lnTo>
                    <a:pt x="419" y="305"/>
                  </a:lnTo>
                  <a:lnTo>
                    <a:pt x="420" y="303"/>
                  </a:lnTo>
                  <a:lnTo>
                    <a:pt x="420" y="303"/>
                  </a:lnTo>
                  <a:lnTo>
                    <a:pt x="420" y="303"/>
                  </a:lnTo>
                  <a:lnTo>
                    <a:pt x="422" y="302"/>
                  </a:lnTo>
                  <a:lnTo>
                    <a:pt x="422" y="302"/>
                  </a:lnTo>
                  <a:lnTo>
                    <a:pt x="425" y="302"/>
                  </a:lnTo>
                  <a:lnTo>
                    <a:pt x="426" y="302"/>
                  </a:lnTo>
                  <a:lnTo>
                    <a:pt x="426" y="302"/>
                  </a:lnTo>
                  <a:lnTo>
                    <a:pt x="428" y="302"/>
                  </a:lnTo>
                  <a:lnTo>
                    <a:pt x="426" y="303"/>
                  </a:lnTo>
                  <a:lnTo>
                    <a:pt x="425" y="305"/>
                  </a:lnTo>
                  <a:lnTo>
                    <a:pt x="425" y="305"/>
                  </a:lnTo>
                  <a:lnTo>
                    <a:pt x="425" y="308"/>
                  </a:lnTo>
                  <a:lnTo>
                    <a:pt x="426" y="309"/>
                  </a:lnTo>
                  <a:lnTo>
                    <a:pt x="428" y="312"/>
                  </a:lnTo>
                  <a:lnTo>
                    <a:pt x="429" y="312"/>
                  </a:lnTo>
                  <a:lnTo>
                    <a:pt x="428" y="323"/>
                  </a:lnTo>
                  <a:lnTo>
                    <a:pt x="431" y="327"/>
                  </a:lnTo>
                  <a:lnTo>
                    <a:pt x="442" y="327"/>
                  </a:lnTo>
                  <a:lnTo>
                    <a:pt x="440" y="333"/>
                  </a:lnTo>
                  <a:lnTo>
                    <a:pt x="428" y="333"/>
                  </a:lnTo>
                  <a:lnTo>
                    <a:pt x="422" y="338"/>
                  </a:lnTo>
                  <a:lnTo>
                    <a:pt x="410" y="338"/>
                  </a:lnTo>
                  <a:lnTo>
                    <a:pt x="410" y="352"/>
                  </a:lnTo>
                  <a:lnTo>
                    <a:pt x="410" y="352"/>
                  </a:lnTo>
                  <a:lnTo>
                    <a:pt x="410" y="352"/>
                  </a:lnTo>
                  <a:lnTo>
                    <a:pt x="410" y="353"/>
                  </a:lnTo>
                  <a:lnTo>
                    <a:pt x="410" y="356"/>
                  </a:lnTo>
                  <a:lnTo>
                    <a:pt x="410" y="357"/>
                  </a:lnTo>
                  <a:lnTo>
                    <a:pt x="410" y="360"/>
                  </a:lnTo>
                  <a:lnTo>
                    <a:pt x="412" y="362"/>
                  </a:lnTo>
                  <a:lnTo>
                    <a:pt x="413" y="363"/>
                  </a:lnTo>
                  <a:lnTo>
                    <a:pt x="418" y="365"/>
                  </a:lnTo>
                  <a:lnTo>
                    <a:pt x="422" y="369"/>
                  </a:lnTo>
                  <a:lnTo>
                    <a:pt x="426" y="374"/>
                  </a:lnTo>
                  <a:lnTo>
                    <a:pt x="437" y="374"/>
                  </a:lnTo>
                  <a:lnTo>
                    <a:pt x="442" y="380"/>
                  </a:lnTo>
                  <a:lnTo>
                    <a:pt x="459" y="385"/>
                  </a:lnTo>
                  <a:lnTo>
                    <a:pt x="458" y="390"/>
                  </a:lnTo>
                  <a:lnTo>
                    <a:pt x="470" y="390"/>
                  </a:lnTo>
                  <a:lnTo>
                    <a:pt x="468" y="401"/>
                  </a:lnTo>
                  <a:lnTo>
                    <a:pt x="458" y="405"/>
                  </a:lnTo>
                  <a:lnTo>
                    <a:pt x="456" y="411"/>
                  </a:lnTo>
                  <a:lnTo>
                    <a:pt x="449" y="404"/>
                  </a:lnTo>
                  <a:lnTo>
                    <a:pt x="449" y="404"/>
                  </a:lnTo>
                  <a:lnTo>
                    <a:pt x="448" y="404"/>
                  </a:lnTo>
                  <a:lnTo>
                    <a:pt x="446" y="407"/>
                  </a:lnTo>
                  <a:lnTo>
                    <a:pt x="443" y="410"/>
                  </a:lnTo>
                  <a:lnTo>
                    <a:pt x="440" y="413"/>
                  </a:lnTo>
                  <a:lnTo>
                    <a:pt x="439" y="414"/>
                  </a:lnTo>
                  <a:lnTo>
                    <a:pt x="438" y="414"/>
                  </a:lnTo>
                  <a:lnTo>
                    <a:pt x="438" y="411"/>
                  </a:lnTo>
                  <a:lnTo>
                    <a:pt x="440" y="404"/>
                  </a:lnTo>
                  <a:lnTo>
                    <a:pt x="440" y="404"/>
                  </a:lnTo>
                  <a:lnTo>
                    <a:pt x="440" y="401"/>
                  </a:lnTo>
                  <a:lnTo>
                    <a:pt x="438" y="398"/>
                  </a:lnTo>
                  <a:lnTo>
                    <a:pt x="435" y="396"/>
                  </a:lnTo>
                  <a:lnTo>
                    <a:pt x="434" y="395"/>
                  </a:lnTo>
                  <a:lnTo>
                    <a:pt x="434" y="395"/>
                  </a:lnTo>
                  <a:lnTo>
                    <a:pt x="434" y="393"/>
                  </a:lnTo>
                  <a:lnTo>
                    <a:pt x="434" y="393"/>
                  </a:lnTo>
                  <a:lnTo>
                    <a:pt x="434" y="392"/>
                  </a:lnTo>
                  <a:lnTo>
                    <a:pt x="432" y="390"/>
                  </a:lnTo>
                  <a:lnTo>
                    <a:pt x="429" y="389"/>
                  </a:lnTo>
                  <a:lnTo>
                    <a:pt x="425" y="386"/>
                  </a:lnTo>
                  <a:lnTo>
                    <a:pt x="418" y="385"/>
                  </a:lnTo>
                  <a:lnTo>
                    <a:pt x="409" y="383"/>
                  </a:lnTo>
                  <a:lnTo>
                    <a:pt x="409" y="383"/>
                  </a:lnTo>
                  <a:lnTo>
                    <a:pt x="407" y="383"/>
                  </a:lnTo>
                  <a:lnTo>
                    <a:pt x="404" y="383"/>
                  </a:lnTo>
                  <a:lnTo>
                    <a:pt x="402" y="382"/>
                  </a:lnTo>
                  <a:lnTo>
                    <a:pt x="399" y="382"/>
                  </a:lnTo>
                  <a:lnTo>
                    <a:pt x="399" y="382"/>
                  </a:lnTo>
                  <a:lnTo>
                    <a:pt x="398" y="382"/>
                  </a:lnTo>
                  <a:lnTo>
                    <a:pt x="396" y="381"/>
                  </a:lnTo>
                  <a:lnTo>
                    <a:pt x="396" y="381"/>
                  </a:lnTo>
                  <a:lnTo>
                    <a:pt x="396" y="381"/>
                  </a:lnTo>
                  <a:lnTo>
                    <a:pt x="396" y="381"/>
                  </a:lnTo>
                  <a:lnTo>
                    <a:pt x="396" y="378"/>
                  </a:lnTo>
                  <a:lnTo>
                    <a:pt x="395" y="374"/>
                  </a:lnTo>
                  <a:lnTo>
                    <a:pt x="393" y="371"/>
                  </a:lnTo>
                  <a:lnTo>
                    <a:pt x="392" y="368"/>
                  </a:lnTo>
                  <a:lnTo>
                    <a:pt x="390" y="365"/>
                  </a:lnTo>
                  <a:lnTo>
                    <a:pt x="387" y="365"/>
                  </a:lnTo>
                  <a:lnTo>
                    <a:pt x="383" y="368"/>
                  </a:lnTo>
                  <a:lnTo>
                    <a:pt x="383" y="368"/>
                  </a:lnTo>
                  <a:lnTo>
                    <a:pt x="382" y="368"/>
                  </a:lnTo>
                  <a:lnTo>
                    <a:pt x="377" y="365"/>
                  </a:lnTo>
                  <a:lnTo>
                    <a:pt x="372" y="362"/>
                  </a:lnTo>
                  <a:lnTo>
                    <a:pt x="368" y="359"/>
                  </a:lnTo>
                  <a:lnTo>
                    <a:pt x="363" y="357"/>
                  </a:lnTo>
                  <a:lnTo>
                    <a:pt x="362" y="359"/>
                  </a:lnTo>
                  <a:lnTo>
                    <a:pt x="366" y="363"/>
                  </a:lnTo>
                  <a:lnTo>
                    <a:pt x="375" y="372"/>
                  </a:lnTo>
                  <a:lnTo>
                    <a:pt x="375" y="372"/>
                  </a:lnTo>
                  <a:lnTo>
                    <a:pt x="375" y="375"/>
                  </a:lnTo>
                  <a:lnTo>
                    <a:pt x="375" y="377"/>
                  </a:lnTo>
                  <a:lnTo>
                    <a:pt x="376" y="380"/>
                  </a:lnTo>
                  <a:lnTo>
                    <a:pt x="376" y="381"/>
                  </a:lnTo>
                  <a:lnTo>
                    <a:pt x="376" y="381"/>
                  </a:lnTo>
                  <a:lnTo>
                    <a:pt x="375" y="381"/>
                  </a:lnTo>
                  <a:lnTo>
                    <a:pt x="374" y="381"/>
                  </a:lnTo>
                  <a:lnTo>
                    <a:pt x="371" y="380"/>
                  </a:lnTo>
                  <a:lnTo>
                    <a:pt x="368" y="381"/>
                  </a:lnTo>
                  <a:lnTo>
                    <a:pt x="366" y="381"/>
                  </a:lnTo>
                  <a:lnTo>
                    <a:pt x="365" y="382"/>
                  </a:lnTo>
                  <a:lnTo>
                    <a:pt x="366" y="385"/>
                  </a:lnTo>
                  <a:lnTo>
                    <a:pt x="369" y="389"/>
                  </a:lnTo>
                  <a:lnTo>
                    <a:pt x="369" y="389"/>
                  </a:lnTo>
                  <a:lnTo>
                    <a:pt x="371" y="390"/>
                  </a:lnTo>
                  <a:lnTo>
                    <a:pt x="374" y="393"/>
                  </a:lnTo>
                  <a:lnTo>
                    <a:pt x="376" y="396"/>
                  </a:lnTo>
                  <a:lnTo>
                    <a:pt x="376" y="398"/>
                  </a:lnTo>
                  <a:lnTo>
                    <a:pt x="365" y="410"/>
                  </a:lnTo>
                  <a:lnTo>
                    <a:pt x="365" y="410"/>
                  </a:lnTo>
                  <a:lnTo>
                    <a:pt x="365" y="410"/>
                  </a:lnTo>
                  <a:lnTo>
                    <a:pt x="363" y="410"/>
                  </a:lnTo>
                  <a:lnTo>
                    <a:pt x="363" y="410"/>
                  </a:lnTo>
                  <a:lnTo>
                    <a:pt x="362" y="410"/>
                  </a:lnTo>
                  <a:lnTo>
                    <a:pt x="359" y="408"/>
                  </a:lnTo>
                  <a:lnTo>
                    <a:pt x="359" y="407"/>
                  </a:lnTo>
                  <a:lnTo>
                    <a:pt x="357" y="404"/>
                  </a:lnTo>
                  <a:lnTo>
                    <a:pt x="357" y="399"/>
                  </a:lnTo>
                  <a:lnTo>
                    <a:pt x="347" y="387"/>
                  </a:lnTo>
                  <a:lnTo>
                    <a:pt x="339" y="383"/>
                  </a:lnTo>
                  <a:lnTo>
                    <a:pt x="332" y="390"/>
                  </a:lnTo>
                  <a:lnTo>
                    <a:pt x="326" y="387"/>
                  </a:lnTo>
                  <a:lnTo>
                    <a:pt x="327" y="396"/>
                  </a:lnTo>
                  <a:lnTo>
                    <a:pt x="312" y="410"/>
                  </a:lnTo>
                  <a:lnTo>
                    <a:pt x="312" y="410"/>
                  </a:lnTo>
                  <a:lnTo>
                    <a:pt x="312" y="410"/>
                  </a:lnTo>
                  <a:lnTo>
                    <a:pt x="309" y="411"/>
                  </a:lnTo>
                  <a:lnTo>
                    <a:pt x="306" y="411"/>
                  </a:lnTo>
                  <a:lnTo>
                    <a:pt x="303" y="411"/>
                  </a:lnTo>
                  <a:lnTo>
                    <a:pt x="300" y="410"/>
                  </a:lnTo>
                  <a:lnTo>
                    <a:pt x="297" y="407"/>
                  </a:lnTo>
                  <a:lnTo>
                    <a:pt x="297" y="404"/>
                  </a:lnTo>
                  <a:lnTo>
                    <a:pt x="300" y="398"/>
                  </a:lnTo>
                  <a:lnTo>
                    <a:pt x="300" y="398"/>
                  </a:lnTo>
                  <a:lnTo>
                    <a:pt x="300" y="396"/>
                  </a:lnTo>
                  <a:lnTo>
                    <a:pt x="303" y="395"/>
                  </a:lnTo>
                  <a:lnTo>
                    <a:pt x="305" y="393"/>
                  </a:lnTo>
                  <a:lnTo>
                    <a:pt x="306" y="393"/>
                  </a:lnTo>
                  <a:lnTo>
                    <a:pt x="291" y="395"/>
                  </a:lnTo>
                  <a:lnTo>
                    <a:pt x="288" y="404"/>
                  </a:lnTo>
                  <a:lnTo>
                    <a:pt x="276" y="398"/>
                  </a:lnTo>
                  <a:lnTo>
                    <a:pt x="279" y="390"/>
                  </a:lnTo>
                  <a:lnTo>
                    <a:pt x="260" y="372"/>
                  </a:lnTo>
                  <a:lnTo>
                    <a:pt x="254" y="372"/>
                  </a:lnTo>
                  <a:lnTo>
                    <a:pt x="245" y="368"/>
                  </a:lnTo>
                  <a:lnTo>
                    <a:pt x="245" y="368"/>
                  </a:lnTo>
                  <a:lnTo>
                    <a:pt x="245" y="368"/>
                  </a:lnTo>
                  <a:lnTo>
                    <a:pt x="243" y="369"/>
                  </a:lnTo>
                  <a:lnTo>
                    <a:pt x="242" y="369"/>
                  </a:lnTo>
                  <a:lnTo>
                    <a:pt x="240" y="371"/>
                  </a:lnTo>
                  <a:lnTo>
                    <a:pt x="237" y="371"/>
                  </a:lnTo>
                  <a:lnTo>
                    <a:pt x="237" y="369"/>
                  </a:lnTo>
                  <a:lnTo>
                    <a:pt x="236" y="368"/>
                  </a:lnTo>
                  <a:lnTo>
                    <a:pt x="234" y="365"/>
                  </a:lnTo>
                  <a:lnTo>
                    <a:pt x="234" y="357"/>
                  </a:lnTo>
                  <a:lnTo>
                    <a:pt x="228" y="355"/>
                  </a:lnTo>
                  <a:lnTo>
                    <a:pt x="228" y="355"/>
                  </a:lnTo>
                  <a:lnTo>
                    <a:pt x="228" y="353"/>
                  </a:lnTo>
                  <a:lnTo>
                    <a:pt x="228" y="352"/>
                  </a:lnTo>
                  <a:lnTo>
                    <a:pt x="227" y="350"/>
                  </a:lnTo>
                  <a:lnTo>
                    <a:pt x="227" y="348"/>
                  </a:lnTo>
                  <a:lnTo>
                    <a:pt x="225" y="345"/>
                  </a:lnTo>
                  <a:lnTo>
                    <a:pt x="222" y="344"/>
                  </a:lnTo>
                  <a:lnTo>
                    <a:pt x="219" y="345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4" y="350"/>
                  </a:lnTo>
                  <a:lnTo>
                    <a:pt x="213" y="350"/>
                  </a:lnTo>
                  <a:lnTo>
                    <a:pt x="212" y="352"/>
                  </a:lnTo>
                  <a:lnTo>
                    <a:pt x="209" y="352"/>
                  </a:lnTo>
                  <a:lnTo>
                    <a:pt x="207" y="350"/>
                  </a:lnTo>
                  <a:lnTo>
                    <a:pt x="206" y="348"/>
                  </a:lnTo>
                  <a:lnTo>
                    <a:pt x="206" y="342"/>
                  </a:lnTo>
                  <a:lnTo>
                    <a:pt x="206" y="342"/>
                  </a:lnTo>
                  <a:lnTo>
                    <a:pt x="206" y="342"/>
                  </a:lnTo>
                  <a:lnTo>
                    <a:pt x="207" y="341"/>
                  </a:lnTo>
                  <a:lnTo>
                    <a:pt x="207" y="339"/>
                  </a:lnTo>
                  <a:lnTo>
                    <a:pt x="207" y="338"/>
                  </a:lnTo>
                  <a:lnTo>
                    <a:pt x="195" y="339"/>
                  </a:lnTo>
                  <a:lnTo>
                    <a:pt x="181" y="348"/>
                  </a:lnTo>
                  <a:lnTo>
                    <a:pt x="177" y="350"/>
                  </a:lnTo>
                  <a:lnTo>
                    <a:pt x="189" y="362"/>
                  </a:lnTo>
                  <a:lnTo>
                    <a:pt x="188" y="368"/>
                  </a:lnTo>
                  <a:lnTo>
                    <a:pt x="171" y="372"/>
                  </a:lnTo>
                  <a:lnTo>
                    <a:pt x="171" y="372"/>
                  </a:lnTo>
                  <a:lnTo>
                    <a:pt x="171" y="372"/>
                  </a:lnTo>
                  <a:lnTo>
                    <a:pt x="168" y="372"/>
                  </a:lnTo>
                  <a:lnTo>
                    <a:pt x="165" y="372"/>
                  </a:lnTo>
                  <a:lnTo>
                    <a:pt x="162" y="372"/>
                  </a:lnTo>
                  <a:lnTo>
                    <a:pt x="156" y="372"/>
                  </a:lnTo>
                  <a:lnTo>
                    <a:pt x="151" y="371"/>
                  </a:lnTo>
                  <a:lnTo>
                    <a:pt x="145" y="371"/>
                  </a:lnTo>
                  <a:lnTo>
                    <a:pt x="140" y="369"/>
                  </a:lnTo>
                  <a:lnTo>
                    <a:pt x="134" y="368"/>
                  </a:lnTo>
                  <a:lnTo>
                    <a:pt x="126" y="366"/>
                  </a:lnTo>
                  <a:lnTo>
                    <a:pt x="120" y="365"/>
                  </a:lnTo>
                  <a:lnTo>
                    <a:pt x="114" y="363"/>
                  </a:lnTo>
                  <a:lnTo>
                    <a:pt x="108" y="360"/>
                  </a:lnTo>
                  <a:lnTo>
                    <a:pt x="102" y="357"/>
                  </a:lnTo>
                  <a:lnTo>
                    <a:pt x="98" y="355"/>
                  </a:lnTo>
                  <a:lnTo>
                    <a:pt x="94" y="352"/>
                  </a:lnTo>
                  <a:lnTo>
                    <a:pt x="94" y="352"/>
                  </a:lnTo>
                  <a:lnTo>
                    <a:pt x="94" y="352"/>
                  </a:lnTo>
                  <a:lnTo>
                    <a:pt x="91" y="352"/>
                  </a:lnTo>
                  <a:lnTo>
                    <a:pt x="88" y="352"/>
                  </a:lnTo>
                  <a:lnTo>
                    <a:pt x="84" y="350"/>
                  </a:lnTo>
                  <a:lnTo>
                    <a:pt x="79" y="350"/>
                  </a:lnTo>
                  <a:lnTo>
                    <a:pt x="76" y="350"/>
                  </a:lnTo>
                  <a:lnTo>
                    <a:pt x="75" y="350"/>
                  </a:lnTo>
                  <a:lnTo>
                    <a:pt x="74" y="350"/>
                  </a:lnTo>
                  <a:lnTo>
                    <a:pt x="75" y="344"/>
                  </a:lnTo>
                  <a:lnTo>
                    <a:pt x="82" y="338"/>
                  </a:lnTo>
                  <a:lnTo>
                    <a:pt x="74" y="322"/>
                  </a:lnTo>
                  <a:lnTo>
                    <a:pt x="68" y="330"/>
                  </a:lnTo>
                  <a:lnTo>
                    <a:pt x="71" y="335"/>
                  </a:lnTo>
                  <a:lnTo>
                    <a:pt x="68" y="338"/>
                  </a:lnTo>
                  <a:lnTo>
                    <a:pt x="63" y="342"/>
                  </a:lnTo>
                  <a:lnTo>
                    <a:pt x="71" y="345"/>
                  </a:lnTo>
                  <a:lnTo>
                    <a:pt x="68" y="352"/>
                  </a:lnTo>
                  <a:lnTo>
                    <a:pt x="68" y="352"/>
                  </a:lnTo>
                  <a:lnTo>
                    <a:pt x="68" y="352"/>
                  </a:lnTo>
                  <a:lnTo>
                    <a:pt x="63" y="352"/>
                  </a:lnTo>
                  <a:lnTo>
                    <a:pt x="60" y="352"/>
                  </a:lnTo>
                  <a:lnTo>
                    <a:pt x="54" y="352"/>
                  </a:lnTo>
                  <a:lnTo>
                    <a:pt x="46" y="352"/>
                  </a:lnTo>
                  <a:lnTo>
                    <a:pt x="41" y="353"/>
                  </a:lnTo>
                  <a:lnTo>
                    <a:pt x="35" y="355"/>
                  </a:lnTo>
                  <a:lnTo>
                    <a:pt x="30" y="357"/>
                  </a:lnTo>
                  <a:lnTo>
                    <a:pt x="30" y="357"/>
                  </a:lnTo>
                  <a:lnTo>
                    <a:pt x="30" y="357"/>
                  </a:lnTo>
                  <a:lnTo>
                    <a:pt x="28" y="357"/>
                  </a:lnTo>
                  <a:lnTo>
                    <a:pt x="27" y="356"/>
                  </a:lnTo>
                  <a:lnTo>
                    <a:pt x="27" y="355"/>
                  </a:lnTo>
                  <a:lnTo>
                    <a:pt x="25" y="352"/>
                  </a:lnTo>
                  <a:lnTo>
                    <a:pt x="24" y="350"/>
                  </a:lnTo>
                  <a:lnTo>
                    <a:pt x="24" y="350"/>
                  </a:lnTo>
                  <a:lnTo>
                    <a:pt x="22" y="350"/>
                  </a:lnTo>
                  <a:lnTo>
                    <a:pt x="32" y="338"/>
                  </a:lnTo>
                  <a:lnTo>
                    <a:pt x="33" y="32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3" name="Freeform 47"/>
            <p:cNvSpPr>
              <a:spLocks/>
            </p:cNvSpPr>
            <p:nvPr/>
          </p:nvSpPr>
          <p:spPr bwMode="auto">
            <a:xfrm>
              <a:off x="2387953" y="4215110"/>
              <a:ext cx="296584" cy="315448"/>
            </a:xfrm>
            <a:custGeom>
              <a:avLst/>
              <a:gdLst>
                <a:gd name="T0" fmla="*/ 177 w 442"/>
                <a:gd name="T1" fmla="*/ 453 h 470"/>
                <a:gd name="T2" fmla="*/ 153 w 442"/>
                <a:gd name="T3" fmla="*/ 446 h 470"/>
                <a:gd name="T4" fmla="*/ 149 w 442"/>
                <a:gd name="T5" fmla="*/ 432 h 470"/>
                <a:gd name="T6" fmla="*/ 140 w 442"/>
                <a:gd name="T7" fmla="*/ 410 h 470"/>
                <a:gd name="T8" fmla="*/ 146 w 442"/>
                <a:gd name="T9" fmla="*/ 384 h 470"/>
                <a:gd name="T10" fmla="*/ 134 w 442"/>
                <a:gd name="T11" fmla="*/ 363 h 470"/>
                <a:gd name="T12" fmla="*/ 126 w 442"/>
                <a:gd name="T13" fmla="*/ 325 h 470"/>
                <a:gd name="T14" fmla="*/ 87 w 442"/>
                <a:gd name="T15" fmla="*/ 294 h 470"/>
                <a:gd name="T16" fmla="*/ 48 w 442"/>
                <a:gd name="T17" fmla="*/ 257 h 470"/>
                <a:gd name="T18" fmla="*/ 42 w 442"/>
                <a:gd name="T19" fmla="*/ 255 h 470"/>
                <a:gd name="T20" fmla="*/ 21 w 442"/>
                <a:gd name="T21" fmla="*/ 249 h 470"/>
                <a:gd name="T22" fmla="*/ 17 w 442"/>
                <a:gd name="T23" fmla="*/ 221 h 470"/>
                <a:gd name="T24" fmla="*/ 9 w 442"/>
                <a:gd name="T25" fmla="*/ 202 h 470"/>
                <a:gd name="T26" fmla="*/ 17 w 442"/>
                <a:gd name="T27" fmla="*/ 166 h 470"/>
                <a:gd name="T28" fmla="*/ 0 w 442"/>
                <a:gd name="T29" fmla="*/ 134 h 470"/>
                <a:gd name="T30" fmla="*/ 5 w 442"/>
                <a:gd name="T31" fmla="*/ 128 h 470"/>
                <a:gd name="T32" fmla="*/ 31 w 442"/>
                <a:gd name="T33" fmla="*/ 102 h 470"/>
                <a:gd name="T34" fmla="*/ 39 w 442"/>
                <a:gd name="T35" fmla="*/ 36 h 470"/>
                <a:gd name="T36" fmla="*/ 53 w 442"/>
                <a:gd name="T37" fmla="*/ 24 h 470"/>
                <a:gd name="T38" fmla="*/ 69 w 442"/>
                <a:gd name="T39" fmla="*/ 31 h 470"/>
                <a:gd name="T40" fmla="*/ 89 w 442"/>
                <a:gd name="T41" fmla="*/ 25 h 470"/>
                <a:gd name="T42" fmla="*/ 105 w 442"/>
                <a:gd name="T43" fmla="*/ 21 h 470"/>
                <a:gd name="T44" fmla="*/ 119 w 442"/>
                <a:gd name="T45" fmla="*/ 10 h 470"/>
                <a:gd name="T46" fmla="*/ 137 w 442"/>
                <a:gd name="T47" fmla="*/ 5 h 470"/>
                <a:gd name="T48" fmla="*/ 153 w 442"/>
                <a:gd name="T49" fmla="*/ 5 h 470"/>
                <a:gd name="T50" fmla="*/ 146 w 442"/>
                <a:gd name="T51" fmla="*/ 32 h 470"/>
                <a:gd name="T52" fmla="*/ 150 w 442"/>
                <a:gd name="T53" fmla="*/ 35 h 470"/>
                <a:gd name="T54" fmla="*/ 159 w 442"/>
                <a:gd name="T55" fmla="*/ 28 h 470"/>
                <a:gd name="T56" fmla="*/ 183 w 442"/>
                <a:gd name="T57" fmla="*/ 38 h 470"/>
                <a:gd name="T58" fmla="*/ 201 w 442"/>
                <a:gd name="T59" fmla="*/ 57 h 470"/>
                <a:gd name="T60" fmla="*/ 210 w 442"/>
                <a:gd name="T61" fmla="*/ 63 h 470"/>
                <a:gd name="T62" fmla="*/ 226 w 442"/>
                <a:gd name="T63" fmla="*/ 66 h 470"/>
                <a:gd name="T64" fmla="*/ 267 w 442"/>
                <a:gd name="T65" fmla="*/ 73 h 470"/>
                <a:gd name="T66" fmla="*/ 300 w 442"/>
                <a:gd name="T67" fmla="*/ 87 h 470"/>
                <a:gd name="T68" fmla="*/ 345 w 442"/>
                <a:gd name="T69" fmla="*/ 93 h 470"/>
                <a:gd name="T70" fmla="*/ 361 w 442"/>
                <a:gd name="T71" fmla="*/ 106 h 470"/>
                <a:gd name="T72" fmla="*/ 375 w 442"/>
                <a:gd name="T73" fmla="*/ 135 h 470"/>
                <a:gd name="T74" fmla="*/ 371 w 442"/>
                <a:gd name="T75" fmla="*/ 154 h 470"/>
                <a:gd name="T76" fmla="*/ 386 w 442"/>
                <a:gd name="T77" fmla="*/ 165 h 470"/>
                <a:gd name="T78" fmla="*/ 397 w 442"/>
                <a:gd name="T79" fmla="*/ 180 h 470"/>
                <a:gd name="T80" fmla="*/ 379 w 442"/>
                <a:gd name="T81" fmla="*/ 207 h 470"/>
                <a:gd name="T82" fmla="*/ 369 w 442"/>
                <a:gd name="T83" fmla="*/ 231 h 470"/>
                <a:gd name="T84" fmla="*/ 380 w 442"/>
                <a:gd name="T85" fmla="*/ 232 h 470"/>
                <a:gd name="T86" fmla="*/ 392 w 442"/>
                <a:gd name="T87" fmla="*/ 213 h 470"/>
                <a:gd name="T88" fmla="*/ 415 w 442"/>
                <a:gd name="T89" fmla="*/ 198 h 470"/>
                <a:gd name="T90" fmla="*/ 418 w 442"/>
                <a:gd name="T91" fmla="*/ 175 h 470"/>
                <a:gd name="T92" fmla="*/ 433 w 442"/>
                <a:gd name="T93" fmla="*/ 156 h 470"/>
                <a:gd name="T94" fmla="*/ 438 w 442"/>
                <a:gd name="T95" fmla="*/ 162 h 470"/>
                <a:gd name="T96" fmla="*/ 430 w 442"/>
                <a:gd name="T97" fmla="*/ 187 h 470"/>
                <a:gd name="T98" fmla="*/ 427 w 442"/>
                <a:gd name="T99" fmla="*/ 201 h 470"/>
                <a:gd name="T100" fmla="*/ 416 w 442"/>
                <a:gd name="T101" fmla="*/ 221 h 470"/>
                <a:gd name="T102" fmla="*/ 410 w 442"/>
                <a:gd name="T103" fmla="*/ 262 h 470"/>
                <a:gd name="T104" fmla="*/ 407 w 442"/>
                <a:gd name="T105" fmla="*/ 279 h 470"/>
                <a:gd name="T106" fmla="*/ 399 w 442"/>
                <a:gd name="T107" fmla="*/ 300 h 470"/>
                <a:gd name="T108" fmla="*/ 402 w 442"/>
                <a:gd name="T109" fmla="*/ 330 h 470"/>
                <a:gd name="T110" fmla="*/ 395 w 442"/>
                <a:gd name="T111" fmla="*/ 350 h 470"/>
                <a:gd name="T112" fmla="*/ 392 w 442"/>
                <a:gd name="T113" fmla="*/ 388 h 470"/>
                <a:gd name="T114" fmla="*/ 401 w 442"/>
                <a:gd name="T115" fmla="*/ 414 h 470"/>
                <a:gd name="T116" fmla="*/ 405 w 442"/>
                <a:gd name="T117" fmla="*/ 42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2" h="470">
                  <a:moveTo>
                    <a:pt x="186" y="469"/>
                  </a:moveTo>
                  <a:lnTo>
                    <a:pt x="185" y="465"/>
                  </a:lnTo>
                  <a:lnTo>
                    <a:pt x="183" y="460"/>
                  </a:lnTo>
                  <a:lnTo>
                    <a:pt x="182" y="457"/>
                  </a:lnTo>
                  <a:lnTo>
                    <a:pt x="179" y="454"/>
                  </a:lnTo>
                  <a:lnTo>
                    <a:pt x="177" y="453"/>
                  </a:lnTo>
                  <a:lnTo>
                    <a:pt x="174" y="453"/>
                  </a:lnTo>
                  <a:lnTo>
                    <a:pt x="173" y="451"/>
                  </a:lnTo>
                  <a:lnTo>
                    <a:pt x="173" y="451"/>
                  </a:lnTo>
                  <a:lnTo>
                    <a:pt x="153" y="446"/>
                  </a:lnTo>
                  <a:lnTo>
                    <a:pt x="153" y="446"/>
                  </a:lnTo>
                  <a:lnTo>
                    <a:pt x="153" y="446"/>
                  </a:lnTo>
                  <a:lnTo>
                    <a:pt x="153" y="444"/>
                  </a:lnTo>
                  <a:lnTo>
                    <a:pt x="153" y="443"/>
                  </a:lnTo>
                  <a:lnTo>
                    <a:pt x="153" y="440"/>
                  </a:lnTo>
                  <a:lnTo>
                    <a:pt x="153" y="438"/>
                  </a:lnTo>
                  <a:lnTo>
                    <a:pt x="152" y="435"/>
                  </a:lnTo>
                  <a:lnTo>
                    <a:pt x="149" y="432"/>
                  </a:lnTo>
                  <a:lnTo>
                    <a:pt x="147" y="427"/>
                  </a:lnTo>
                  <a:lnTo>
                    <a:pt x="144" y="424"/>
                  </a:lnTo>
                  <a:lnTo>
                    <a:pt x="143" y="421"/>
                  </a:lnTo>
                  <a:lnTo>
                    <a:pt x="141" y="417"/>
                  </a:lnTo>
                  <a:lnTo>
                    <a:pt x="141" y="414"/>
                  </a:lnTo>
                  <a:lnTo>
                    <a:pt x="140" y="410"/>
                  </a:lnTo>
                  <a:lnTo>
                    <a:pt x="141" y="407"/>
                  </a:lnTo>
                  <a:lnTo>
                    <a:pt x="143" y="403"/>
                  </a:lnTo>
                  <a:lnTo>
                    <a:pt x="146" y="396"/>
                  </a:lnTo>
                  <a:lnTo>
                    <a:pt x="147" y="391"/>
                  </a:lnTo>
                  <a:lnTo>
                    <a:pt x="147" y="387"/>
                  </a:lnTo>
                  <a:lnTo>
                    <a:pt x="146" y="384"/>
                  </a:lnTo>
                  <a:lnTo>
                    <a:pt x="144" y="383"/>
                  </a:lnTo>
                  <a:lnTo>
                    <a:pt x="143" y="383"/>
                  </a:lnTo>
                  <a:lnTo>
                    <a:pt x="143" y="381"/>
                  </a:lnTo>
                  <a:lnTo>
                    <a:pt x="141" y="381"/>
                  </a:lnTo>
                  <a:lnTo>
                    <a:pt x="134" y="364"/>
                  </a:lnTo>
                  <a:lnTo>
                    <a:pt x="134" y="363"/>
                  </a:lnTo>
                  <a:lnTo>
                    <a:pt x="135" y="361"/>
                  </a:lnTo>
                  <a:lnTo>
                    <a:pt x="135" y="355"/>
                  </a:lnTo>
                  <a:lnTo>
                    <a:pt x="132" y="348"/>
                  </a:lnTo>
                  <a:lnTo>
                    <a:pt x="131" y="340"/>
                  </a:lnTo>
                  <a:lnTo>
                    <a:pt x="128" y="333"/>
                  </a:lnTo>
                  <a:lnTo>
                    <a:pt x="126" y="325"/>
                  </a:lnTo>
                  <a:lnTo>
                    <a:pt x="125" y="320"/>
                  </a:lnTo>
                  <a:lnTo>
                    <a:pt x="123" y="318"/>
                  </a:lnTo>
                  <a:lnTo>
                    <a:pt x="111" y="314"/>
                  </a:lnTo>
                  <a:lnTo>
                    <a:pt x="101" y="309"/>
                  </a:lnTo>
                  <a:lnTo>
                    <a:pt x="94" y="301"/>
                  </a:lnTo>
                  <a:lnTo>
                    <a:pt x="87" y="294"/>
                  </a:lnTo>
                  <a:lnTo>
                    <a:pt x="83" y="287"/>
                  </a:lnTo>
                  <a:lnTo>
                    <a:pt x="78" y="280"/>
                  </a:lnTo>
                  <a:lnTo>
                    <a:pt x="75" y="277"/>
                  </a:lnTo>
                  <a:lnTo>
                    <a:pt x="75" y="274"/>
                  </a:lnTo>
                  <a:lnTo>
                    <a:pt x="50" y="264"/>
                  </a:lnTo>
                  <a:lnTo>
                    <a:pt x="48" y="257"/>
                  </a:lnTo>
                  <a:lnTo>
                    <a:pt x="48" y="257"/>
                  </a:lnTo>
                  <a:lnTo>
                    <a:pt x="48" y="257"/>
                  </a:lnTo>
                  <a:lnTo>
                    <a:pt x="47" y="257"/>
                  </a:lnTo>
                  <a:lnTo>
                    <a:pt x="47" y="255"/>
                  </a:lnTo>
                  <a:lnTo>
                    <a:pt x="45" y="255"/>
                  </a:lnTo>
                  <a:lnTo>
                    <a:pt x="42" y="255"/>
                  </a:lnTo>
                  <a:lnTo>
                    <a:pt x="41" y="255"/>
                  </a:lnTo>
                  <a:lnTo>
                    <a:pt x="38" y="257"/>
                  </a:lnTo>
                  <a:lnTo>
                    <a:pt x="35" y="255"/>
                  </a:lnTo>
                  <a:lnTo>
                    <a:pt x="31" y="254"/>
                  </a:lnTo>
                  <a:lnTo>
                    <a:pt x="25" y="252"/>
                  </a:lnTo>
                  <a:lnTo>
                    <a:pt x="21" y="249"/>
                  </a:lnTo>
                  <a:lnTo>
                    <a:pt x="17" y="244"/>
                  </a:lnTo>
                  <a:lnTo>
                    <a:pt x="14" y="241"/>
                  </a:lnTo>
                  <a:lnTo>
                    <a:pt x="12" y="237"/>
                  </a:lnTo>
                  <a:lnTo>
                    <a:pt x="12" y="232"/>
                  </a:lnTo>
                  <a:lnTo>
                    <a:pt x="15" y="225"/>
                  </a:lnTo>
                  <a:lnTo>
                    <a:pt x="17" y="221"/>
                  </a:lnTo>
                  <a:lnTo>
                    <a:pt x="17" y="217"/>
                  </a:lnTo>
                  <a:lnTo>
                    <a:pt x="17" y="214"/>
                  </a:lnTo>
                  <a:lnTo>
                    <a:pt x="15" y="211"/>
                  </a:lnTo>
                  <a:lnTo>
                    <a:pt x="14" y="208"/>
                  </a:lnTo>
                  <a:lnTo>
                    <a:pt x="12" y="205"/>
                  </a:lnTo>
                  <a:lnTo>
                    <a:pt x="9" y="202"/>
                  </a:lnTo>
                  <a:lnTo>
                    <a:pt x="9" y="198"/>
                  </a:lnTo>
                  <a:lnTo>
                    <a:pt x="9" y="191"/>
                  </a:lnTo>
                  <a:lnTo>
                    <a:pt x="9" y="186"/>
                  </a:lnTo>
                  <a:lnTo>
                    <a:pt x="12" y="178"/>
                  </a:lnTo>
                  <a:lnTo>
                    <a:pt x="14" y="172"/>
                  </a:lnTo>
                  <a:lnTo>
                    <a:pt x="17" y="166"/>
                  </a:lnTo>
                  <a:lnTo>
                    <a:pt x="17" y="162"/>
                  </a:lnTo>
                  <a:lnTo>
                    <a:pt x="18" y="162"/>
                  </a:lnTo>
                  <a:lnTo>
                    <a:pt x="11" y="151"/>
                  </a:lnTo>
                  <a:lnTo>
                    <a:pt x="0" y="151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2" y="132"/>
                  </a:lnTo>
                  <a:lnTo>
                    <a:pt x="3" y="132"/>
                  </a:lnTo>
                  <a:lnTo>
                    <a:pt x="5" y="129"/>
                  </a:lnTo>
                  <a:lnTo>
                    <a:pt x="5" y="128"/>
                  </a:lnTo>
                  <a:lnTo>
                    <a:pt x="6" y="125"/>
                  </a:lnTo>
                  <a:lnTo>
                    <a:pt x="8" y="121"/>
                  </a:lnTo>
                  <a:lnTo>
                    <a:pt x="14" y="117"/>
                  </a:lnTo>
                  <a:lnTo>
                    <a:pt x="18" y="112"/>
                  </a:lnTo>
                  <a:lnTo>
                    <a:pt x="25" y="106"/>
                  </a:lnTo>
                  <a:lnTo>
                    <a:pt x="31" y="102"/>
                  </a:lnTo>
                  <a:lnTo>
                    <a:pt x="36" y="99"/>
                  </a:lnTo>
                  <a:lnTo>
                    <a:pt x="39" y="96"/>
                  </a:lnTo>
                  <a:lnTo>
                    <a:pt x="42" y="9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41" y="33"/>
                  </a:lnTo>
                  <a:lnTo>
                    <a:pt x="42" y="31"/>
                  </a:lnTo>
                  <a:lnTo>
                    <a:pt x="47" y="28"/>
                  </a:lnTo>
                  <a:lnTo>
                    <a:pt x="53" y="24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7" y="25"/>
                  </a:lnTo>
                  <a:lnTo>
                    <a:pt x="61" y="27"/>
                  </a:lnTo>
                  <a:lnTo>
                    <a:pt x="65" y="30"/>
                  </a:lnTo>
                  <a:lnTo>
                    <a:pt x="69" y="31"/>
                  </a:lnTo>
                  <a:lnTo>
                    <a:pt x="75" y="32"/>
                  </a:lnTo>
                  <a:lnTo>
                    <a:pt x="81" y="31"/>
                  </a:lnTo>
                  <a:lnTo>
                    <a:pt x="86" y="28"/>
                  </a:lnTo>
                  <a:lnTo>
                    <a:pt x="86" y="27"/>
                  </a:lnTo>
                  <a:lnTo>
                    <a:pt x="87" y="25"/>
                  </a:lnTo>
                  <a:lnTo>
                    <a:pt x="89" y="25"/>
                  </a:lnTo>
                  <a:lnTo>
                    <a:pt x="91" y="22"/>
                  </a:lnTo>
                  <a:lnTo>
                    <a:pt x="94" y="22"/>
                  </a:lnTo>
                  <a:lnTo>
                    <a:pt x="96" y="21"/>
                  </a:lnTo>
                  <a:lnTo>
                    <a:pt x="99" y="21"/>
                  </a:lnTo>
                  <a:lnTo>
                    <a:pt x="104" y="21"/>
                  </a:lnTo>
                  <a:lnTo>
                    <a:pt x="105" y="21"/>
                  </a:lnTo>
                  <a:lnTo>
                    <a:pt x="107" y="19"/>
                  </a:lnTo>
                  <a:lnTo>
                    <a:pt x="108" y="18"/>
                  </a:lnTo>
                  <a:lnTo>
                    <a:pt x="110" y="16"/>
                  </a:lnTo>
                  <a:lnTo>
                    <a:pt x="111" y="15"/>
                  </a:lnTo>
                  <a:lnTo>
                    <a:pt x="114" y="13"/>
                  </a:lnTo>
                  <a:lnTo>
                    <a:pt x="119" y="10"/>
                  </a:lnTo>
                  <a:lnTo>
                    <a:pt x="125" y="9"/>
                  </a:lnTo>
                  <a:lnTo>
                    <a:pt x="129" y="8"/>
                  </a:lnTo>
                  <a:lnTo>
                    <a:pt x="132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37" y="5"/>
                  </a:lnTo>
                  <a:lnTo>
                    <a:pt x="138" y="3"/>
                  </a:lnTo>
                  <a:lnTo>
                    <a:pt x="141" y="2"/>
                  </a:lnTo>
                  <a:lnTo>
                    <a:pt x="146" y="0"/>
                  </a:lnTo>
                  <a:lnTo>
                    <a:pt x="149" y="0"/>
                  </a:lnTo>
                  <a:lnTo>
                    <a:pt x="152" y="2"/>
                  </a:lnTo>
                  <a:lnTo>
                    <a:pt x="153" y="5"/>
                  </a:lnTo>
                  <a:lnTo>
                    <a:pt x="155" y="6"/>
                  </a:lnTo>
                  <a:lnTo>
                    <a:pt x="149" y="16"/>
                  </a:lnTo>
                  <a:lnTo>
                    <a:pt x="147" y="24"/>
                  </a:lnTo>
                  <a:lnTo>
                    <a:pt x="146" y="31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4" y="33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4" y="38"/>
                  </a:lnTo>
                  <a:lnTo>
                    <a:pt x="147" y="36"/>
                  </a:lnTo>
                  <a:lnTo>
                    <a:pt x="150" y="35"/>
                  </a:lnTo>
                  <a:lnTo>
                    <a:pt x="152" y="33"/>
                  </a:lnTo>
                  <a:lnTo>
                    <a:pt x="153" y="32"/>
                  </a:lnTo>
                  <a:lnTo>
                    <a:pt x="156" y="32"/>
                  </a:lnTo>
                  <a:lnTo>
                    <a:pt x="157" y="31"/>
                  </a:lnTo>
                  <a:lnTo>
                    <a:pt x="158" y="30"/>
                  </a:lnTo>
                  <a:lnTo>
                    <a:pt x="159" y="28"/>
                  </a:lnTo>
                  <a:lnTo>
                    <a:pt x="161" y="28"/>
                  </a:lnTo>
                  <a:lnTo>
                    <a:pt x="161" y="28"/>
                  </a:lnTo>
                  <a:lnTo>
                    <a:pt x="177" y="38"/>
                  </a:lnTo>
                  <a:lnTo>
                    <a:pt x="179" y="38"/>
                  </a:lnTo>
                  <a:lnTo>
                    <a:pt x="180" y="38"/>
                  </a:lnTo>
                  <a:lnTo>
                    <a:pt x="183" y="38"/>
                  </a:lnTo>
                  <a:lnTo>
                    <a:pt x="186" y="38"/>
                  </a:lnTo>
                  <a:lnTo>
                    <a:pt x="190" y="39"/>
                  </a:lnTo>
                  <a:lnTo>
                    <a:pt x="193" y="43"/>
                  </a:lnTo>
                  <a:lnTo>
                    <a:pt x="197" y="48"/>
                  </a:lnTo>
                  <a:lnTo>
                    <a:pt x="200" y="55"/>
                  </a:lnTo>
                  <a:lnTo>
                    <a:pt x="201" y="57"/>
                  </a:lnTo>
                  <a:lnTo>
                    <a:pt x="201" y="58"/>
                  </a:lnTo>
                  <a:lnTo>
                    <a:pt x="204" y="60"/>
                  </a:lnTo>
                  <a:lnTo>
                    <a:pt x="206" y="61"/>
                  </a:lnTo>
                  <a:lnTo>
                    <a:pt x="207" y="62"/>
                  </a:lnTo>
                  <a:lnTo>
                    <a:pt x="209" y="63"/>
                  </a:lnTo>
                  <a:lnTo>
                    <a:pt x="210" y="63"/>
                  </a:lnTo>
                  <a:lnTo>
                    <a:pt x="210" y="65"/>
                  </a:lnTo>
                  <a:lnTo>
                    <a:pt x="210" y="65"/>
                  </a:lnTo>
                  <a:lnTo>
                    <a:pt x="213" y="65"/>
                  </a:lnTo>
                  <a:lnTo>
                    <a:pt x="216" y="65"/>
                  </a:lnTo>
                  <a:lnTo>
                    <a:pt x="220" y="65"/>
                  </a:lnTo>
                  <a:lnTo>
                    <a:pt x="226" y="66"/>
                  </a:lnTo>
                  <a:lnTo>
                    <a:pt x="231" y="66"/>
                  </a:lnTo>
                  <a:lnTo>
                    <a:pt x="239" y="68"/>
                  </a:lnTo>
                  <a:lnTo>
                    <a:pt x="246" y="69"/>
                  </a:lnTo>
                  <a:lnTo>
                    <a:pt x="253" y="71"/>
                  </a:lnTo>
                  <a:lnTo>
                    <a:pt x="260" y="72"/>
                  </a:lnTo>
                  <a:lnTo>
                    <a:pt x="267" y="73"/>
                  </a:lnTo>
                  <a:lnTo>
                    <a:pt x="275" y="76"/>
                  </a:lnTo>
                  <a:lnTo>
                    <a:pt x="282" y="78"/>
                  </a:lnTo>
                  <a:lnTo>
                    <a:pt x="287" y="81"/>
                  </a:lnTo>
                  <a:lnTo>
                    <a:pt x="293" y="84"/>
                  </a:lnTo>
                  <a:lnTo>
                    <a:pt x="299" y="87"/>
                  </a:lnTo>
                  <a:lnTo>
                    <a:pt x="300" y="87"/>
                  </a:lnTo>
                  <a:lnTo>
                    <a:pt x="306" y="88"/>
                  </a:lnTo>
                  <a:lnTo>
                    <a:pt x="315" y="90"/>
                  </a:lnTo>
                  <a:lnTo>
                    <a:pt x="323" y="90"/>
                  </a:lnTo>
                  <a:lnTo>
                    <a:pt x="332" y="91"/>
                  </a:lnTo>
                  <a:lnTo>
                    <a:pt x="339" y="93"/>
                  </a:lnTo>
                  <a:lnTo>
                    <a:pt x="345" y="93"/>
                  </a:lnTo>
                  <a:lnTo>
                    <a:pt x="347" y="93"/>
                  </a:lnTo>
                  <a:lnTo>
                    <a:pt x="350" y="96"/>
                  </a:lnTo>
                  <a:lnTo>
                    <a:pt x="353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61" y="106"/>
                  </a:lnTo>
                  <a:lnTo>
                    <a:pt x="364" y="108"/>
                  </a:lnTo>
                  <a:lnTo>
                    <a:pt x="368" y="111"/>
                  </a:lnTo>
                  <a:lnTo>
                    <a:pt x="371" y="117"/>
                  </a:lnTo>
                  <a:lnTo>
                    <a:pt x="374" y="124"/>
                  </a:lnTo>
                  <a:lnTo>
                    <a:pt x="375" y="134"/>
                  </a:lnTo>
                  <a:lnTo>
                    <a:pt x="375" y="135"/>
                  </a:lnTo>
                  <a:lnTo>
                    <a:pt x="374" y="138"/>
                  </a:lnTo>
                  <a:lnTo>
                    <a:pt x="374" y="141"/>
                  </a:lnTo>
                  <a:lnTo>
                    <a:pt x="374" y="145"/>
                  </a:lnTo>
                  <a:lnTo>
                    <a:pt x="372" y="148"/>
                  </a:lnTo>
                  <a:lnTo>
                    <a:pt x="372" y="151"/>
                  </a:lnTo>
                  <a:lnTo>
                    <a:pt x="371" y="154"/>
                  </a:lnTo>
                  <a:lnTo>
                    <a:pt x="371" y="154"/>
                  </a:lnTo>
                  <a:lnTo>
                    <a:pt x="389" y="154"/>
                  </a:lnTo>
                  <a:lnTo>
                    <a:pt x="389" y="156"/>
                  </a:lnTo>
                  <a:lnTo>
                    <a:pt x="388" y="158"/>
                  </a:lnTo>
                  <a:lnTo>
                    <a:pt x="388" y="161"/>
                  </a:lnTo>
                  <a:lnTo>
                    <a:pt x="386" y="165"/>
                  </a:lnTo>
                  <a:lnTo>
                    <a:pt x="388" y="169"/>
                  </a:lnTo>
                  <a:lnTo>
                    <a:pt x="389" y="172"/>
                  </a:lnTo>
                  <a:lnTo>
                    <a:pt x="392" y="175"/>
                  </a:lnTo>
                  <a:lnTo>
                    <a:pt x="397" y="177"/>
                  </a:lnTo>
                  <a:lnTo>
                    <a:pt x="397" y="178"/>
                  </a:lnTo>
                  <a:lnTo>
                    <a:pt x="397" y="180"/>
                  </a:lnTo>
                  <a:lnTo>
                    <a:pt x="398" y="183"/>
                  </a:lnTo>
                  <a:lnTo>
                    <a:pt x="398" y="184"/>
                  </a:lnTo>
                  <a:lnTo>
                    <a:pt x="386" y="192"/>
                  </a:lnTo>
                  <a:lnTo>
                    <a:pt x="380" y="201"/>
                  </a:lnTo>
                  <a:lnTo>
                    <a:pt x="379" y="205"/>
                  </a:lnTo>
                  <a:lnTo>
                    <a:pt x="379" y="207"/>
                  </a:lnTo>
                  <a:lnTo>
                    <a:pt x="378" y="208"/>
                  </a:lnTo>
                  <a:lnTo>
                    <a:pt x="375" y="211"/>
                  </a:lnTo>
                  <a:lnTo>
                    <a:pt x="374" y="216"/>
                  </a:lnTo>
                  <a:lnTo>
                    <a:pt x="371" y="219"/>
                  </a:lnTo>
                  <a:lnTo>
                    <a:pt x="369" y="225"/>
                  </a:lnTo>
                  <a:lnTo>
                    <a:pt x="369" y="231"/>
                  </a:lnTo>
                  <a:lnTo>
                    <a:pt x="371" y="238"/>
                  </a:lnTo>
                  <a:lnTo>
                    <a:pt x="372" y="240"/>
                  </a:lnTo>
                  <a:lnTo>
                    <a:pt x="374" y="240"/>
                  </a:lnTo>
                  <a:lnTo>
                    <a:pt x="375" y="238"/>
                  </a:lnTo>
                  <a:lnTo>
                    <a:pt x="378" y="235"/>
                  </a:lnTo>
                  <a:lnTo>
                    <a:pt x="380" y="232"/>
                  </a:lnTo>
                  <a:lnTo>
                    <a:pt x="383" y="228"/>
                  </a:lnTo>
                  <a:lnTo>
                    <a:pt x="388" y="224"/>
                  </a:lnTo>
                  <a:lnTo>
                    <a:pt x="391" y="219"/>
                  </a:lnTo>
                  <a:lnTo>
                    <a:pt x="392" y="218"/>
                  </a:lnTo>
                  <a:lnTo>
                    <a:pt x="392" y="216"/>
                  </a:lnTo>
                  <a:lnTo>
                    <a:pt x="392" y="213"/>
                  </a:lnTo>
                  <a:lnTo>
                    <a:pt x="394" y="208"/>
                  </a:lnTo>
                  <a:lnTo>
                    <a:pt x="397" y="205"/>
                  </a:lnTo>
                  <a:lnTo>
                    <a:pt x="401" y="202"/>
                  </a:lnTo>
                  <a:lnTo>
                    <a:pt x="407" y="199"/>
                  </a:lnTo>
                  <a:lnTo>
                    <a:pt x="415" y="198"/>
                  </a:lnTo>
                  <a:lnTo>
                    <a:pt x="415" y="198"/>
                  </a:lnTo>
                  <a:lnTo>
                    <a:pt x="415" y="198"/>
                  </a:lnTo>
                  <a:lnTo>
                    <a:pt x="415" y="195"/>
                  </a:lnTo>
                  <a:lnTo>
                    <a:pt x="415" y="192"/>
                  </a:lnTo>
                  <a:lnTo>
                    <a:pt x="415" y="188"/>
                  </a:lnTo>
                  <a:lnTo>
                    <a:pt x="415" y="183"/>
                  </a:lnTo>
                  <a:lnTo>
                    <a:pt x="418" y="175"/>
                  </a:lnTo>
                  <a:lnTo>
                    <a:pt x="422" y="166"/>
                  </a:lnTo>
                  <a:lnTo>
                    <a:pt x="424" y="166"/>
                  </a:lnTo>
                  <a:lnTo>
                    <a:pt x="425" y="165"/>
                  </a:lnTo>
                  <a:lnTo>
                    <a:pt x="428" y="162"/>
                  </a:lnTo>
                  <a:lnTo>
                    <a:pt x="430" y="159"/>
                  </a:lnTo>
                  <a:lnTo>
                    <a:pt x="433" y="156"/>
                  </a:lnTo>
                  <a:lnTo>
                    <a:pt x="434" y="154"/>
                  </a:lnTo>
                  <a:lnTo>
                    <a:pt x="435" y="153"/>
                  </a:lnTo>
                  <a:lnTo>
                    <a:pt x="437" y="153"/>
                  </a:lnTo>
                  <a:lnTo>
                    <a:pt x="441" y="153"/>
                  </a:lnTo>
                  <a:lnTo>
                    <a:pt x="441" y="161"/>
                  </a:lnTo>
                  <a:lnTo>
                    <a:pt x="438" y="162"/>
                  </a:lnTo>
                  <a:lnTo>
                    <a:pt x="438" y="174"/>
                  </a:lnTo>
                  <a:lnTo>
                    <a:pt x="437" y="174"/>
                  </a:lnTo>
                  <a:lnTo>
                    <a:pt x="435" y="177"/>
                  </a:lnTo>
                  <a:lnTo>
                    <a:pt x="434" y="180"/>
                  </a:lnTo>
                  <a:lnTo>
                    <a:pt x="431" y="183"/>
                  </a:lnTo>
                  <a:lnTo>
                    <a:pt x="430" y="187"/>
                  </a:lnTo>
                  <a:lnTo>
                    <a:pt x="428" y="191"/>
                  </a:lnTo>
                  <a:lnTo>
                    <a:pt x="428" y="195"/>
                  </a:lnTo>
                  <a:lnTo>
                    <a:pt x="430" y="198"/>
                  </a:lnTo>
                  <a:lnTo>
                    <a:pt x="428" y="198"/>
                  </a:lnTo>
                  <a:lnTo>
                    <a:pt x="428" y="199"/>
                  </a:lnTo>
                  <a:lnTo>
                    <a:pt x="427" y="201"/>
                  </a:lnTo>
                  <a:lnTo>
                    <a:pt x="425" y="202"/>
                  </a:lnTo>
                  <a:lnTo>
                    <a:pt x="424" y="205"/>
                  </a:lnTo>
                  <a:lnTo>
                    <a:pt x="422" y="208"/>
                  </a:lnTo>
                  <a:lnTo>
                    <a:pt x="421" y="213"/>
                  </a:lnTo>
                  <a:lnTo>
                    <a:pt x="418" y="217"/>
                  </a:lnTo>
                  <a:lnTo>
                    <a:pt x="416" y="221"/>
                  </a:lnTo>
                  <a:lnTo>
                    <a:pt x="415" y="227"/>
                  </a:lnTo>
                  <a:lnTo>
                    <a:pt x="413" y="232"/>
                  </a:lnTo>
                  <a:lnTo>
                    <a:pt x="412" y="240"/>
                  </a:lnTo>
                  <a:lnTo>
                    <a:pt x="410" y="247"/>
                  </a:lnTo>
                  <a:lnTo>
                    <a:pt x="410" y="255"/>
                  </a:lnTo>
                  <a:lnTo>
                    <a:pt x="410" y="262"/>
                  </a:lnTo>
                  <a:lnTo>
                    <a:pt x="410" y="273"/>
                  </a:lnTo>
                  <a:lnTo>
                    <a:pt x="410" y="273"/>
                  </a:lnTo>
                  <a:lnTo>
                    <a:pt x="410" y="274"/>
                  </a:lnTo>
                  <a:lnTo>
                    <a:pt x="409" y="274"/>
                  </a:lnTo>
                  <a:lnTo>
                    <a:pt x="408" y="277"/>
                  </a:lnTo>
                  <a:lnTo>
                    <a:pt x="407" y="279"/>
                  </a:lnTo>
                  <a:lnTo>
                    <a:pt x="405" y="281"/>
                  </a:lnTo>
                  <a:lnTo>
                    <a:pt x="404" y="284"/>
                  </a:lnTo>
                  <a:lnTo>
                    <a:pt x="402" y="287"/>
                  </a:lnTo>
                  <a:lnTo>
                    <a:pt x="401" y="291"/>
                  </a:lnTo>
                  <a:lnTo>
                    <a:pt x="399" y="294"/>
                  </a:lnTo>
                  <a:lnTo>
                    <a:pt x="399" y="300"/>
                  </a:lnTo>
                  <a:lnTo>
                    <a:pt x="398" y="304"/>
                  </a:lnTo>
                  <a:lnTo>
                    <a:pt x="398" y="310"/>
                  </a:lnTo>
                  <a:lnTo>
                    <a:pt x="399" y="315"/>
                  </a:lnTo>
                  <a:lnTo>
                    <a:pt x="401" y="321"/>
                  </a:lnTo>
                  <a:lnTo>
                    <a:pt x="402" y="328"/>
                  </a:lnTo>
                  <a:lnTo>
                    <a:pt x="402" y="330"/>
                  </a:lnTo>
                  <a:lnTo>
                    <a:pt x="401" y="331"/>
                  </a:lnTo>
                  <a:lnTo>
                    <a:pt x="401" y="334"/>
                  </a:lnTo>
                  <a:lnTo>
                    <a:pt x="399" y="337"/>
                  </a:lnTo>
                  <a:lnTo>
                    <a:pt x="398" y="342"/>
                  </a:lnTo>
                  <a:lnTo>
                    <a:pt x="397" y="345"/>
                  </a:lnTo>
                  <a:lnTo>
                    <a:pt x="395" y="350"/>
                  </a:lnTo>
                  <a:lnTo>
                    <a:pt x="394" y="355"/>
                  </a:lnTo>
                  <a:lnTo>
                    <a:pt x="392" y="361"/>
                  </a:lnTo>
                  <a:lnTo>
                    <a:pt x="392" y="369"/>
                  </a:lnTo>
                  <a:lnTo>
                    <a:pt x="391" y="375"/>
                  </a:lnTo>
                  <a:lnTo>
                    <a:pt x="391" y="381"/>
                  </a:lnTo>
                  <a:lnTo>
                    <a:pt x="392" y="388"/>
                  </a:lnTo>
                  <a:lnTo>
                    <a:pt x="394" y="396"/>
                  </a:lnTo>
                  <a:lnTo>
                    <a:pt x="395" y="403"/>
                  </a:lnTo>
                  <a:lnTo>
                    <a:pt x="398" y="408"/>
                  </a:lnTo>
                  <a:lnTo>
                    <a:pt x="399" y="410"/>
                  </a:lnTo>
                  <a:lnTo>
                    <a:pt x="399" y="411"/>
                  </a:lnTo>
                  <a:lnTo>
                    <a:pt x="401" y="414"/>
                  </a:lnTo>
                  <a:lnTo>
                    <a:pt x="402" y="416"/>
                  </a:lnTo>
                  <a:lnTo>
                    <a:pt x="404" y="418"/>
                  </a:lnTo>
                  <a:lnTo>
                    <a:pt x="404" y="420"/>
                  </a:lnTo>
                  <a:lnTo>
                    <a:pt x="405" y="421"/>
                  </a:lnTo>
                  <a:lnTo>
                    <a:pt x="405" y="421"/>
                  </a:lnTo>
                  <a:lnTo>
                    <a:pt x="405" y="427"/>
                  </a:lnTo>
                  <a:lnTo>
                    <a:pt x="404" y="443"/>
                  </a:lnTo>
                  <a:lnTo>
                    <a:pt x="405" y="453"/>
                  </a:lnTo>
                  <a:lnTo>
                    <a:pt x="186" y="46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4" name="Freeform 48"/>
            <p:cNvSpPr>
              <a:spLocks/>
            </p:cNvSpPr>
            <p:nvPr/>
          </p:nvSpPr>
          <p:spPr bwMode="auto">
            <a:xfrm>
              <a:off x="2387953" y="4215110"/>
              <a:ext cx="296584" cy="315448"/>
            </a:xfrm>
            <a:custGeom>
              <a:avLst/>
              <a:gdLst>
                <a:gd name="T0" fmla="*/ 177 w 442"/>
                <a:gd name="T1" fmla="*/ 453 h 470"/>
                <a:gd name="T2" fmla="*/ 153 w 442"/>
                <a:gd name="T3" fmla="*/ 446 h 470"/>
                <a:gd name="T4" fmla="*/ 149 w 442"/>
                <a:gd name="T5" fmla="*/ 432 h 470"/>
                <a:gd name="T6" fmla="*/ 141 w 442"/>
                <a:gd name="T7" fmla="*/ 407 h 470"/>
                <a:gd name="T8" fmla="*/ 144 w 442"/>
                <a:gd name="T9" fmla="*/ 383 h 470"/>
                <a:gd name="T10" fmla="*/ 135 w 442"/>
                <a:gd name="T11" fmla="*/ 361 h 470"/>
                <a:gd name="T12" fmla="*/ 123 w 442"/>
                <a:gd name="T13" fmla="*/ 318 h 470"/>
                <a:gd name="T14" fmla="*/ 78 w 442"/>
                <a:gd name="T15" fmla="*/ 280 h 470"/>
                <a:gd name="T16" fmla="*/ 48 w 442"/>
                <a:gd name="T17" fmla="*/ 257 h 470"/>
                <a:gd name="T18" fmla="*/ 38 w 442"/>
                <a:gd name="T19" fmla="*/ 257 h 470"/>
                <a:gd name="T20" fmla="*/ 12 w 442"/>
                <a:gd name="T21" fmla="*/ 237 h 470"/>
                <a:gd name="T22" fmla="*/ 15 w 442"/>
                <a:gd name="T23" fmla="*/ 211 h 470"/>
                <a:gd name="T24" fmla="*/ 9 w 442"/>
                <a:gd name="T25" fmla="*/ 186 h 470"/>
                <a:gd name="T26" fmla="*/ 0 w 442"/>
                <a:gd name="T27" fmla="*/ 151 h 470"/>
                <a:gd name="T28" fmla="*/ 3 w 442"/>
                <a:gd name="T29" fmla="*/ 132 h 470"/>
                <a:gd name="T30" fmla="*/ 18 w 442"/>
                <a:gd name="T31" fmla="*/ 112 h 470"/>
                <a:gd name="T32" fmla="*/ 41 w 442"/>
                <a:gd name="T33" fmla="*/ 36 h 470"/>
                <a:gd name="T34" fmla="*/ 47 w 442"/>
                <a:gd name="T35" fmla="*/ 28 h 470"/>
                <a:gd name="T36" fmla="*/ 65 w 442"/>
                <a:gd name="T37" fmla="*/ 30 h 470"/>
                <a:gd name="T38" fmla="*/ 87 w 442"/>
                <a:gd name="T39" fmla="*/ 25 h 470"/>
                <a:gd name="T40" fmla="*/ 104 w 442"/>
                <a:gd name="T41" fmla="*/ 21 h 470"/>
                <a:gd name="T42" fmla="*/ 119 w 442"/>
                <a:gd name="T43" fmla="*/ 10 h 470"/>
                <a:gd name="T44" fmla="*/ 137 w 442"/>
                <a:gd name="T45" fmla="*/ 5 h 470"/>
                <a:gd name="T46" fmla="*/ 153 w 442"/>
                <a:gd name="T47" fmla="*/ 5 h 470"/>
                <a:gd name="T48" fmla="*/ 146 w 442"/>
                <a:gd name="T49" fmla="*/ 32 h 470"/>
                <a:gd name="T50" fmla="*/ 150 w 442"/>
                <a:gd name="T51" fmla="*/ 35 h 470"/>
                <a:gd name="T52" fmla="*/ 161 w 442"/>
                <a:gd name="T53" fmla="*/ 28 h 470"/>
                <a:gd name="T54" fmla="*/ 186 w 442"/>
                <a:gd name="T55" fmla="*/ 38 h 470"/>
                <a:gd name="T56" fmla="*/ 201 w 442"/>
                <a:gd name="T57" fmla="*/ 58 h 470"/>
                <a:gd name="T58" fmla="*/ 210 w 442"/>
                <a:gd name="T59" fmla="*/ 65 h 470"/>
                <a:gd name="T60" fmla="*/ 239 w 442"/>
                <a:gd name="T61" fmla="*/ 68 h 470"/>
                <a:gd name="T62" fmla="*/ 287 w 442"/>
                <a:gd name="T63" fmla="*/ 81 h 470"/>
                <a:gd name="T64" fmla="*/ 323 w 442"/>
                <a:gd name="T65" fmla="*/ 90 h 470"/>
                <a:gd name="T66" fmla="*/ 353 w 442"/>
                <a:gd name="T67" fmla="*/ 106 h 470"/>
                <a:gd name="T68" fmla="*/ 374 w 442"/>
                <a:gd name="T69" fmla="*/ 124 h 470"/>
                <a:gd name="T70" fmla="*/ 372 w 442"/>
                <a:gd name="T71" fmla="*/ 148 h 470"/>
                <a:gd name="T72" fmla="*/ 388 w 442"/>
                <a:gd name="T73" fmla="*/ 158 h 470"/>
                <a:gd name="T74" fmla="*/ 397 w 442"/>
                <a:gd name="T75" fmla="*/ 177 h 470"/>
                <a:gd name="T76" fmla="*/ 379 w 442"/>
                <a:gd name="T77" fmla="*/ 205 h 470"/>
                <a:gd name="T78" fmla="*/ 369 w 442"/>
                <a:gd name="T79" fmla="*/ 225 h 470"/>
                <a:gd name="T80" fmla="*/ 378 w 442"/>
                <a:gd name="T81" fmla="*/ 235 h 470"/>
                <a:gd name="T82" fmla="*/ 392 w 442"/>
                <a:gd name="T83" fmla="*/ 216 h 470"/>
                <a:gd name="T84" fmla="*/ 415 w 442"/>
                <a:gd name="T85" fmla="*/ 198 h 470"/>
                <a:gd name="T86" fmla="*/ 418 w 442"/>
                <a:gd name="T87" fmla="*/ 175 h 470"/>
                <a:gd name="T88" fmla="*/ 433 w 442"/>
                <a:gd name="T89" fmla="*/ 156 h 470"/>
                <a:gd name="T90" fmla="*/ 438 w 442"/>
                <a:gd name="T91" fmla="*/ 174 h 470"/>
                <a:gd name="T92" fmla="*/ 428 w 442"/>
                <a:gd name="T93" fmla="*/ 191 h 470"/>
                <a:gd name="T94" fmla="*/ 425 w 442"/>
                <a:gd name="T95" fmla="*/ 202 h 470"/>
                <a:gd name="T96" fmla="*/ 413 w 442"/>
                <a:gd name="T97" fmla="*/ 232 h 470"/>
                <a:gd name="T98" fmla="*/ 410 w 442"/>
                <a:gd name="T99" fmla="*/ 273 h 470"/>
                <a:gd name="T100" fmla="*/ 402 w 442"/>
                <a:gd name="T101" fmla="*/ 287 h 470"/>
                <a:gd name="T102" fmla="*/ 401 w 442"/>
                <a:gd name="T103" fmla="*/ 321 h 470"/>
                <a:gd name="T104" fmla="*/ 398 w 442"/>
                <a:gd name="T105" fmla="*/ 342 h 470"/>
                <a:gd name="T106" fmla="*/ 391 w 442"/>
                <a:gd name="T107" fmla="*/ 381 h 470"/>
                <a:gd name="T108" fmla="*/ 399 w 442"/>
                <a:gd name="T109" fmla="*/ 411 h 470"/>
                <a:gd name="T110" fmla="*/ 405 w 442"/>
                <a:gd name="T111" fmla="*/ 42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42" h="470">
                  <a:moveTo>
                    <a:pt x="186" y="469"/>
                  </a:moveTo>
                  <a:lnTo>
                    <a:pt x="186" y="469"/>
                  </a:lnTo>
                  <a:lnTo>
                    <a:pt x="185" y="465"/>
                  </a:lnTo>
                  <a:lnTo>
                    <a:pt x="183" y="460"/>
                  </a:lnTo>
                  <a:lnTo>
                    <a:pt x="182" y="457"/>
                  </a:lnTo>
                  <a:lnTo>
                    <a:pt x="179" y="454"/>
                  </a:lnTo>
                  <a:lnTo>
                    <a:pt x="177" y="453"/>
                  </a:lnTo>
                  <a:lnTo>
                    <a:pt x="174" y="453"/>
                  </a:lnTo>
                  <a:lnTo>
                    <a:pt x="173" y="451"/>
                  </a:lnTo>
                  <a:lnTo>
                    <a:pt x="173" y="451"/>
                  </a:lnTo>
                  <a:lnTo>
                    <a:pt x="153" y="446"/>
                  </a:lnTo>
                  <a:lnTo>
                    <a:pt x="153" y="446"/>
                  </a:lnTo>
                  <a:lnTo>
                    <a:pt x="153" y="446"/>
                  </a:lnTo>
                  <a:lnTo>
                    <a:pt x="153" y="446"/>
                  </a:lnTo>
                  <a:lnTo>
                    <a:pt x="153" y="444"/>
                  </a:lnTo>
                  <a:lnTo>
                    <a:pt x="153" y="443"/>
                  </a:lnTo>
                  <a:lnTo>
                    <a:pt x="153" y="440"/>
                  </a:lnTo>
                  <a:lnTo>
                    <a:pt x="153" y="438"/>
                  </a:lnTo>
                  <a:lnTo>
                    <a:pt x="152" y="435"/>
                  </a:lnTo>
                  <a:lnTo>
                    <a:pt x="149" y="432"/>
                  </a:lnTo>
                  <a:lnTo>
                    <a:pt x="149" y="432"/>
                  </a:lnTo>
                  <a:lnTo>
                    <a:pt x="147" y="427"/>
                  </a:lnTo>
                  <a:lnTo>
                    <a:pt x="144" y="424"/>
                  </a:lnTo>
                  <a:lnTo>
                    <a:pt x="143" y="421"/>
                  </a:lnTo>
                  <a:lnTo>
                    <a:pt x="141" y="417"/>
                  </a:lnTo>
                  <a:lnTo>
                    <a:pt x="141" y="414"/>
                  </a:lnTo>
                  <a:lnTo>
                    <a:pt x="140" y="410"/>
                  </a:lnTo>
                  <a:lnTo>
                    <a:pt x="141" y="407"/>
                  </a:lnTo>
                  <a:lnTo>
                    <a:pt x="143" y="403"/>
                  </a:lnTo>
                  <a:lnTo>
                    <a:pt x="143" y="403"/>
                  </a:lnTo>
                  <a:lnTo>
                    <a:pt x="146" y="396"/>
                  </a:lnTo>
                  <a:lnTo>
                    <a:pt x="147" y="391"/>
                  </a:lnTo>
                  <a:lnTo>
                    <a:pt x="147" y="387"/>
                  </a:lnTo>
                  <a:lnTo>
                    <a:pt x="146" y="384"/>
                  </a:lnTo>
                  <a:lnTo>
                    <a:pt x="144" y="383"/>
                  </a:lnTo>
                  <a:lnTo>
                    <a:pt x="143" y="383"/>
                  </a:lnTo>
                  <a:lnTo>
                    <a:pt x="143" y="381"/>
                  </a:lnTo>
                  <a:lnTo>
                    <a:pt x="141" y="381"/>
                  </a:lnTo>
                  <a:lnTo>
                    <a:pt x="134" y="364"/>
                  </a:lnTo>
                  <a:lnTo>
                    <a:pt x="134" y="363"/>
                  </a:lnTo>
                  <a:lnTo>
                    <a:pt x="134" y="363"/>
                  </a:lnTo>
                  <a:lnTo>
                    <a:pt x="135" y="361"/>
                  </a:lnTo>
                  <a:lnTo>
                    <a:pt x="135" y="355"/>
                  </a:lnTo>
                  <a:lnTo>
                    <a:pt x="132" y="348"/>
                  </a:lnTo>
                  <a:lnTo>
                    <a:pt x="131" y="340"/>
                  </a:lnTo>
                  <a:lnTo>
                    <a:pt x="128" y="333"/>
                  </a:lnTo>
                  <a:lnTo>
                    <a:pt x="126" y="325"/>
                  </a:lnTo>
                  <a:lnTo>
                    <a:pt x="125" y="320"/>
                  </a:lnTo>
                  <a:lnTo>
                    <a:pt x="123" y="318"/>
                  </a:lnTo>
                  <a:lnTo>
                    <a:pt x="123" y="318"/>
                  </a:lnTo>
                  <a:lnTo>
                    <a:pt x="111" y="314"/>
                  </a:lnTo>
                  <a:lnTo>
                    <a:pt x="101" y="309"/>
                  </a:lnTo>
                  <a:lnTo>
                    <a:pt x="94" y="301"/>
                  </a:lnTo>
                  <a:lnTo>
                    <a:pt x="87" y="294"/>
                  </a:lnTo>
                  <a:lnTo>
                    <a:pt x="83" y="287"/>
                  </a:lnTo>
                  <a:lnTo>
                    <a:pt x="78" y="280"/>
                  </a:lnTo>
                  <a:lnTo>
                    <a:pt x="75" y="277"/>
                  </a:lnTo>
                  <a:lnTo>
                    <a:pt x="75" y="274"/>
                  </a:lnTo>
                  <a:lnTo>
                    <a:pt x="50" y="264"/>
                  </a:lnTo>
                  <a:lnTo>
                    <a:pt x="48" y="257"/>
                  </a:lnTo>
                  <a:lnTo>
                    <a:pt x="48" y="257"/>
                  </a:lnTo>
                  <a:lnTo>
                    <a:pt x="48" y="257"/>
                  </a:lnTo>
                  <a:lnTo>
                    <a:pt x="48" y="257"/>
                  </a:lnTo>
                  <a:lnTo>
                    <a:pt x="47" y="257"/>
                  </a:lnTo>
                  <a:lnTo>
                    <a:pt x="47" y="255"/>
                  </a:lnTo>
                  <a:lnTo>
                    <a:pt x="45" y="255"/>
                  </a:lnTo>
                  <a:lnTo>
                    <a:pt x="42" y="255"/>
                  </a:lnTo>
                  <a:lnTo>
                    <a:pt x="41" y="255"/>
                  </a:lnTo>
                  <a:lnTo>
                    <a:pt x="38" y="257"/>
                  </a:lnTo>
                  <a:lnTo>
                    <a:pt x="38" y="257"/>
                  </a:lnTo>
                  <a:lnTo>
                    <a:pt x="35" y="255"/>
                  </a:lnTo>
                  <a:lnTo>
                    <a:pt x="31" y="254"/>
                  </a:lnTo>
                  <a:lnTo>
                    <a:pt x="25" y="252"/>
                  </a:lnTo>
                  <a:lnTo>
                    <a:pt x="21" y="249"/>
                  </a:lnTo>
                  <a:lnTo>
                    <a:pt x="17" y="244"/>
                  </a:lnTo>
                  <a:lnTo>
                    <a:pt x="14" y="241"/>
                  </a:lnTo>
                  <a:lnTo>
                    <a:pt x="12" y="237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5" y="225"/>
                  </a:lnTo>
                  <a:lnTo>
                    <a:pt x="17" y="221"/>
                  </a:lnTo>
                  <a:lnTo>
                    <a:pt x="17" y="217"/>
                  </a:lnTo>
                  <a:lnTo>
                    <a:pt x="17" y="214"/>
                  </a:lnTo>
                  <a:lnTo>
                    <a:pt x="15" y="211"/>
                  </a:lnTo>
                  <a:lnTo>
                    <a:pt x="14" y="208"/>
                  </a:lnTo>
                  <a:lnTo>
                    <a:pt x="12" y="205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9" y="198"/>
                  </a:lnTo>
                  <a:lnTo>
                    <a:pt x="9" y="191"/>
                  </a:lnTo>
                  <a:lnTo>
                    <a:pt x="9" y="186"/>
                  </a:lnTo>
                  <a:lnTo>
                    <a:pt x="12" y="178"/>
                  </a:lnTo>
                  <a:lnTo>
                    <a:pt x="14" y="172"/>
                  </a:lnTo>
                  <a:lnTo>
                    <a:pt x="17" y="166"/>
                  </a:lnTo>
                  <a:lnTo>
                    <a:pt x="17" y="162"/>
                  </a:lnTo>
                  <a:lnTo>
                    <a:pt x="18" y="162"/>
                  </a:lnTo>
                  <a:lnTo>
                    <a:pt x="11" y="151"/>
                  </a:lnTo>
                  <a:lnTo>
                    <a:pt x="0" y="151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2" y="132"/>
                  </a:lnTo>
                  <a:lnTo>
                    <a:pt x="3" y="132"/>
                  </a:lnTo>
                  <a:lnTo>
                    <a:pt x="5" y="129"/>
                  </a:lnTo>
                  <a:lnTo>
                    <a:pt x="5" y="128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8" y="121"/>
                  </a:lnTo>
                  <a:lnTo>
                    <a:pt x="14" y="117"/>
                  </a:lnTo>
                  <a:lnTo>
                    <a:pt x="18" y="112"/>
                  </a:lnTo>
                  <a:lnTo>
                    <a:pt x="25" y="106"/>
                  </a:lnTo>
                  <a:lnTo>
                    <a:pt x="31" y="102"/>
                  </a:lnTo>
                  <a:lnTo>
                    <a:pt x="36" y="99"/>
                  </a:lnTo>
                  <a:lnTo>
                    <a:pt x="39" y="96"/>
                  </a:lnTo>
                  <a:lnTo>
                    <a:pt x="42" y="9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41" y="33"/>
                  </a:lnTo>
                  <a:lnTo>
                    <a:pt x="42" y="31"/>
                  </a:lnTo>
                  <a:lnTo>
                    <a:pt x="47" y="28"/>
                  </a:lnTo>
                  <a:lnTo>
                    <a:pt x="53" y="24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7" y="25"/>
                  </a:lnTo>
                  <a:lnTo>
                    <a:pt x="61" y="27"/>
                  </a:lnTo>
                  <a:lnTo>
                    <a:pt x="65" y="30"/>
                  </a:lnTo>
                  <a:lnTo>
                    <a:pt x="69" y="31"/>
                  </a:lnTo>
                  <a:lnTo>
                    <a:pt x="75" y="32"/>
                  </a:lnTo>
                  <a:lnTo>
                    <a:pt x="81" y="31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6" y="27"/>
                  </a:lnTo>
                  <a:lnTo>
                    <a:pt x="87" y="25"/>
                  </a:lnTo>
                  <a:lnTo>
                    <a:pt x="89" y="25"/>
                  </a:lnTo>
                  <a:lnTo>
                    <a:pt x="91" y="22"/>
                  </a:lnTo>
                  <a:lnTo>
                    <a:pt x="94" y="22"/>
                  </a:lnTo>
                  <a:lnTo>
                    <a:pt x="96" y="21"/>
                  </a:lnTo>
                  <a:lnTo>
                    <a:pt x="99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5" y="21"/>
                  </a:lnTo>
                  <a:lnTo>
                    <a:pt x="107" y="19"/>
                  </a:lnTo>
                  <a:lnTo>
                    <a:pt x="108" y="18"/>
                  </a:lnTo>
                  <a:lnTo>
                    <a:pt x="110" y="16"/>
                  </a:lnTo>
                  <a:lnTo>
                    <a:pt x="111" y="15"/>
                  </a:lnTo>
                  <a:lnTo>
                    <a:pt x="114" y="13"/>
                  </a:lnTo>
                  <a:lnTo>
                    <a:pt x="119" y="10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9" y="8"/>
                  </a:lnTo>
                  <a:lnTo>
                    <a:pt x="132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37" y="5"/>
                  </a:lnTo>
                  <a:lnTo>
                    <a:pt x="138" y="3"/>
                  </a:lnTo>
                  <a:lnTo>
                    <a:pt x="141" y="2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9" y="0"/>
                  </a:lnTo>
                  <a:lnTo>
                    <a:pt x="152" y="2"/>
                  </a:lnTo>
                  <a:lnTo>
                    <a:pt x="153" y="5"/>
                  </a:lnTo>
                  <a:lnTo>
                    <a:pt x="155" y="6"/>
                  </a:lnTo>
                  <a:lnTo>
                    <a:pt x="149" y="16"/>
                  </a:lnTo>
                  <a:lnTo>
                    <a:pt x="147" y="24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4" y="33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4" y="38"/>
                  </a:lnTo>
                  <a:lnTo>
                    <a:pt x="147" y="36"/>
                  </a:lnTo>
                  <a:lnTo>
                    <a:pt x="150" y="35"/>
                  </a:lnTo>
                  <a:lnTo>
                    <a:pt x="150" y="35"/>
                  </a:lnTo>
                  <a:lnTo>
                    <a:pt x="152" y="33"/>
                  </a:lnTo>
                  <a:lnTo>
                    <a:pt x="153" y="32"/>
                  </a:lnTo>
                  <a:lnTo>
                    <a:pt x="156" y="32"/>
                  </a:lnTo>
                  <a:lnTo>
                    <a:pt x="157" y="31"/>
                  </a:lnTo>
                  <a:lnTo>
                    <a:pt x="158" y="30"/>
                  </a:lnTo>
                  <a:lnTo>
                    <a:pt x="159" y="28"/>
                  </a:lnTo>
                  <a:lnTo>
                    <a:pt x="161" y="28"/>
                  </a:lnTo>
                  <a:lnTo>
                    <a:pt x="161" y="28"/>
                  </a:lnTo>
                  <a:lnTo>
                    <a:pt x="177" y="38"/>
                  </a:lnTo>
                  <a:lnTo>
                    <a:pt x="177" y="38"/>
                  </a:lnTo>
                  <a:lnTo>
                    <a:pt x="179" y="38"/>
                  </a:lnTo>
                  <a:lnTo>
                    <a:pt x="180" y="38"/>
                  </a:lnTo>
                  <a:lnTo>
                    <a:pt x="183" y="38"/>
                  </a:lnTo>
                  <a:lnTo>
                    <a:pt x="186" y="38"/>
                  </a:lnTo>
                  <a:lnTo>
                    <a:pt x="190" y="39"/>
                  </a:lnTo>
                  <a:lnTo>
                    <a:pt x="193" y="43"/>
                  </a:lnTo>
                  <a:lnTo>
                    <a:pt x="197" y="48"/>
                  </a:lnTo>
                  <a:lnTo>
                    <a:pt x="200" y="55"/>
                  </a:lnTo>
                  <a:lnTo>
                    <a:pt x="200" y="55"/>
                  </a:lnTo>
                  <a:lnTo>
                    <a:pt x="201" y="57"/>
                  </a:lnTo>
                  <a:lnTo>
                    <a:pt x="201" y="58"/>
                  </a:lnTo>
                  <a:lnTo>
                    <a:pt x="204" y="60"/>
                  </a:lnTo>
                  <a:lnTo>
                    <a:pt x="206" y="61"/>
                  </a:lnTo>
                  <a:lnTo>
                    <a:pt x="207" y="62"/>
                  </a:lnTo>
                  <a:lnTo>
                    <a:pt x="209" y="63"/>
                  </a:lnTo>
                  <a:lnTo>
                    <a:pt x="210" y="63"/>
                  </a:lnTo>
                  <a:lnTo>
                    <a:pt x="210" y="65"/>
                  </a:lnTo>
                  <a:lnTo>
                    <a:pt x="210" y="65"/>
                  </a:lnTo>
                  <a:lnTo>
                    <a:pt x="210" y="65"/>
                  </a:lnTo>
                  <a:lnTo>
                    <a:pt x="213" y="65"/>
                  </a:lnTo>
                  <a:lnTo>
                    <a:pt x="216" y="65"/>
                  </a:lnTo>
                  <a:lnTo>
                    <a:pt x="220" y="65"/>
                  </a:lnTo>
                  <a:lnTo>
                    <a:pt x="226" y="66"/>
                  </a:lnTo>
                  <a:lnTo>
                    <a:pt x="231" y="66"/>
                  </a:lnTo>
                  <a:lnTo>
                    <a:pt x="239" y="68"/>
                  </a:lnTo>
                  <a:lnTo>
                    <a:pt x="246" y="69"/>
                  </a:lnTo>
                  <a:lnTo>
                    <a:pt x="253" y="71"/>
                  </a:lnTo>
                  <a:lnTo>
                    <a:pt x="260" y="72"/>
                  </a:lnTo>
                  <a:lnTo>
                    <a:pt x="267" y="73"/>
                  </a:lnTo>
                  <a:lnTo>
                    <a:pt x="275" y="76"/>
                  </a:lnTo>
                  <a:lnTo>
                    <a:pt x="282" y="78"/>
                  </a:lnTo>
                  <a:lnTo>
                    <a:pt x="287" y="81"/>
                  </a:lnTo>
                  <a:lnTo>
                    <a:pt x="293" y="84"/>
                  </a:lnTo>
                  <a:lnTo>
                    <a:pt x="299" y="87"/>
                  </a:lnTo>
                  <a:lnTo>
                    <a:pt x="299" y="87"/>
                  </a:lnTo>
                  <a:lnTo>
                    <a:pt x="300" y="87"/>
                  </a:lnTo>
                  <a:lnTo>
                    <a:pt x="306" y="88"/>
                  </a:lnTo>
                  <a:lnTo>
                    <a:pt x="315" y="90"/>
                  </a:lnTo>
                  <a:lnTo>
                    <a:pt x="323" y="90"/>
                  </a:lnTo>
                  <a:lnTo>
                    <a:pt x="332" y="91"/>
                  </a:lnTo>
                  <a:lnTo>
                    <a:pt x="339" y="93"/>
                  </a:lnTo>
                  <a:lnTo>
                    <a:pt x="345" y="93"/>
                  </a:lnTo>
                  <a:lnTo>
                    <a:pt x="347" y="93"/>
                  </a:lnTo>
                  <a:lnTo>
                    <a:pt x="350" y="96"/>
                  </a:lnTo>
                  <a:lnTo>
                    <a:pt x="353" y="106"/>
                  </a:lnTo>
                  <a:lnTo>
                    <a:pt x="353" y="106"/>
                  </a:lnTo>
                  <a:lnTo>
                    <a:pt x="355" y="106"/>
                  </a:lnTo>
                  <a:lnTo>
                    <a:pt x="356" y="106"/>
                  </a:lnTo>
                  <a:lnTo>
                    <a:pt x="361" y="106"/>
                  </a:lnTo>
                  <a:lnTo>
                    <a:pt x="364" y="108"/>
                  </a:lnTo>
                  <a:lnTo>
                    <a:pt x="368" y="111"/>
                  </a:lnTo>
                  <a:lnTo>
                    <a:pt x="371" y="117"/>
                  </a:lnTo>
                  <a:lnTo>
                    <a:pt x="374" y="124"/>
                  </a:lnTo>
                  <a:lnTo>
                    <a:pt x="375" y="134"/>
                  </a:lnTo>
                  <a:lnTo>
                    <a:pt x="375" y="134"/>
                  </a:lnTo>
                  <a:lnTo>
                    <a:pt x="375" y="135"/>
                  </a:lnTo>
                  <a:lnTo>
                    <a:pt x="374" y="138"/>
                  </a:lnTo>
                  <a:lnTo>
                    <a:pt x="374" y="141"/>
                  </a:lnTo>
                  <a:lnTo>
                    <a:pt x="374" y="145"/>
                  </a:lnTo>
                  <a:lnTo>
                    <a:pt x="372" y="148"/>
                  </a:lnTo>
                  <a:lnTo>
                    <a:pt x="372" y="151"/>
                  </a:lnTo>
                  <a:lnTo>
                    <a:pt x="371" y="154"/>
                  </a:lnTo>
                  <a:lnTo>
                    <a:pt x="371" y="154"/>
                  </a:lnTo>
                  <a:lnTo>
                    <a:pt x="389" y="154"/>
                  </a:lnTo>
                  <a:lnTo>
                    <a:pt x="389" y="154"/>
                  </a:lnTo>
                  <a:lnTo>
                    <a:pt x="389" y="156"/>
                  </a:lnTo>
                  <a:lnTo>
                    <a:pt x="388" y="158"/>
                  </a:lnTo>
                  <a:lnTo>
                    <a:pt x="388" y="161"/>
                  </a:lnTo>
                  <a:lnTo>
                    <a:pt x="386" y="165"/>
                  </a:lnTo>
                  <a:lnTo>
                    <a:pt x="388" y="169"/>
                  </a:lnTo>
                  <a:lnTo>
                    <a:pt x="389" y="172"/>
                  </a:lnTo>
                  <a:lnTo>
                    <a:pt x="392" y="175"/>
                  </a:lnTo>
                  <a:lnTo>
                    <a:pt x="397" y="177"/>
                  </a:lnTo>
                  <a:lnTo>
                    <a:pt x="397" y="177"/>
                  </a:lnTo>
                  <a:lnTo>
                    <a:pt x="397" y="178"/>
                  </a:lnTo>
                  <a:lnTo>
                    <a:pt x="397" y="180"/>
                  </a:lnTo>
                  <a:lnTo>
                    <a:pt x="398" y="183"/>
                  </a:lnTo>
                  <a:lnTo>
                    <a:pt x="398" y="184"/>
                  </a:lnTo>
                  <a:lnTo>
                    <a:pt x="386" y="192"/>
                  </a:lnTo>
                  <a:lnTo>
                    <a:pt x="380" y="201"/>
                  </a:lnTo>
                  <a:lnTo>
                    <a:pt x="379" y="205"/>
                  </a:lnTo>
                  <a:lnTo>
                    <a:pt x="379" y="205"/>
                  </a:lnTo>
                  <a:lnTo>
                    <a:pt x="379" y="207"/>
                  </a:lnTo>
                  <a:lnTo>
                    <a:pt x="378" y="208"/>
                  </a:lnTo>
                  <a:lnTo>
                    <a:pt x="375" y="211"/>
                  </a:lnTo>
                  <a:lnTo>
                    <a:pt x="374" y="216"/>
                  </a:lnTo>
                  <a:lnTo>
                    <a:pt x="371" y="219"/>
                  </a:lnTo>
                  <a:lnTo>
                    <a:pt x="369" y="225"/>
                  </a:lnTo>
                  <a:lnTo>
                    <a:pt x="369" y="231"/>
                  </a:lnTo>
                  <a:lnTo>
                    <a:pt x="371" y="238"/>
                  </a:lnTo>
                  <a:lnTo>
                    <a:pt x="371" y="238"/>
                  </a:lnTo>
                  <a:lnTo>
                    <a:pt x="372" y="240"/>
                  </a:lnTo>
                  <a:lnTo>
                    <a:pt x="374" y="240"/>
                  </a:lnTo>
                  <a:lnTo>
                    <a:pt x="375" y="238"/>
                  </a:lnTo>
                  <a:lnTo>
                    <a:pt x="378" y="235"/>
                  </a:lnTo>
                  <a:lnTo>
                    <a:pt x="380" y="232"/>
                  </a:lnTo>
                  <a:lnTo>
                    <a:pt x="383" y="228"/>
                  </a:lnTo>
                  <a:lnTo>
                    <a:pt x="388" y="224"/>
                  </a:lnTo>
                  <a:lnTo>
                    <a:pt x="391" y="219"/>
                  </a:lnTo>
                  <a:lnTo>
                    <a:pt x="391" y="219"/>
                  </a:lnTo>
                  <a:lnTo>
                    <a:pt x="392" y="218"/>
                  </a:lnTo>
                  <a:lnTo>
                    <a:pt x="392" y="216"/>
                  </a:lnTo>
                  <a:lnTo>
                    <a:pt x="392" y="213"/>
                  </a:lnTo>
                  <a:lnTo>
                    <a:pt x="394" y="208"/>
                  </a:lnTo>
                  <a:lnTo>
                    <a:pt x="397" y="205"/>
                  </a:lnTo>
                  <a:lnTo>
                    <a:pt x="401" y="202"/>
                  </a:lnTo>
                  <a:lnTo>
                    <a:pt x="407" y="199"/>
                  </a:lnTo>
                  <a:lnTo>
                    <a:pt x="415" y="198"/>
                  </a:lnTo>
                  <a:lnTo>
                    <a:pt x="415" y="198"/>
                  </a:lnTo>
                  <a:lnTo>
                    <a:pt x="415" y="198"/>
                  </a:lnTo>
                  <a:lnTo>
                    <a:pt x="415" y="198"/>
                  </a:lnTo>
                  <a:lnTo>
                    <a:pt x="415" y="195"/>
                  </a:lnTo>
                  <a:lnTo>
                    <a:pt x="415" y="192"/>
                  </a:lnTo>
                  <a:lnTo>
                    <a:pt x="415" y="188"/>
                  </a:lnTo>
                  <a:lnTo>
                    <a:pt x="415" y="183"/>
                  </a:lnTo>
                  <a:lnTo>
                    <a:pt x="418" y="175"/>
                  </a:lnTo>
                  <a:lnTo>
                    <a:pt x="422" y="166"/>
                  </a:lnTo>
                  <a:lnTo>
                    <a:pt x="422" y="166"/>
                  </a:lnTo>
                  <a:lnTo>
                    <a:pt x="424" y="166"/>
                  </a:lnTo>
                  <a:lnTo>
                    <a:pt x="425" y="165"/>
                  </a:lnTo>
                  <a:lnTo>
                    <a:pt x="428" y="162"/>
                  </a:lnTo>
                  <a:lnTo>
                    <a:pt x="430" y="159"/>
                  </a:lnTo>
                  <a:lnTo>
                    <a:pt x="433" y="156"/>
                  </a:lnTo>
                  <a:lnTo>
                    <a:pt x="434" y="154"/>
                  </a:lnTo>
                  <a:lnTo>
                    <a:pt x="435" y="153"/>
                  </a:lnTo>
                  <a:lnTo>
                    <a:pt x="437" y="153"/>
                  </a:lnTo>
                  <a:lnTo>
                    <a:pt x="441" y="153"/>
                  </a:lnTo>
                  <a:lnTo>
                    <a:pt x="441" y="161"/>
                  </a:lnTo>
                  <a:lnTo>
                    <a:pt x="438" y="162"/>
                  </a:lnTo>
                  <a:lnTo>
                    <a:pt x="438" y="174"/>
                  </a:lnTo>
                  <a:lnTo>
                    <a:pt x="438" y="174"/>
                  </a:lnTo>
                  <a:lnTo>
                    <a:pt x="437" y="174"/>
                  </a:lnTo>
                  <a:lnTo>
                    <a:pt x="435" y="177"/>
                  </a:lnTo>
                  <a:lnTo>
                    <a:pt x="434" y="180"/>
                  </a:lnTo>
                  <a:lnTo>
                    <a:pt x="431" y="183"/>
                  </a:lnTo>
                  <a:lnTo>
                    <a:pt x="430" y="187"/>
                  </a:lnTo>
                  <a:lnTo>
                    <a:pt x="428" y="191"/>
                  </a:lnTo>
                  <a:lnTo>
                    <a:pt x="428" y="195"/>
                  </a:lnTo>
                  <a:lnTo>
                    <a:pt x="430" y="198"/>
                  </a:lnTo>
                  <a:lnTo>
                    <a:pt x="430" y="198"/>
                  </a:lnTo>
                  <a:lnTo>
                    <a:pt x="428" y="198"/>
                  </a:lnTo>
                  <a:lnTo>
                    <a:pt x="428" y="199"/>
                  </a:lnTo>
                  <a:lnTo>
                    <a:pt x="427" y="201"/>
                  </a:lnTo>
                  <a:lnTo>
                    <a:pt x="425" y="202"/>
                  </a:lnTo>
                  <a:lnTo>
                    <a:pt x="424" y="205"/>
                  </a:lnTo>
                  <a:lnTo>
                    <a:pt x="422" y="208"/>
                  </a:lnTo>
                  <a:lnTo>
                    <a:pt x="421" y="213"/>
                  </a:lnTo>
                  <a:lnTo>
                    <a:pt x="418" y="217"/>
                  </a:lnTo>
                  <a:lnTo>
                    <a:pt x="416" y="221"/>
                  </a:lnTo>
                  <a:lnTo>
                    <a:pt x="415" y="227"/>
                  </a:lnTo>
                  <a:lnTo>
                    <a:pt x="413" y="232"/>
                  </a:lnTo>
                  <a:lnTo>
                    <a:pt x="412" y="240"/>
                  </a:lnTo>
                  <a:lnTo>
                    <a:pt x="410" y="247"/>
                  </a:lnTo>
                  <a:lnTo>
                    <a:pt x="410" y="255"/>
                  </a:lnTo>
                  <a:lnTo>
                    <a:pt x="410" y="262"/>
                  </a:lnTo>
                  <a:lnTo>
                    <a:pt x="410" y="273"/>
                  </a:lnTo>
                  <a:lnTo>
                    <a:pt x="410" y="273"/>
                  </a:lnTo>
                  <a:lnTo>
                    <a:pt x="410" y="273"/>
                  </a:lnTo>
                  <a:lnTo>
                    <a:pt x="410" y="274"/>
                  </a:lnTo>
                  <a:lnTo>
                    <a:pt x="409" y="274"/>
                  </a:lnTo>
                  <a:lnTo>
                    <a:pt x="408" y="277"/>
                  </a:lnTo>
                  <a:lnTo>
                    <a:pt x="407" y="279"/>
                  </a:lnTo>
                  <a:lnTo>
                    <a:pt x="405" y="281"/>
                  </a:lnTo>
                  <a:lnTo>
                    <a:pt x="404" y="284"/>
                  </a:lnTo>
                  <a:lnTo>
                    <a:pt x="402" y="287"/>
                  </a:lnTo>
                  <a:lnTo>
                    <a:pt x="401" y="291"/>
                  </a:lnTo>
                  <a:lnTo>
                    <a:pt x="399" y="294"/>
                  </a:lnTo>
                  <a:lnTo>
                    <a:pt x="399" y="300"/>
                  </a:lnTo>
                  <a:lnTo>
                    <a:pt x="398" y="304"/>
                  </a:lnTo>
                  <a:lnTo>
                    <a:pt x="398" y="310"/>
                  </a:lnTo>
                  <a:lnTo>
                    <a:pt x="399" y="315"/>
                  </a:lnTo>
                  <a:lnTo>
                    <a:pt x="401" y="321"/>
                  </a:lnTo>
                  <a:lnTo>
                    <a:pt x="402" y="328"/>
                  </a:lnTo>
                  <a:lnTo>
                    <a:pt x="402" y="328"/>
                  </a:lnTo>
                  <a:lnTo>
                    <a:pt x="402" y="330"/>
                  </a:lnTo>
                  <a:lnTo>
                    <a:pt x="401" y="331"/>
                  </a:lnTo>
                  <a:lnTo>
                    <a:pt x="401" y="334"/>
                  </a:lnTo>
                  <a:lnTo>
                    <a:pt x="399" y="337"/>
                  </a:lnTo>
                  <a:lnTo>
                    <a:pt x="398" y="342"/>
                  </a:lnTo>
                  <a:lnTo>
                    <a:pt x="397" y="345"/>
                  </a:lnTo>
                  <a:lnTo>
                    <a:pt x="395" y="350"/>
                  </a:lnTo>
                  <a:lnTo>
                    <a:pt x="394" y="355"/>
                  </a:lnTo>
                  <a:lnTo>
                    <a:pt x="392" y="361"/>
                  </a:lnTo>
                  <a:lnTo>
                    <a:pt x="392" y="369"/>
                  </a:lnTo>
                  <a:lnTo>
                    <a:pt x="391" y="375"/>
                  </a:lnTo>
                  <a:lnTo>
                    <a:pt x="391" y="381"/>
                  </a:lnTo>
                  <a:lnTo>
                    <a:pt x="392" y="388"/>
                  </a:lnTo>
                  <a:lnTo>
                    <a:pt x="394" y="396"/>
                  </a:lnTo>
                  <a:lnTo>
                    <a:pt x="395" y="403"/>
                  </a:lnTo>
                  <a:lnTo>
                    <a:pt x="398" y="408"/>
                  </a:lnTo>
                  <a:lnTo>
                    <a:pt x="398" y="408"/>
                  </a:lnTo>
                  <a:lnTo>
                    <a:pt x="399" y="410"/>
                  </a:lnTo>
                  <a:lnTo>
                    <a:pt x="399" y="411"/>
                  </a:lnTo>
                  <a:lnTo>
                    <a:pt x="401" y="414"/>
                  </a:lnTo>
                  <a:lnTo>
                    <a:pt x="402" y="416"/>
                  </a:lnTo>
                  <a:lnTo>
                    <a:pt x="404" y="418"/>
                  </a:lnTo>
                  <a:lnTo>
                    <a:pt x="404" y="420"/>
                  </a:lnTo>
                  <a:lnTo>
                    <a:pt x="405" y="421"/>
                  </a:lnTo>
                  <a:lnTo>
                    <a:pt x="405" y="421"/>
                  </a:lnTo>
                  <a:lnTo>
                    <a:pt x="405" y="427"/>
                  </a:lnTo>
                  <a:lnTo>
                    <a:pt x="404" y="443"/>
                  </a:lnTo>
                  <a:lnTo>
                    <a:pt x="405" y="453"/>
                  </a:lnTo>
                  <a:lnTo>
                    <a:pt x="186" y="469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5" name="Freeform 49"/>
            <p:cNvSpPr>
              <a:spLocks/>
            </p:cNvSpPr>
            <p:nvPr/>
          </p:nvSpPr>
          <p:spPr bwMode="auto">
            <a:xfrm>
              <a:off x="2475361" y="4518760"/>
              <a:ext cx="224850" cy="396173"/>
            </a:xfrm>
            <a:custGeom>
              <a:avLst/>
              <a:gdLst>
                <a:gd name="T0" fmla="*/ 241 w 335"/>
                <a:gd name="T1" fmla="*/ 568 h 591"/>
                <a:gd name="T2" fmla="*/ 273 w 335"/>
                <a:gd name="T3" fmla="*/ 578 h 591"/>
                <a:gd name="T4" fmla="*/ 267 w 335"/>
                <a:gd name="T5" fmla="*/ 558 h 591"/>
                <a:gd name="T6" fmla="*/ 285 w 335"/>
                <a:gd name="T7" fmla="*/ 538 h 591"/>
                <a:gd name="T8" fmla="*/ 300 w 335"/>
                <a:gd name="T9" fmla="*/ 528 h 591"/>
                <a:gd name="T10" fmla="*/ 295 w 335"/>
                <a:gd name="T11" fmla="*/ 511 h 591"/>
                <a:gd name="T12" fmla="*/ 301 w 335"/>
                <a:gd name="T13" fmla="*/ 500 h 591"/>
                <a:gd name="T14" fmla="*/ 300 w 335"/>
                <a:gd name="T15" fmla="*/ 481 h 591"/>
                <a:gd name="T16" fmla="*/ 303 w 335"/>
                <a:gd name="T17" fmla="*/ 466 h 591"/>
                <a:gd name="T18" fmla="*/ 306 w 335"/>
                <a:gd name="T19" fmla="*/ 449 h 591"/>
                <a:gd name="T20" fmla="*/ 327 w 335"/>
                <a:gd name="T21" fmla="*/ 413 h 591"/>
                <a:gd name="T22" fmla="*/ 333 w 335"/>
                <a:gd name="T23" fmla="*/ 401 h 591"/>
                <a:gd name="T24" fmla="*/ 325 w 335"/>
                <a:gd name="T25" fmla="*/ 362 h 591"/>
                <a:gd name="T26" fmla="*/ 325 w 335"/>
                <a:gd name="T27" fmla="*/ 329 h 591"/>
                <a:gd name="T28" fmla="*/ 322 w 335"/>
                <a:gd name="T29" fmla="*/ 299 h 591"/>
                <a:gd name="T30" fmla="*/ 318 w 335"/>
                <a:gd name="T31" fmla="*/ 241 h 591"/>
                <a:gd name="T32" fmla="*/ 312 w 335"/>
                <a:gd name="T33" fmla="*/ 170 h 591"/>
                <a:gd name="T34" fmla="*/ 306 w 335"/>
                <a:gd name="T35" fmla="*/ 112 h 591"/>
                <a:gd name="T36" fmla="*/ 303 w 335"/>
                <a:gd name="T37" fmla="*/ 82 h 591"/>
                <a:gd name="T38" fmla="*/ 292 w 335"/>
                <a:gd name="T39" fmla="*/ 59 h 591"/>
                <a:gd name="T40" fmla="*/ 289 w 335"/>
                <a:gd name="T41" fmla="*/ 46 h 591"/>
                <a:gd name="T42" fmla="*/ 274 w 335"/>
                <a:gd name="T43" fmla="*/ 22 h 591"/>
                <a:gd name="T44" fmla="*/ 56 w 335"/>
                <a:gd name="T45" fmla="*/ 17 h 591"/>
                <a:gd name="T46" fmla="*/ 61 w 335"/>
                <a:gd name="T47" fmla="*/ 25 h 591"/>
                <a:gd name="T48" fmla="*/ 76 w 335"/>
                <a:gd name="T49" fmla="*/ 38 h 591"/>
                <a:gd name="T50" fmla="*/ 85 w 335"/>
                <a:gd name="T51" fmla="*/ 49 h 591"/>
                <a:gd name="T52" fmla="*/ 96 w 335"/>
                <a:gd name="T53" fmla="*/ 71 h 591"/>
                <a:gd name="T54" fmla="*/ 83 w 335"/>
                <a:gd name="T55" fmla="*/ 93 h 591"/>
                <a:gd name="T56" fmla="*/ 82 w 335"/>
                <a:gd name="T57" fmla="*/ 115 h 591"/>
                <a:gd name="T58" fmla="*/ 65 w 335"/>
                <a:gd name="T59" fmla="*/ 121 h 591"/>
                <a:gd name="T60" fmla="*/ 59 w 335"/>
                <a:gd name="T61" fmla="*/ 127 h 591"/>
                <a:gd name="T62" fmla="*/ 29 w 335"/>
                <a:gd name="T63" fmla="*/ 139 h 591"/>
                <a:gd name="T64" fmla="*/ 40 w 335"/>
                <a:gd name="T65" fmla="*/ 173 h 591"/>
                <a:gd name="T66" fmla="*/ 34 w 335"/>
                <a:gd name="T67" fmla="*/ 191 h 591"/>
                <a:gd name="T68" fmla="*/ 30 w 335"/>
                <a:gd name="T69" fmla="*/ 203 h 591"/>
                <a:gd name="T70" fmla="*/ 28 w 335"/>
                <a:gd name="T71" fmla="*/ 214 h 591"/>
                <a:gd name="T72" fmla="*/ 7 w 335"/>
                <a:gd name="T73" fmla="*/ 223 h 591"/>
                <a:gd name="T74" fmla="*/ 11 w 335"/>
                <a:gd name="T75" fmla="*/ 235 h 591"/>
                <a:gd name="T76" fmla="*/ 5 w 335"/>
                <a:gd name="T77" fmla="*/ 247 h 591"/>
                <a:gd name="T78" fmla="*/ 1 w 335"/>
                <a:gd name="T79" fmla="*/ 257 h 591"/>
                <a:gd name="T80" fmla="*/ 5 w 335"/>
                <a:gd name="T81" fmla="*/ 298 h 591"/>
                <a:gd name="T82" fmla="*/ 50 w 335"/>
                <a:gd name="T83" fmla="*/ 347 h 591"/>
                <a:gd name="T84" fmla="*/ 68 w 335"/>
                <a:gd name="T85" fmla="*/ 364 h 591"/>
                <a:gd name="T86" fmla="*/ 79 w 335"/>
                <a:gd name="T87" fmla="*/ 401 h 591"/>
                <a:gd name="T88" fmla="*/ 98 w 335"/>
                <a:gd name="T89" fmla="*/ 391 h 591"/>
                <a:gd name="T90" fmla="*/ 119 w 335"/>
                <a:gd name="T91" fmla="*/ 407 h 591"/>
                <a:gd name="T92" fmla="*/ 110 w 335"/>
                <a:gd name="T93" fmla="*/ 442 h 591"/>
                <a:gd name="T94" fmla="*/ 104 w 335"/>
                <a:gd name="T95" fmla="*/ 463 h 591"/>
                <a:gd name="T96" fmla="*/ 134 w 335"/>
                <a:gd name="T97" fmla="*/ 491 h 591"/>
                <a:gd name="T98" fmla="*/ 140 w 335"/>
                <a:gd name="T99" fmla="*/ 496 h 591"/>
                <a:gd name="T100" fmla="*/ 187 w 335"/>
                <a:gd name="T101" fmla="*/ 548 h 591"/>
                <a:gd name="T102" fmla="*/ 200 w 335"/>
                <a:gd name="T103" fmla="*/ 590 h 591"/>
                <a:gd name="T104" fmla="*/ 205 w 335"/>
                <a:gd name="T105" fmla="*/ 581 h 591"/>
                <a:gd name="T106" fmla="*/ 213 w 335"/>
                <a:gd name="T107" fmla="*/ 578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5" h="591">
                  <a:moveTo>
                    <a:pt x="217" y="574"/>
                  </a:moveTo>
                  <a:lnTo>
                    <a:pt x="223" y="568"/>
                  </a:lnTo>
                  <a:lnTo>
                    <a:pt x="228" y="565"/>
                  </a:lnTo>
                  <a:lnTo>
                    <a:pt x="232" y="565"/>
                  </a:lnTo>
                  <a:lnTo>
                    <a:pt x="236" y="565"/>
                  </a:lnTo>
                  <a:lnTo>
                    <a:pt x="241" y="568"/>
                  </a:lnTo>
                  <a:lnTo>
                    <a:pt x="243" y="569"/>
                  </a:lnTo>
                  <a:lnTo>
                    <a:pt x="246" y="572"/>
                  </a:lnTo>
                  <a:lnTo>
                    <a:pt x="249" y="574"/>
                  </a:lnTo>
                  <a:lnTo>
                    <a:pt x="261" y="578"/>
                  </a:lnTo>
                  <a:lnTo>
                    <a:pt x="269" y="580"/>
                  </a:lnTo>
                  <a:lnTo>
                    <a:pt x="273" y="578"/>
                  </a:lnTo>
                  <a:lnTo>
                    <a:pt x="274" y="575"/>
                  </a:lnTo>
                  <a:lnTo>
                    <a:pt x="273" y="572"/>
                  </a:lnTo>
                  <a:lnTo>
                    <a:pt x="273" y="569"/>
                  </a:lnTo>
                  <a:lnTo>
                    <a:pt x="271" y="566"/>
                  </a:lnTo>
                  <a:lnTo>
                    <a:pt x="271" y="565"/>
                  </a:lnTo>
                  <a:lnTo>
                    <a:pt x="267" y="558"/>
                  </a:lnTo>
                  <a:lnTo>
                    <a:pt x="267" y="551"/>
                  </a:lnTo>
                  <a:lnTo>
                    <a:pt x="268" y="547"/>
                  </a:lnTo>
                  <a:lnTo>
                    <a:pt x="272" y="542"/>
                  </a:lnTo>
                  <a:lnTo>
                    <a:pt x="276" y="541"/>
                  </a:lnTo>
                  <a:lnTo>
                    <a:pt x="280" y="538"/>
                  </a:lnTo>
                  <a:lnTo>
                    <a:pt x="285" y="538"/>
                  </a:lnTo>
                  <a:lnTo>
                    <a:pt x="286" y="538"/>
                  </a:lnTo>
                  <a:lnTo>
                    <a:pt x="294" y="536"/>
                  </a:lnTo>
                  <a:lnTo>
                    <a:pt x="300" y="535"/>
                  </a:lnTo>
                  <a:lnTo>
                    <a:pt x="301" y="533"/>
                  </a:lnTo>
                  <a:lnTo>
                    <a:pt x="301" y="531"/>
                  </a:lnTo>
                  <a:lnTo>
                    <a:pt x="300" y="528"/>
                  </a:lnTo>
                  <a:lnTo>
                    <a:pt x="300" y="527"/>
                  </a:lnTo>
                  <a:lnTo>
                    <a:pt x="298" y="526"/>
                  </a:lnTo>
                  <a:lnTo>
                    <a:pt x="297" y="524"/>
                  </a:lnTo>
                  <a:lnTo>
                    <a:pt x="294" y="520"/>
                  </a:lnTo>
                  <a:lnTo>
                    <a:pt x="295" y="512"/>
                  </a:lnTo>
                  <a:lnTo>
                    <a:pt x="295" y="511"/>
                  </a:lnTo>
                  <a:lnTo>
                    <a:pt x="297" y="509"/>
                  </a:lnTo>
                  <a:lnTo>
                    <a:pt x="298" y="508"/>
                  </a:lnTo>
                  <a:lnTo>
                    <a:pt x="300" y="505"/>
                  </a:lnTo>
                  <a:lnTo>
                    <a:pt x="300" y="503"/>
                  </a:lnTo>
                  <a:lnTo>
                    <a:pt x="301" y="502"/>
                  </a:lnTo>
                  <a:lnTo>
                    <a:pt x="301" y="500"/>
                  </a:lnTo>
                  <a:lnTo>
                    <a:pt x="301" y="499"/>
                  </a:lnTo>
                  <a:lnTo>
                    <a:pt x="298" y="496"/>
                  </a:lnTo>
                  <a:lnTo>
                    <a:pt x="297" y="491"/>
                  </a:lnTo>
                  <a:lnTo>
                    <a:pt x="297" y="487"/>
                  </a:lnTo>
                  <a:lnTo>
                    <a:pt x="297" y="484"/>
                  </a:lnTo>
                  <a:lnTo>
                    <a:pt x="300" y="481"/>
                  </a:lnTo>
                  <a:lnTo>
                    <a:pt x="301" y="479"/>
                  </a:lnTo>
                  <a:lnTo>
                    <a:pt x="301" y="478"/>
                  </a:lnTo>
                  <a:lnTo>
                    <a:pt x="303" y="478"/>
                  </a:lnTo>
                  <a:lnTo>
                    <a:pt x="303" y="469"/>
                  </a:lnTo>
                  <a:lnTo>
                    <a:pt x="303" y="468"/>
                  </a:lnTo>
                  <a:lnTo>
                    <a:pt x="303" y="466"/>
                  </a:lnTo>
                  <a:lnTo>
                    <a:pt x="303" y="464"/>
                  </a:lnTo>
                  <a:lnTo>
                    <a:pt x="304" y="460"/>
                  </a:lnTo>
                  <a:lnTo>
                    <a:pt x="304" y="457"/>
                  </a:lnTo>
                  <a:lnTo>
                    <a:pt x="306" y="454"/>
                  </a:lnTo>
                  <a:lnTo>
                    <a:pt x="306" y="451"/>
                  </a:lnTo>
                  <a:lnTo>
                    <a:pt x="306" y="449"/>
                  </a:lnTo>
                  <a:lnTo>
                    <a:pt x="312" y="445"/>
                  </a:lnTo>
                  <a:lnTo>
                    <a:pt x="316" y="437"/>
                  </a:lnTo>
                  <a:lnTo>
                    <a:pt x="319" y="431"/>
                  </a:lnTo>
                  <a:lnTo>
                    <a:pt x="322" y="425"/>
                  </a:lnTo>
                  <a:lnTo>
                    <a:pt x="325" y="418"/>
                  </a:lnTo>
                  <a:lnTo>
                    <a:pt x="327" y="413"/>
                  </a:lnTo>
                  <a:lnTo>
                    <a:pt x="328" y="409"/>
                  </a:lnTo>
                  <a:lnTo>
                    <a:pt x="328" y="407"/>
                  </a:lnTo>
                  <a:lnTo>
                    <a:pt x="328" y="407"/>
                  </a:lnTo>
                  <a:lnTo>
                    <a:pt x="330" y="405"/>
                  </a:lnTo>
                  <a:lnTo>
                    <a:pt x="331" y="403"/>
                  </a:lnTo>
                  <a:lnTo>
                    <a:pt x="333" y="401"/>
                  </a:lnTo>
                  <a:lnTo>
                    <a:pt x="334" y="392"/>
                  </a:lnTo>
                  <a:lnTo>
                    <a:pt x="334" y="385"/>
                  </a:lnTo>
                  <a:lnTo>
                    <a:pt x="333" y="377"/>
                  </a:lnTo>
                  <a:lnTo>
                    <a:pt x="330" y="372"/>
                  </a:lnTo>
                  <a:lnTo>
                    <a:pt x="328" y="367"/>
                  </a:lnTo>
                  <a:lnTo>
                    <a:pt x="325" y="362"/>
                  </a:lnTo>
                  <a:lnTo>
                    <a:pt x="324" y="359"/>
                  </a:lnTo>
                  <a:lnTo>
                    <a:pt x="322" y="358"/>
                  </a:lnTo>
                  <a:lnTo>
                    <a:pt x="322" y="355"/>
                  </a:lnTo>
                  <a:lnTo>
                    <a:pt x="322" y="335"/>
                  </a:lnTo>
                  <a:lnTo>
                    <a:pt x="325" y="331"/>
                  </a:lnTo>
                  <a:lnTo>
                    <a:pt x="325" y="329"/>
                  </a:lnTo>
                  <a:lnTo>
                    <a:pt x="325" y="328"/>
                  </a:lnTo>
                  <a:lnTo>
                    <a:pt x="325" y="323"/>
                  </a:lnTo>
                  <a:lnTo>
                    <a:pt x="324" y="319"/>
                  </a:lnTo>
                  <a:lnTo>
                    <a:pt x="324" y="313"/>
                  </a:lnTo>
                  <a:lnTo>
                    <a:pt x="324" y="307"/>
                  </a:lnTo>
                  <a:lnTo>
                    <a:pt x="322" y="299"/>
                  </a:lnTo>
                  <a:lnTo>
                    <a:pt x="322" y="290"/>
                  </a:lnTo>
                  <a:lnTo>
                    <a:pt x="321" y="281"/>
                  </a:lnTo>
                  <a:lnTo>
                    <a:pt x="321" y="272"/>
                  </a:lnTo>
                  <a:lnTo>
                    <a:pt x="319" y="262"/>
                  </a:lnTo>
                  <a:lnTo>
                    <a:pt x="318" y="250"/>
                  </a:lnTo>
                  <a:lnTo>
                    <a:pt x="318" y="241"/>
                  </a:lnTo>
                  <a:lnTo>
                    <a:pt x="316" y="229"/>
                  </a:lnTo>
                  <a:lnTo>
                    <a:pt x="315" y="217"/>
                  </a:lnTo>
                  <a:lnTo>
                    <a:pt x="315" y="206"/>
                  </a:lnTo>
                  <a:lnTo>
                    <a:pt x="313" y="193"/>
                  </a:lnTo>
                  <a:lnTo>
                    <a:pt x="312" y="182"/>
                  </a:lnTo>
                  <a:lnTo>
                    <a:pt x="312" y="170"/>
                  </a:lnTo>
                  <a:lnTo>
                    <a:pt x="310" y="160"/>
                  </a:lnTo>
                  <a:lnTo>
                    <a:pt x="309" y="149"/>
                  </a:lnTo>
                  <a:lnTo>
                    <a:pt x="309" y="139"/>
                  </a:lnTo>
                  <a:lnTo>
                    <a:pt x="307" y="128"/>
                  </a:lnTo>
                  <a:lnTo>
                    <a:pt x="307" y="121"/>
                  </a:lnTo>
                  <a:lnTo>
                    <a:pt x="306" y="112"/>
                  </a:lnTo>
                  <a:lnTo>
                    <a:pt x="306" y="103"/>
                  </a:lnTo>
                  <a:lnTo>
                    <a:pt x="304" y="97"/>
                  </a:lnTo>
                  <a:lnTo>
                    <a:pt x="304" y="92"/>
                  </a:lnTo>
                  <a:lnTo>
                    <a:pt x="304" y="88"/>
                  </a:lnTo>
                  <a:lnTo>
                    <a:pt x="303" y="83"/>
                  </a:lnTo>
                  <a:lnTo>
                    <a:pt x="303" y="82"/>
                  </a:lnTo>
                  <a:lnTo>
                    <a:pt x="303" y="80"/>
                  </a:lnTo>
                  <a:lnTo>
                    <a:pt x="300" y="76"/>
                  </a:lnTo>
                  <a:lnTo>
                    <a:pt x="297" y="71"/>
                  </a:lnTo>
                  <a:lnTo>
                    <a:pt x="295" y="67"/>
                  </a:lnTo>
                  <a:lnTo>
                    <a:pt x="294" y="62"/>
                  </a:lnTo>
                  <a:lnTo>
                    <a:pt x="292" y="59"/>
                  </a:lnTo>
                  <a:lnTo>
                    <a:pt x="292" y="56"/>
                  </a:lnTo>
                  <a:lnTo>
                    <a:pt x="292" y="55"/>
                  </a:lnTo>
                  <a:lnTo>
                    <a:pt x="292" y="53"/>
                  </a:lnTo>
                  <a:lnTo>
                    <a:pt x="291" y="52"/>
                  </a:lnTo>
                  <a:lnTo>
                    <a:pt x="291" y="49"/>
                  </a:lnTo>
                  <a:lnTo>
                    <a:pt x="289" y="46"/>
                  </a:lnTo>
                  <a:lnTo>
                    <a:pt x="289" y="44"/>
                  </a:lnTo>
                  <a:lnTo>
                    <a:pt x="282" y="40"/>
                  </a:lnTo>
                  <a:lnTo>
                    <a:pt x="277" y="35"/>
                  </a:lnTo>
                  <a:lnTo>
                    <a:pt x="274" y="31"/>
                  </a:lnTo>
                  <a:lnTo>
                    <a:pt x="274" y="26"/>
                  </a:lnTo>
                  <a:lnTo>
                    <a:pt x="274" y="22"/>
                  </a:lnTo>
                  <a:lnTo>
                    <a:pt x="274" y="19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4" y="0"/>
                  </a:lnTo>
                  <a:lnTo>
                    <a:pt x="274" y="1"/>
                  </a:lnTo>
                  <a:lnTo>
                    <a:pt x="56" y="17"/>
                  </a:lnTo>
                  <a:lnTo>
                    <a:pt x="56" y="19"/>
                  </a:lnTo>
                  <a:lnTo>
                    <a:pt x="56" y="20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60" y="23"/>
                  </a:lnTo>
                  <a:lnTo>
                    <a:pt x="61" y="25"/>
                  </a:lnTo>
                  <a:lnTo>
                    <a:pt x="65" y="26"/>
                  </a:lnTo>
                  <a:lnTo>
                    <a:pt x="68" y="29"/>
                  </a:lnTo>
                  <a:lnTo>
                    <a:pt x="73" y="31"/>
                  </a:lnTo>
                  <a:lnTo>
                    <a:pt x="76" y="34"/>
                  </a:lnTo>
                  <a:lnTo>
                    <a:pt x="76" y="37"/>
                  </a:lnTo>
                  <a:lnTo>
                    <a:pt x="76" y="38"/>
                  </a:lnTo>
                  <a:lnTo>
                    <a:pt x="76" y="40"/>
                  </a:lnTo>
                  <a:lnTo>
                    <a:pt x="74" y="41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83" y="49"/>
                  </a:lnTo>
                  <a:lnTo>
                    <a:pt x="85" y="49"/>
                  </a:lnTo>
                  <a:lnTo>
                    <a:pt x="86" y="50"/>
                  </a:lnTo>
                  <a:lnTo>
                    <a:pt x="89" y="52"/>
                  </a:lnTo>
                  <a:lnTo>
                    <a:pt x="93" y="55"/>
                  </a:lnTo>
                  <a:lnTo>
                    <a:pt x="94" y="59"/>
                  </a:lnTo>
                  <a:lnTo>
                    <a:pt x="96" y="64"/>
                  </a:lnTo>
                  <a:lnTo>
                    <a:pt x="96" y="71"/>
                  </a:lnTo>
                  <a:lnTo>
                    <a:pt x="94" y="82"/>
                  </a:lnTo>
                  <a:lnTo>
                    <a:pt x="91" y="89"/>
                  </a:lnTo>
                  <a:lnTo>
                    <a:pt x="89" y="92"/>
                  </a:lnTo>
                  <a:lnTo>
                    <a:pt x="86" y="93"/>
                  </a:lnTo>
                  <a:lnTo>
                    <a:pt x="85" y="92"/>
                  </a:lnTo>
                  <a:lnTo>
                    <a:pt x="83" y="93"/>
                  </a:lnTo>
                  <a:lnTo>
                    <a:pt x="83" y="94"/>
                  </a:lnTo>
                  <a:lnTo>
                    <a:pt x="82" y="101"/>
                  </a:lnTo>
                  <a:lnTo>
                    <a:pt x="82" y="113"/>
                  </a:lnTo>
                  <a:lnTo>
                    <a:pt x="82" y="113"/>
                  </a:lnTo>
                  <a:lnTo>
                    <a:pt x="82" y="113"/>
                  </a:lnTo>
                  <a:lnTo>
                    <a:pt x="82" y="115"/>
                  </a:lnTo>
                  <a:lnTo>
                    <a:pt x="80" y="116"/>
                  </a:lnTo>
                  <a:lnTo>
                    <a:pt x="79" y="118"/>
                  </a:lnTo>
                  <a:lnTo>
                    <a:pt x="76" y="119"/>
                  </a:lnTo>
                  <a:lnTo>
                    <a:pt x="73" y="121"/>
                  </a:lnTo>
                  <a:lnTo>
                    <a:pt x="67" y="121"/>
                  </a:lnTo>
                  <a:lnTo>
                    <a:pt x="65" y="121"/>
                  </a:lnTo>
                  <a:lnTo>
                    <a:pt x="65" y="122"/>
                  </a:lnTo>
                  <a:lnTo>
                    <a:pt x="65" y="122"/>
                  </a:lnTo>
                  <a:lnTo>
                    <a:pt x="65" y="124"/>
                  </a:lnTo>
                  <a:lnTo>
                    <a:pt x="64" y="124"/>
                  </a:lnTo>
                  <a:lnTo>
                    <a:pt x="63" y="125"/>
                  </a:lnTo>
                  <a:lnTo>
                    <a:pt x="59" y="127"/>
                  </a:lnTo>
                  <a:lnTo>
                    <a:pt x="53" y="128"/>
                  </a:lnTo>
                  <a:lnTo>
                    <a:pt x="47" y="128"/>
                  </a:lnTo>
                  <a:lnTo>
                    <a:pt x="41" y="130"/>
                  </a:lnTo>
                  <a:lnTo>
                    <a:pt x="35" y="133"/>
                  </a:lnTo>
                  <a:lnTo>
                    <a:pt x="31" y="136"/>
                  </a:lnTo>
                  <a:lnTo>
                    <a:pt x="29" y="139"/>
                  </a:lnTo>
                  <a:lnTo>
                    <a:pt x="29" y="145"/>
                  </a:lnTo>
                  <a:lnTo>
                    <a:pt x="29" y="151"/>
                  </a:lnTo>
                  <a:lnTo>
                    <a:pt x="31" y="157"/>
                  </a:lnTo>
                  <a:lnTo>
                    <a:pt x="34" y="164"/>
                  </a:lnTo>
                  <a:lnTo>
                    <a:pt x="38" y="169"/>
                  </a:lnTo>
                  <a:lnTo>
                    <a:pt x="40" y="173"/>
                  </a:lnTo>
                  <a:lnTo>
                    <a:pt x="41" y="176"/>
                  </a:lnTo>
                  <a:lnTo>
                    <a:pt x="43" y="181"/>
                  </a:lnTo>
                  <a:lnTo>
                    <a:pt x="41" y="184"/>
                  </a:lnTo>
                  <a:lnTo>
                    <a:pt x="38" y="186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4"/>
                  </a:lnTo>
                  <a:lnTo>
                    <a:pt x="32" y="196"/>
                  </a:lnTo>
                  <a:lnTo>
                    <a:pt x="31" y="199"/>
                  </a:lnTo>
                  <a:lnTo>
                    <a:pt x="31" y="200"/>
                  </a:lnTo>
                  <a:lnTo>
                    <a:pt x="30" y="202"/>
                  </a:lnTo>
                  <a:lnTo>
                    <a:pt x="30" y="203"/>
                  </a:lnTo>
                  <a:lnTo>
                    <a:pt x="30" y="205"/>
                  </a:lnTo>
                  <a:lnTo>
                    <a:pt x="30" y="205"/>
                  </a:lnTo>
                  <a:lnTo>
                    <a:pt x="29" y="206"/>
                  </a:lnTo>
                  <a:lnTo>
                    <a:pt x="29" y="209"/>
                  </a:lnTo>
                  <a:lnTo>
                    <a:pt x="29" y="211"/>
                  </a:lnTo>
                  <a:lnTo>
                    <a:pt x="28" y="214"/>
                  </a:lnTo>
                  <a:lnTo>
                    <a:pt x="25" y="215"/>
                  </a:lnTo>
                  <a:lnTo>
                    <a:pt x="20" y="217"/>
                  </a:lnTo>
                  <a:lnTo>
                    <a:pt x="16" y="217"/>
                  </a:lnTo>
                  <a:lnTo>
                    <a:pt x="11" y="218"/>
                  </a:lnTo>
                  <a:lnTo>
                    <a:pt x="8" y="220"/>
                  </a:lnTo>
                  <a:lnTo>
                    <a:pt x="7" y="223"/>
                  </a:lnTo>
                  <a:lnTo>
                    <a:pt x="7" y="226"/>
                  </a:lnTo>
                  <a:lnTo>
                    <a:pt x="7" y="229"/>
                  </a:lnTo>
                  <a:lnTo>
                    <a:pt x="8" y="230"/>
                  </a:lnTo>
                  <a:lnTo>
                    <a:pt x="10" y="233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6"/>
                  </a:lnTo>
                  <a:lnTo>
                    <a:pt x="11" y="239"/>
                  </a:lnTo>
                  <a:lnTo>
                    <a:pt x="10" y="241"/>
                  </a:lnTo>
                  <a:lnTo>
                    <a:pt x="8" y="244"/>
                  </a:lnTo>
                  <a:lnTo>
                    <a:pt x="7" y="245"/>
                  </a:lnTo>
                  <a:lnTo>
                    <a:pt x="5" y="247"/>
                  </a:lnTo>
                  <a:lnTo>
                    <a:pt x="4" y="248"/>
                  </a:lnTo>
                  <a:lnTo>
                    <a:pt x="4" y="248"/>
                  </a:lnTo>
                  <a:lnTo>
                    <a:pt x="2" y="249"/>
                  </a:lnTo>
                  <a:lnTo>
                    <a:pt x="2" y="250"/>
                  </a:lnTo>
                  <a:lnTo>
                    <a:pt x="2" y="253"/>
                  </a:lnTo>
                  <a:lnTo>
                    <a:pt x="1" y="257"/>
                  </a:lnTo>
                  <a:lnTo>
                    <a:pt x="1" y="262"/>
                  </a:lnTo>
                  <a:lnTo>
                    <a:pt x="0" y="268"/>
                  </a:lnTo>
                  <a:lnTo>
                    <a:pt x="1" y="275"/>
                  </a:lnTo>
                  <a:lnTo>
                    <a:pt x="1" y="281"/>
                  </a:lnTo>
                  <a:lnTo>
                    <a:pt x="2" y="289"/>
                  </a:lnTo>
                  <a:lnTo>
                    <a:pt x="5" y="298"/>
                  </a:lnTo>
                  <a:lnTo>
                    <a:pt x="10" y="305"/>
                  </a:lnTo>
                  <a:lnTo>
                    <a:pt x="14" y="313"/>
                  </a:lnTo>
                  <a:lnTo>
                    <a:pt x="22" y="322"/>
                  </a:lnTo>
                  <a:lnTo>
                    <a:pt x="29" y="331"/>
                  </a:lnTo>
                  <a:lnTo>
                    <a:pt x="38" y="340"/>
                  </a:lnTo>
                  <a:lnTo>
                    <a:pt x="50" y="347"/>
                  </a:lnTo>
                  <a:lnTo>
                    <a:pt x="53" y="349"/>
                  </a:lnTo>
                  <a:lnTo>
                    <a:pt x="58" y="350"/>
                  </a:lnTo>
                  <a:lnTo>
                    <a:pt x="60" y="352"/>
                  </a:lnTo>
                  <a:lnTo>
                    <a:pt x="63" y="355"/>
                  </a:lnTo>
                  <a:lnTo>
                    <a:pt x="65" y="358"/>
                  </a:lnTo>
                  <a:lnTo>
                    <a:pt x="68" y="364"/>
                  </a:lnTo>
                  <a:lnTo>
                    <a:pt x="70" y="372"/>
                  </a:lnTo>
                  <a:lnTo>
                    <a:pt x="71" y="383"/>
                  </a:lnTo>
                  <a:lnTo>
                    <a:pt x="71" y="391"/>
                  </a:lnTo>
                  <a:lnTo>
                    <a:pt x="74" y="397"/>
                  </a:lnTo>
                  <a:lnTo>
                    <a:pt x="76" y="400"/>
                  </a:lnTo>
                  <a:lnTo>
                    <a:pt x="79" y="401"/>
                  </a:lnTo>
                  <a:lnTo>
                    <a:pt x="82" y="401"/>
                  </a:lnTo>
                  <a:lnTo>
                    <a:pt x="86" y="398"/>
                  </a:lnTo>
                  <a:lnTo>
                    <a:pt x="89" y="395"/>
                  </a:lnTo>
                  <a:lnTo>
                    <a:pt x="91" y="392"/>
                  </a:lnTo>
                  <a:lnTo>
                    <a:pt x="94" y="391"/>
                  </a:lnTo>
                  <a:lnTo>
                    <a:pt x="98" y="391"/>
                  </a:lnTo>
                  <a:lnTo>
                    <a:pt x="103" y="392"/>
                  </a:lnTo>
                  <a:lnTo>
                    <a:pt x="109" y="395"/>
                  </a:lnTo>
                  <a:lnTo>
                    <a:pt x="113" y="398"/>
                  </a:lnTo>
                  <a:lnTo>
                    <a:pt x="116" y="403"/>
                  </a:lnTo>
                  <a:lnTo>
                    <a:pt x="119" y="405"/>
                  </a:lnTo>
                  <a:lnTo>
                    <a:pt x="119" y="407"/>
                  </a:lnTo>
                  <a:lnTo>
                    <a:pt x="119" y="410"/>
                  </a:lnTo>
                  <a:lnTo>
                    <a:pt x="116" y="416"/>
                  </a:lnTo>
                  <a:lnTo>
                    <a:pt x="115" y="422"/>
                  </a:lnTo>
                  <a:lnTo>
                    <a:pt x="113" y="430"/>
                  </a:lnTo>
                  <a:lnTo>
                    <a:pt x="112" y="436"/>
                  </a:lnTo>
                  <a:lnTo>
                    <a:pt x="110" y="442"/>
                  </a:lnTo>
                  <a:lnTo>
                    <a:pt x="109" y="445"/>
                  </a:lnTo>
                  <a:lnTo>
                    <a:pt x="109" y="446"/>
                  </a:lnTo>
                  <a:lnTo>
                    <a:pt x="107" y="448"/>
                  </a:lnTo>
                  <a:lnTo>
                    <a:pt x="106" y="451"/>
                  </a:lnTo>
                  <a:lnTo>
                    <a:pt x="104" y="457"/>
                  </a:lnTo>
                  <a:lnTo>
                    <a:pt x="104" y="463"/>
                  </a:lnTo>
                  <a:lnTo>
                    <a:pt x="106" y="468"/>
                  </a:lnTo>
                  <a:lnTo>
                    <a:pt x="109" y="475"/>
                  </a:lnTo>
                  <a:lnTo>
                    <a:pt x="118" y="482"/>
                  </a:lnTo>
                  <a:lnTo>
                    <a:pt x="129" y="488"/>
                  </a:lnTo>
                  <a:lnTo>
                    <a:pt x="131" y="490"/>
                  </a:lnTo>
                  <a:lnTo>
                    <a:pt x="134" y="491"/>
                  </a:lnTo>
                  <a:lnTo>
                    <a:pt x="137" y="493"/>
                  </a:lnTo>
                  <a:lnTo>
                    <a:pt x="139" y="494"/>
                  </a:lnTo>
                  <a:lnTo>
                    <a:pt x="139" y="494"/>
                  </a:lnTo>
                  <a:lnTo>
                    <a:pt x="140" y="496"/>
                  </a:lnTo>
                  <a:lnTo>
                    <a:pt x="140" y="496"/>
                  </a:lnTo>
                  <a:lnTo>
                    <a:pt x="140" y="496"/>
                  </a:lnTo>
                  <a:lnTo>
                    <a:pt x="140" y="502"/>
                  </a:lnTo>
                  <a:lnTo>
                    <a:pt x="154" y="502"/>
                  </a:lnTo>
                  <a:lnTo>
                    <a:pt x="167" y="515"/>
                  </a:lnTo>
                  <a:lnTo>
                    <a:pt x="181" y="520"/>
                  </a:lnTo>
                  <a:lnTo>
                    <a:pt x="182" y="538"/>
                  </a:lnTo>
                  <a:lnTo>
                    <a:pt x="187" y="548"/>
                  </a:lnTo>
                  <a:lnTo>
                    <a:pt x="183" y="562"/>
                  </a:lnTo>
                  <a:lnTo>
                    <a:pt x="183" y="569"/>
                  </a:lnTo>
                  <a:lnTo>
                    <a:pt x="192" y="578"/>
                  </a:lnTo>
                  <a:lnTo>
                    <a:pt x="195" y="586"/>
                  </a:lnTo>
                  <a:lnTo>
                    <a:pt x="200" y="590"/>
                  </a:lnTo>
                  <a:lnTo>
                    <a:pt x="200" y="590"/>
                  </a:lnTo>
                  <a:lnTo>
                    <a:pt x="200" y="587"/>
                  </a:lnTo>
                  <a:lnTo>
                    <a:pt x="200" y="584"/>
                  </a:lnTo>
                  <a:lnTo>
                    <a:pt x="200" y="581"/>
                  </a:lnTo>
                  <a:lnTo>
                    <a:pt x="200" y="580"/>
                  </a:lnTo>
                  <a:lnTo>
                    <a:pt x="202" y="580"/>
                  </a:lnTo>
                  <a:lnTo>
                    <a:pt x="205" y="581"/>
                  </a:lnTo>
                  <a:lnTo>
                    <a:pt x="206" y="586"/>
                  </a:lnTo>
                  <a:lnTo>
                    <a:pt x="208" y="586"/>
                  </a:lnTo>
                  <a:lnTo>
                    <a:pt x="208" y="584"/>
                  </a:lnTo>
                  <a:lnTo>
                    <a:pt x="209" y="583"/>
                  </a:lnTo>
                  <a:lnTo>
                    <a:pt x="212" y="580"/>
                  </a:lnTo>
                  <a:lnTo>
                    <a:pt x="213" y="578"/>
                  </a:lnTo>
                  <a:lnTo>
                    <a:pt x="216" y="577"/>
                  </a:lnTo>
                  <a:lnTo>
                    <a:pt x="217" y="575"/>
                  </a:lnTo>
                  <a:lnTo>
                    <a:pt x="217" y="57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6" name="Freeform 50"/>
            <p:cNvSpPr>
              <a:spLocks/>
            </p:cNvSpPr>
            <p:nvPr/>
          </p:nvSpPr>
          <p:spPr bwMode="auto">
            <a:xfrm>
              <a:off x="2475361" y="4518760"/>
              <a:ext cx="224850" cy="396173"/>
            </a:xfrm>
            <a:custGeom>
              <a:avLst/>
              <a:gdLst>
                <a:gd name="T0" fmla="*/ 236 w 335"/>
                <a:gd name="T1" fmla="*/ 565 h 591"/>
                <a:gd name="T2" fmla="*/ 261 w 335"/>
                <a:gd name="T3" fmla="*/ 578 h 591"/>
                <a:gd name="T4" fmla="*/ 271 w 335"/>
                <a:gd name="T5" fmla="*/ 566 h 591"/>
                <a:gd name="T6" fmla="*/ 272 w 335"/>
                <a:gd name="T7" fmla="*/ 542 h 591"/>
                <a:gd name="T8" fmla="*/ 294 w 335"/>
                <a:gd name="T9" fmla="*/ 536 h 591"/>
                <a:gd name="T10" fmla="*/ 298 w 335"/>
                <a:gd name="T11" fmla="*/ 526 h 591"/>
                <a:gd name="T12" fmla="*/ 297 w 335"/>
                <a:gd name="T13" fmla="*/ 509 h 591"/>
                <a:gd name="T14" fmla="*/ 301 w 335"/>
                <a:gd name="T15" fmla="*/ 499 h 591"/>
                <a:gd name="T16" fmla="*/ 300 w 335"/>
                <a:gd name="T17" fmla="*/ 481 h 591"/>
                <a:gd name="T18" fmla="*/ 303 w 335"/>
                <a:gd name="T19" fmla="*/ 468 h 591"/>
                <a:gd name="T20" fmla="*/ 306 w 335"/>
                <a:gd name="T21" fmla="*/ 451 h 591"/>
                <a:gd name="T22" fmla="*/ 322 w 335"/>
                <a:gd name="T23" fmla="*/ 425 h 591"/>
                <a:gd name="T24" fmla="*/ 328 w 335"/>
                <a:gd name="T25" fmla="*/ 407 h 591"/>
                <a:gd name="T26" fmla="*/ 334 w 335"/>
                <a:gd name="T27" fmla="*/ 385 h 591"/>
                <a:gd name="T28" fmla="*/ 322 w 335"/>
                <a:gd name="T29" fmla="*/ 358 h 591"/>
                <a:gd name="T30" fmla="*/ 325 w 335"/>
                <a:gd name="T31" fmla="*/ 328 h 591"/>
                <a:gd name="T32" fmla="*/ 322 w 335"/>
                <a:gd name="T33" fmla="*/ 290 h 591"/>
                <a:gd name="T34" fmla="*/ 316 w 335"/>
                <a:gd name="T35" fmla="*/ 229 h 591"/>
                <a:gd name="T36" fmla="*/ 310 w 335"/>
                <a:gd name="T37" fmla="*/ 160 h 591"/>
                <a:gd name="T38" fmla="*/ 306 w 335"/>
                <a:gd name="T39" fmla="*/ 103 h 591"/>
                <a:gd name="T40" fmla="*/ 303 w 335"/>
                <a:gd name="T41" fmla="*/ 80 h 591"/>
                <a:gd name="T42" fmla="*/ 292 w 335"/>
                <a:gd name="T43" fmla="*/ 59 h 591"/>
                <a:gd name="T44" fmla="*/ 291 w 335"/>
                <a:gd name="T45" fmla="*/ 49 h 591"/>
                <a:gd name="T46" fmla="*/ 274 w 335"/>
                <a:gd name="T47" fmla="*/ 31 h 591"/>
                <a:gd name="T48" fmla="*/ 274 w 335"/>
                <a:gd name="T49" fmla="*/ 0 h 591"/>
                <a:gd name="T50" fmla="*/ 58 w 335"/>
                <a:gd name="T51" fmla="*/ 22 h 591"/>
                <a:gd name="T52" fmla="*/ 68 w 335"/>
                <a:gd name="T53" fmla="*/ 29 h 591"/>
                <a:gd name="T54" fmla="*/ 74 w 335"/>
                <a:gd name="T55" fmla="*/ 41 h 591"/>
                <a:gd name="T56" fmla="*/ 86 w 335"/>
                <a:gd name="T57" fmla="*/ 50 h 591"/>
                <a:gd name="T58" fmla="*/ 94 w 335"/>
                <a:gd name="T59" fmla="*/ 82 h 591"/>
                <a:gd name="T60" fmla="*/ 83 w 335"/>
                <a:gd name="T61" fmla="*/ 93 h 591"/>
                <a:gd name="T62" fmla="*/ 82 w 335"/>
                <a:gd name="T63" fmla="*/ 113 h 591"/>
                <a:gd name="T64" fmla="*/ 67 w 335"/>
                <a:gd name="T65" fmla="*/ 121 h 591"/>
                <a:gd name="T66" fmla="*/ 64 w 335"/>
                <a:gd name="T67" fmla="*/ 124 h 591"/>
                <a:gd name="T68" fmla="*/ 41 w 335"/>
                <a:gd name="T69" fmla="*/ 130 h 591"/>
                <a:gd name="T70" fmla="*/ 31 w 335"/>
                <a:gd name="T71" fmla="*/ 157 h 591"/>
                <a:gd name="T72" fmla="*/ 43 w 335"/>
                <a:gd name="T73" fmla="*/ 181 h 591"/>
                <a:gd name="T74" fmla="*/ 34 w 335"/>
                <a:gd name="T75" fmla="*/ 194 h 591"/>
                <a:gd name="T76" fmla="*/ 30 w 335"/>
                <a:gd name="T77" fmla="*/ 205 h 591"/>
                <a:gd name="T78" fmla="*/ 28 w 335"/>
                <a:gd name="T79" fmla="*/ 214 h 591"/>
                <a:gd name="T80" fmla="*/ 8 w 335"/>
                <a:gd name="T81" fmla="*/ 220 h 591"/>
                <a:gd name="T82" fmla="*/ 11 w 335"/>
                <a:gd name="T83" fmla="*/ 235 h 591"/>
                <a:gd name="T84" fmla="*/ 8 w 335"/>
                <a:gd name="T85" fmla="*/ 244 h 591"/>
                <a:gd name="T86" fmla="*/ 2 w 335"/>
                <a:gd name="T87" fmla="*/ 249 h 591"/>
                <a:gd name="T88" fmla="*/ 1 w 335"/>
                <a:gd name="T89" fmla="*/ 275 h 591"/>
                <a:gd name="T90" fmla="*/ 22 w 335"/>
                <a:gd name="T91" fmla="*/ 322 h 591"/>
                <a:gd name="T92" fmla="*/ 58 w 335"/>
                <a:gd name="T93" fmla="*/ 350 h 591"/>
                <a:gd name="T94" fmla="*/ 71 w 335"/>
                <a:gd name="T95" fmla="*/ 383 h 591"/>
                <a:gd name="T96" fmla="*/ 82 w 335"/>
                <a:gd name="T97" fmla="*/ 401 h 591"/>
                <a:gd name="T98" fmla="*/ 98 w 335"/>
                <a:gd name="T99" fmla="*/ 391 h 591"/>
                <a:gd name="T100" fmla="*/ 119 w 335"/>
                <a:gd name="T101" fmla="*/ 407 h 591"/>
                <a:gd name="T102" fmla="*/ 112 w 335"/>
                <a:gd name="T103" fmla="*/ 436 h 591"/>
                <a:gd name="T104" fmla="*/ 106 w 335"/>
                <a:gd name="T105" fmla="*/ 451 h 591"/>
                <a:gd name="T106" fmla="*/ 129 w 335"/>
                <a:gd name="T107" fmla="*/ 488 h 591"/>
                <a:gd name="T108" fmla="*/ 139 w 335"/>
                <a:gd name="T109" fmla="*/ 494 h 591"/>
                <a:gd name="T110" fmla="*/ 167 w 335"/>
                <a:gd name="T111" fmla="*/ 515 h 591"/>
                <a:gd name="T112" fmla="*/ 192 w 335"/>
                <a:gd name="T113" fmla="*/ 578 h 591"/>
                <a:gd name="T114" fmla="*/ 200 w 335"/>
                <a:gd name="T115" fmla="*/ 584 h 591"/>
                <a:gd name="T116" fmla="*/ 206 w 335"/>
                <a:gd name="T117" fmla="*/ 586 h 591"/>
                <a:gd name="T118" fmla="*/ 216 w 335"/>
                <a:gd name="T119" fmla="*/ 577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5" h="591">
                  <a:moveTo>
                    <a:pt x="217" y="574"/>
                  </a:moveTo>
                  <a:lnTo>
                    <a:pt x="217" y="574"/>
                  </a:lnTo>
                  <a:lnTo>
                    <a:pt x="223" y="568"/>
                  </a:lnTo>
                  <a:lnTo>
                    <a:pt x="228" y="565"/>
                  </a:lnTo>
                  <a:lnTo>
                    <a:pt x="232" y="565"/>
                  </a:lnTo>
                  <a:lnTo>
                    <a:pt x="236" y="565"/>
                  </a:lnTo>
                  <a:lnTo>
                    <a:pt x="241" y="568"/>
                  </a:lnTo>
                  <a:lnTo>
                    <a:pt x="243" y="569"/>
                  </a:lnTo>
                  <a:lnTo>
                    <a:pt x="246" y="572"/>
                  </a:lnTo>
                  <a:lnTo>
                    <a:pt x="249" y="574"/>
                  </a:lnTo>
                  <a:lnTo>
                    <a:pt x="249" y="574"/>
                  </a:lnTo>
                  <a:lnTo>
                    <a:pt x="261" y="578"/>
                  </a:lnTo>
                  <a:lnTo>
                    <a:pt x="269" y="580"/>
                  </a:lnTo>
                  <a:lnTo>
                    <a:pt x="273" y="578"/>
                  </a:lnTo>
                  <a:lnTo>
                    <a:pt x="274" y="575"/>
                  </a:lnTo>
                  <a:lnTo>
                    <a:pt x="273" y="572"/>
                  </a:lnTo>
                  <a:lnTo>
                    <a:pt x="273" y="569"/>
                  </a:lnTo>
                  <a:lnTo>
                    <a:pt x="271" y="566"/>
                  </a:lnTo>
                  <a:lnTo>
                    <a:pt x="271" y="565"/>
                  </a:lnTo>
                  <a:lnTo>
                    <a:pt x="271" y="565"/>
                  </a:lnTo>
                  <a:lnTo>
                    <a:pt x="267" y="558"/>
                  </a:lnTo>
                  <a:lnTo>
                    <a:pt x="267" y="551"/>
                  </a:lnTo>
                  <a:lnTo>
                    <a:pt x="268" y="547"/>
                  </a:lnTo>
                  <a:lnTo>
                    <a:pt x="272" y="542"/>
                  </a:lnTo>
                  <a:lnTo>
                    <a:pt x="276" y="541"/>
                  </a:lnTo>
                  <a:lnTo>
                    <a:pt x="280" y="538"/>
                  </a:lnTo>
                  <a:lnTo>
                    <a:pt x="285" y="538"/>
                  </a:lnTo>
                  <a:lnTo>
                    <a:pt x="286" y="538"/>
                  </a:lnTo>
                  <a:lnTo>
                    <a:pt x="286" y="538"/>
                  </a:lnTo>
                  <a:lnTo>
                    <a:pt x="294" y="536"/>
                  </a:lnTo>
                  <a:lnTo>
                    <a:pt x="300" y="535"/>
                  </a:lnTo>
                  <a:lnTo>
                    <a:pt x="301" y="533"/>
                  </a:lnTo>
                  <a:lnTo>
                    <a:pt x="301" y="531"/>
                  </a:lnTo>
                  <a:lnTo>
                    <a:pt x="300" y="528"/>
                  </a:lnTo>
                  <a:lnTo>
                    <a:pt x="300" y="527"/>
                  </a:lnTo>
                  <a:lnTo>
                    <a:pt x="298" y="526"/>
                  </a:lnTo>
                  <a:lnTo>
                    <a:pt x="297" y="524"/>
                  </a:lnTo>
                  <a:lnTo>
                    <a:pt x="294" y="520"/>
                  </a:lnTo>
                  <a:lnTo>
                    <a:pt x="295" y="512"/>
                  </a:lnTo>
                  <a:lnTo>
                    <a:pt x="295" y="512"/>
                  </a:lnTo>
                  <a:lnTo>
                    <a:pt x="295" y="511"/>
                  </a:lnTo>
                  <a:lnTo>
                    <a:pt x="297" y="509"/>
                  </a:lnTo>
                  <a:lnTo>
                    <a:pt x="298" y="508"/>
                  </a:lnTo>
                  <a:lnTo>
                    <a:pt x="300" y="505"/>
                  </a:lnTo>
                  <a:lnTo>
                    <a:pt x="300" y="503"/>
                  </a:lnTo>
                  <a:lnTo>
                    <a:pt x="301" y="502"/>
                  </a:lnTo>
                  <a:lnTo>
                    <a:pt x="301" y="500"/>
                  </a:lnTo>
                  <a:lnTo>
                    <a:pt x="301" y="499"/>
                  </a:lnTo>
                  <a:lnTo>
                    <a:pt x="301" y="499"/>
                  </a:lnTo>
                  <a:lnTo>
                    <a:pt x="298" y="496"/>
                  </a:lnTo>
                  <a:lnTo>
                    <a:pt x="297" y="491"/>
                  </a:lnTo>
                  <a:lnTo>
                    <a:pt x="297" y="487"/>
                  </a:lnTo>
                  <a:lnTo>
                    <a:pt x="297" y="484"/>
                  </a:lnTo>
                  <a:lnTo>
                    <a:pt x="300" y="481"/>
                  </a:lnTo>
                  <a:lnTo>
                    <a:pt x="301" y="479"/>
                  </a:lnTo>
                  <a:lnTo>
                    <a:pt x="301" y="478"/>
                  </a:lnTo>
                  <a:lnTo>
                    <a:pt x="303" y="478"/>
                  </a:lnTo>
                  <a:lnTo>
                    <a:pt x="303" y="469"/>
                  </a:lnTo>
                  <a:lnTo>
                    <a:pt x="303" y="469"/>
                  </a:lnTo>
                  <a:lnTo>
                    <a:pt x="303" y="468"/>
                  </a:lnTo>
                  <a:lnTo>
                    <a:pt x="303" y="466"/>
                  </a:lnTo>
                  <a:lnTo>
                    <a:pt x="303" y="464"/>
                  </a:lnTo>
                  <a:lnTo>
                    <a:pt x="304" y="460"/>
                  </a:lnTo>
                  <a:lnTo>
                    <a:pt x="304" y="457"/>
                  </a:lnTo>
                  <a:lnTo>
                    <a:pt x="306" y="454"/>
                  </a:lnTo>
                  <a:lnTo>
                    <a:pt x="306" y="451"/>
                  </a:lnTo>
                  <a:lnTo>
                    <a:pt x="306" y="449"/>
                  </a:lnTo>
                  <a:lnTo>
                    <a:pt x="306" y="449"/>
                  </a:lnTo>
                  <a:lnTo>
                    <a:pt x="312" y="445"/>
                  </a:lnTo>
                  <a:lnTo>
                    <a:pt x="316" y="437"/>
                  </a:lnTo>
                  <a:lnTo>
                    <a:pt x="319" y="431"/>
                  </a:lnTo>
                  <a:lnTo>
                    <a:pt x="322" y="425"/>
                  </a:lnTo>
                  <a:lnTo>
                    <a:pt x="325" y="418"/>
                  </a:lnTo>
                  <a:lnTo>
                    <a:pt x="327" y="413"/>
                  </a:lnTo>
                  <a:lnTo>
                    <a:pt x="328" y="409"/>
                  </a:lnTo>
                  <a:lnTo>
                    <a:pt x="328" y="407"/>
                  </a:lnTo>
                  <a:lnTo>
                    <a:pt x="328" y="407"/>
                  </a:lnTo>
                  <a:lnTo>
                    <a:pt x="328" y="407"/>
                  </a:lnTo>
                  <a:lnTo>
                    <a:pt x="330" y="405"/>
                  </a:lnTo>
                  <a:lnTo>
                    <a:pt x="331" y="403"/>
                  </a:lnTo>
                  <a:lnTo>
                    <a:pt x="333" y="401"/>
                  </a:lnTo>
                  <a:lnTo>
                    <a:pt x="333" y="401"/>
                  </a:lnTo>
                  <a:lnTo>
                    <a:pt x="334" y="392"/>
                  </a:lnTo>
                  <a:lnTo>
                    <a:pt x="334" y="385"/>
                  </a:lnTo>
                  <a:lnTo>
                    <a:pt x="333" y="377"/>
                  </a:lnTo>
                  <a:lnTo>
                    <a:pt x="330" y="372"/>
                  </a:lnTo>
                  <a:lnTo>
                    <a:pt x="328" y="367"/>
                  </a:lnTo>
                  <a:lnTo>
                    <a:pt x="325" y="362"/>
                  </a:lnTo>
                  <a:lnTo>
                    <a:pt x="324" y="359"/>
                  </a:lnTo>
                  <a:lnTo>
                    <a:pt x="322" y="358"/>
                  </a:lnTo>
                  <a:lnTo>
                    <a:pt x="322" y="355"/>
                  </a:lnTo>
                  <a:lnTo>
                    <a:pt x="322" y="335"/>
                  </a:lnTo>
                  <a:lnTo>
                    <a:pt x="325" y="331"/>
                  </a:lnTo>
                  <a:lnTo>
                    <a:pt x="325" y="331"/>
                  </a:lnTo>
                  <a:lnTo>
                    <a:pt x="325" y="329"/>
                  </a:lnTo>
                  <a:lnTo>
                    <a:pt x="325" y="328"/>
                  </a:lnTo>
                  <a:lnTo>
                    <a:pt x="325" y="323"/>
                  </a:lnTo>
                  <a:lnTo>
                    <a:pt x="324" y="319"/>
                  </a:lnTo>
                  <a:lnTo>
                    <a:pt x="324" y="313"/>
                  </a:lnTo>
                  <a:lnTo>
                    <a:pt x="324" y="307"/>
                  </a:lnTo>
                  <a:lnTo>
                    <a:pt x="322" y="299"/>
                  </a:lnTo>
                  <a:lnTo>
                    <a:pt x="322" y="290"/>
                  </a:lnTo>
                  <a:lnTo>
                    <a:pt x="321" y="281"/>
                  </a:lnTo>
                  <a:lnTo>
                    <a:pt x="321" y="272"/>
                  </a:lnTo>
                  <a:lnTo>
                    <a:pt x="319" y="262"/>
                  </a:lnTo>
                  <a:lnTo>
                    <a:pt x="318" y="250"/>
                  </a:lnTo>
                  <a:lnTo>
                    <a:pt x="318" y="241"/>
                  </a:lnTo>
                  <a:lnTo>
                    <a:pt x="316" y="229"/>
                  </a:lnTo>
                  <a:lnTo>
                    <a:pt x="315" y="217"/>
                  </a:lnTo>
                  <a:lnTo>
                    <a:pt x="315" y="206"/>
                  </a:lnTo>
                  <a:lnTo>
                    <a:pt x="313" y="193"/>
                  </a:lnTo>
                  <a:lnTo>
                    <a:pt x="312" y="182"/>
                  </a:lnTo>
                  <a:lnTo>
                    <a:pt x="312" y="170"/>
                  </a:lnTo>
                  <a:lnTo>
                    <a:pt x="310" y="160"/>
                  </a:lnTo>
                  <a:lnTo>
                    <a:pt x="309" y="149"/>
                  </a:lnTo>
                  <a:lnTo>
                    <a:pt x="309" y="139"/>
                  </a:lnTo>
                  <a:lnTo>
                    <a:pt x="307" y="128"/>
                  </a:lnTo>
                  <a:lnTo>
                    <a:pt x="307" y="121"/>
                  </a:lnTo>
                  <a:lnTo>
                    <a:pt x="306" y="112"/>
                  </a:lnTo>
                  <a:lnTo>
                    <a:pt x="306" y="103"/>
                  </a:lnTo>
                  <a:lnTo>
                    <a:pt x="304" y="97"/>
                  </a:lnTo>
                  <a:lnTo>
                    <a:pt x="304" y="92"/>
                  </a:lnTo>
                  <a:lnTo>
                    <a:pt x="304" y="88"/>
                  </a:lnTo>
                  <a:lnTo>
                    <a:pt x="303" y="83"/>
                  </a:lnTo>
                  <a:lnTo>
                    <a:pt x="303" y="82"/>
                  </a:lnTo>
                  <a:lnTo>
                    <a:pt x="303" y="80"/>
                  </a:lnTo>
                  <a:lnTo>
                    <a:pt x="303" y="80"/>
                  </a:lnTo>
                  <a:lnTo>
                    <a:pt x="300" y="76"/>
                  </a:lnTo>
                  <a:lnTo>
                    <a:pt x="297" y="71"/>
                  </a:lnTo>
                  <a:lnTo>
                    <a:pt x="295" y="67"/>
                  </a:lnTo>
                  <a:lnTo>
                    <a:pt x="294" y="62"/>
                  </a:lnTo>
                  <a:lnTo>
                    <a:pt x="292" y="59"/>
                  </a:lnTo>
                  <a:lnTo>
                    <a:pt x="292" y="56"/>
                  </a:lnTo>
                  <a:lnTo>
                    <a:pt x="292" y="55"/>
                  </a:lnTo>
                  <a:lnTo>
                    <a:pt x="292" y="53"/>
                  </a:lnTo>
                  <a:lnTo>
                    <a:pt x="292" y="53"/>
                  </a:lnTo>
                  <a:lnTo>
                    <a:pt x="291" y="52"/>
                  </a:lnTo>
                  <a:lnTo>
                    <a:pt x="291" y="49"/>
                  </a:lnTo>
                  <a:lnTo>
                    <a:pt x="289" y="46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2" y="40"/>
                  </a:lnTo>
                  <a:lnTo>
                    <a:pt x="277" y="35"/>
                  </a:lnTo>
                  <a:lnTo>
                    <a:pt x="274" y="31"/>
                  </a:lnTo>
                  <a:lnTo>
                    <a:pt x="274" y="26"/>
                  </a:lnTo>
                  <a:lnTo>
                    <a:pt x="274" y="22"/>
                  </a:lnTo>
                  <a:lnTo>
                    <a:pt x="274" y="19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4" y="0"/>
                  </a:lnTo>
                  <a:lnTo>
                    <a:pt x="274" y="1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9"/>
                  </a:lnTo>
                  <a:lnTo>
                    <a:pt x="56" y="20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60" y="23"/>
                  </a:lnTo>
                  <a:lnTo>
                    <a:pt x="61" y="25"/>
                  </a:lnTo>
                  <a:lnTo>
                    <a:pt x="65" y="26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73" y="31"/>
                  </a:lnTo>
                  <a:lnTo>
                    <a:pt x="76" y="34"/>
                  </a:lnTo>
                  <a:lnTo>
                    <a:pt x="76" y="37"/>
                  </a:lnTo>
                  <a:lnTo>
                    <a:pt x="76" y="38"/>
                  </a:lnTo>
                  <a:lnTo>
                    <a:pt x="76" y="40"/>
                  </a:lnTo>
                  <a:lnTo>
                    <a:pt x="74" y="41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5" y="49"/>
                  </a:lnTo>
                  <a:lnTo>
                    <a:pt x="86" y="50"/>
                  </a:lnTo>
                  <a:lnTo>
                    <a:pt x="89" y="52"/>
                  </a:lnTo>
                  <a:lnTo>
                    <a:pt x="93" y="55"/>
                  </a:lnTo>
                  <a:lnTo>
                    <a:pt x="94" y="59"/>
                  </a:lnTo>
                  <a:lnTo>
                    <a:pt x="96" y="64"/>
                  </a:lnTo>
                  <a:lnTo>
                    <a:pt x="96" y="71"/>
                  </a:lnTo>
                  <a:lnTo>
                    <a:pt x="94" y="82"/>
                  </a:lnTo>
                  <a:lnTo>
                    <a:pt x="94" y="82"/>
                  </a:lnTo>
                  <a:lnTo>
                    <a:pt x="91" y="89"/>
                  </a:lnTo>
                  <a:lnTo>
                    <a:pt x="89" y="92"/>
                  </a:lnTo>
                  <a:lnTo>
                    <a:pt x="86" y="93"/>
                  </a:lnTo>
                  <a:lnTo>
                    <a:pt x="85" y="92"/>
                  </a:lnTo>
                  <a:lnTo>
                    <a:pt x="83" y="93"/>
                  </a:lnTo>
                  <a:lnTo>
                    <a:pt x="83" y="94"/>
                  </a:lnTo>
                  <a:lnTo>
                    <a:pt x="82" y="101"/>
                  </a:lnTo>
                  <a:lnTo>
                    <a:pt x="82" y="113"/>
                  </a:lnTo>
                  <a:lnTo>
                    <a:pt x="82" y="113"/>
                  </a:lnTo>
                  <a:lnTo>
                    <a:pt x="82" y="113"/>
                  </a:lnTo>
                  <a:lnTo>
                    <a:pt x="82" y="113"/>
                  </a:lnTo>
                  <a:lnTo>
                    <a:pt x="82" y="115"/>
                  </a:lnTo>
                  <a:lnTo>
                    <a:pt x="80" y="116"/>
                  </a:lnTo>
                  <a:lnTo>
                    <a:pt x="79" y="118"/>
                  </a:lnTo>
                  <a:lnTo>
                    <a:pt x="76" y="119"/>
                  </a:lnTo>
                  <a:lnTo>
                    <a:pt x="73" y="121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5" y="121"/>
                  </a:lnTo>
                  <a:lnTo>
                    <a:pt x="65" y="122"/>
                  </a:lnTo>
                  <a:lnTo>
                    <a:pt x="65" y="122"/>
                  </a:lnTo>
                  <a:lnTo>
                    <a:pt x="65" y="124"/>
                  </a:lnTo>
                  <a:lnTo>
                    <a:pt x="64" y="124"/>
                  </a:lnTo>
                  <a:lnTo>
                    <a:pt x="63" y="125"/>
                  </a:lnTo>
                  <a:lnTo>
                    <a:pt x="59" y="127"/>
                  </a:lnTo>
                  <a:lnTo>
                    <a:pt x="53" y="128"/>
                  </a:lnTo>
                  <a:lnTo>
                    <a:pt x="53" y="128"/>
                  </a:lnTo>
                  <a:lnTo>
                    <a:pt x="47" y="128"/>
                  </a:lnTo>
                  <a:lnTo>
                    <a:pt x="41" y="130"/>
                  </a:lnTo>
                  <a:lnTo>
                    <a:pt x="35" y="133"/>
                  </a:lnTo>
                  <a:lnTo>
                    <a:pt x="31" y="136"/>
                  </a:lnTo>
                  <a:lnTo>
                    <a:pt x="29" y="139"/>
                  </a:lnTo>
                  <a:lnTo>
                    <a:pt x="29" y="145"/>
                  </a:lnTo>
                  <a:lnTo>
                    <a:pt x="29" y="151"/>
                  </a:lnTo>
                  <a:lnTo>
                    <a:pt x="31" y="157"/>
                  </a:lnTo>
                  <a:lnTo>
                    <a:pt x="31" y="157"/>
                  </a:lnTo>
                  <a:lnTo>
                    <a:pt x="34" y="164"/>
                  </a:lnTo>
                  <a:lnTo>
                    <a:pt x="38" y="169"/>
                  </a:lnTo>
                  <a:lnTo>
                    <a:pt x="40" y="173"/>
                  </a:lnTo>
                  <a:lnTo>
                    <a:pt x="41" y="176"/>
                  </a:lnTo>
                  <a:lnTo>
                    <a:pt x="43" y="181"/>
                  </a:lnTo>
                  <a:lnTo>
                    <a:pt x="41" y="184"/>
                  </a:lnTo>
                  <a:lnTo>
                    <a:pt x="38" y="186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4"/>
                  </a:lnTo>
                  <a:lnTo>
                    <a:pt x="32" y="196"/>
                  </a:lnTo>
                  <a:lnTo>
                    <a:pt x="31" y="199"/>
                  </a:lnTo>
                  <a:lnTo>
                    <a:pt x="31" y="200"/>
                  </a:lnTo>
                  <a:lnTo>
                    <a:pt x="30" y="202"/>
                  </a:lnTo>
                  <a:lnTo>
                    <a:pt x="30" y="203"/>
                  </a:lnTo>
                  <a:lnTo>
                    <a:pt x="30" y="205"/>
                  </a:lnTo>
                  <a:lnTo>
                    <a:pt x="30" y="205"/>
                  </a:lnTo>
                  <a:lnTo>
                    <a:pt x="30" y="205"/>
                  </a:lnTo>
                  <a:lnTo>
                    <a:pt x="29" y="206"/>
                  </a:lnTo>
                  <a:lnTo>
                    <a:pt x="29" y="209"/>
                  </a:lnTo>
                  <a:lnTo>
                    <a:pt x="29" y="211"/>
                  </a:lnTo>
                  <a:lnTo>
                    <a:pt x="28" y="214"/>
                  </a:lnTo>
                  <a:lnTo>
                    <a:pt x="25" y="215"/>
                  </a:lnTo>
                  <a:lnTo>
                    <a:pt x="20" y="217"/>
                  </a:lnTo>
                  <a:lnTo>
                    <a:pt x="16" y="217"/>
                  </a:lnTo>
                  <a:lnTo>
                    <a:pt x="16" y="217"/>
                  </a:lnTo>
                  <a:lnTo>
                    <a:pt x="11" y="218"/>
                  </a:lnTo>
                  <a:lnTo>
                    <a:pt x="8" y="220"/>
                  </a:lnTo>
                  <a:lnTo>
                    <a:pt x="7" y="223"/>
                  </a:lnTo>
                  <a:lnTo>
                    <a:pt x="7" y="226"/>
                  </a:lnTo>
                  <a:lnTo>
                    <a:pt x="7" y="229"/>
                  </a:lnTo>
                  <a:lnTo>
                    <a:pt x="8" y="230"/>
                  </a:lnTo>
                  <a:lnTo>
                    <a:pt x="10" y="233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6"/>
                  </a:lnTo>
                  <a:lnTo>
                    <a:pt x="11" y="239"/>
                  </a:lnTo>
                  <a:lnTo>
                    <a:pt x="10" y="241"/>
                  </a:lnTo>
                  <a:lnTo>
                    <a:pt x="8" y="244"/>
                  </a:lnTo>
                  <a:lnTo>
                    <a:pt x="7" y="245"/>
                  </a:lnTo>
                  <a:lnTo>
                    <a:pt x="5" y="247"/>
                  </a:lnTo>
                  <a:lnTo>
                    <a:pt x="4" y="248"/>
                  </a:lnTo>
                  <a:lnTo>
                    <a:pt x="4" y="248"/>
                  </a:lnTo>
                  <a:lnTo>
                    <a:pt x="4" y="248"/>
                  </a:lnTo>
                  <a:lnTo>
                    <a:pt x="2" y="249"/>
                  </a:lnTo>
                  <a:lnTo>
                    <a:pt x="2" y="250"/>
                  </a:lnTo>
                  <a:lnTo>
                    <a:pt x="2" y="253"/>
                  </a:lnTo>
                  <a:lnTo>
                    <a:pt x="1" y="257"/>
                  </a:lnTo>
                  <a:lnTo>
                    <a:pt x="1" y="262"/>
                  </a:lnTo>
                  <a:lnTo>
                    <a:pt x="0" y="268"/>
                  </a:lnTo>
                  <a:lnTo>
                    <a:pt x="1" y="275"/>
                  </a:lnTo>
                  <a:lnTo>
                    <a:pt x="1" y="281"/>
                  </a:lnTo>
                  <a:lnTo>
                    <a:pt x="2" y="289"/>
                  </a:lnTo>
                  <a:lnTo>
                    <a:pt x="5" y="298"/>
                  </a:lnTo>
                  <a:lnTo>
                    <a:pt x="10" y="305"/>
                  </a:lnTo>
                  <a:lnTo>
                    <a:pt x="14" y="313"/>
                  </a:lnTo>
                  <a:lnTo>
                    <a:pt x="22" y="322"/>
                  </a:lnTo>
                  <a:lnTo>
                    <a:pt x="29" y="331"/>
                  </a:lnTo>
                  <a:lnTo>
                    <a:pt x="38" y="340"/>
                  </a:lnTo>
                  <a:lnTo>
                    <a:pt x="50" y="347"/>
                  </a:lnTo>
                  <a:lnTo>
                    <a:pt x="50" y="347"/>
                  </a:lnTo>
                  <a:lnTo>
                    <a:pt x="53" y="349"/>
                  </a:lnTo>
                  <a:lnTo>
                    <a:pt x="58" y="350"/>
                  </a:lnTo>
                  <a:lnTo>
                    <a:pt x="60" y="352"/>
                  </a:lnTo>
                  <a:lnTo>
                    <a:pt x="63" y="355"/>
                  </a:lnTo>
                  <a:lnTo>
                    <a:pt x="65" y="358"/>
                  </a:lnTo>
                  <a:lnTo>
                    <a:pt x="68" y="364"/>
                  </a:lnTo>
                  <a:lnTo>
                    <a:pt x="70" y="372"/>
                  </a:lnTo>
                  <a:lnTo>
                    <a:pt x="71" y="383"/>
                  </a:lnTo>
                  <a:lnTo>
                    <a:pt x="71" y="383"/>
                  </a:lnTo>
                  <a:lnTo>
                    <a:pt x="71" y="391"/>
                  </a:lnTo>
                  <a:lnTo>
                    <a:pt x="74" y="397"/>
                  </a:lnTo>
                  <a:lnTo>
                    <a:pt x="76" y="400"/>
                  </a:lnTo>
                  <a:lnTo>
                    <a:pt x="79" y="401"/>
                  </a:lnTo>
                  <a:lnTo>
                    <a:pt x="82" y="401"/>
                  </a:lnTo>
                  <a:lnTo>
                    <a:pt x="86" y="398"/>
                  </a:lnTo>
                  <a:lnTo>
                    <a:pt x="89" y="395"/>
                  </a:lnTo>
                  <a:lnTo>
                    <a:pt x="91" y="392"/>
                  </a:lnTo>
                  <a:lnTo>
                    <a:pt x="91" y="392"/>
                  </a:lnTo>
                  <a:lnTo>
                    <a:pt x="94" y="391"/>
                  </a:lnTo>
                  <a:lnTo>
                    <a:pt x="98" y="391"/>
                  </a:lnTo>
                  <a:lnTo>
                    <a:pt x="103" y="392"/>
                  </a:lnTo>
                  <a:lnTo>
                    <a:pt x="109" y="395"/>
                  </a:lnTo>
                  <a:lnTo>
                    <a:pt x="113" y="398"/>
                  </a:lnTo>
                  <a:lnTo>
                    <a:pt x="116" y="403"/>
                  </a:lnTo>
                  <a:lnTo>
                    <a:pt x="119" y="405"/>
                  </a:lnTo>
                  <a:lnTo>
                    <a:pt x="119" y="407"/>
                  </a:lnTo>
                  <a:lnTo>
                    <a:pt x="119" y="407"/>
                  </a:lnTo>
                  <a:lnTo>
                    <a:pt x="119" y="410"/>
                  </a:lnTo>
                  <a:lnTo>
                    <a:pt x="116" y="416"/>
                  </a:lnTo>
                  <a:lnTo>
                    <a:pt x="115" y="422"/>
                  </a:lnTo>
                  <a:lnTo>
                    <a:pt x="113" y="430"/>
                  </a:lnTo>
                  <a:lnTo>
                    <a:pt x="112" y="436"/>
                  </a:lnTo>
                  <a:lnTo>
                    <a:pt x="110" y="442"/>
                  </a:lnTo>
                  <a:lnTo>
                    <a:pt x="109" y="445"/>
                  </a:lnTo>
                  <a:lnTo>
                    <a:pt x="109" y="446"/>
                  </a:lnTo>
                  <a:lnTo>
                    <a:pt x="109" y="446"/>
                  </a:lnTo>
                  <a:lnTo>
                    <a:pt x="107" y="448"/>
                  </a:lnTo>
                  <a:lnTo>
                    <a:pt x="106" y="451"/>
                  </a:lnTo>
                  <a:lnTo>
                    <a:pt x="104" y="457"/>
                  </a:lnTo>
                  <a:lnTo>
                    <a:pt x="104" y="463"/>
                  </a:lnTo>
                  <a:lnTo>
                    <a:pt x="106" y="468"/>
                  </a:lnTo>
                  <a:lnTo>
                    <a:pt x="109" y="475"/>
                  </a:lnTo>
                  <a:lnTo>
                    <a:pt x="118" y="482"/>
                  </a:lnTo>
                  <a:lnTo>
                    <a:pt x="129" y="488"/>
                  </a:lnTo>
                  <a:lnTo>
                    <a:pt x="129" y="488"/>
                  </a:lnTo>
                  <a:lnTo>
                    <a:pt x="131" y="490"/>
                  </a:lnTo>
                  <a:lnTo>
                    <a:pt x="134" y="491"/>
                  </a:lnTo>
                  <a:lnTo>
                    <a:pt x="137" y="493"/>
                  </a:lnTo>
                  <a:lnTo>
                    <a:pt x="139" y="494"/>
                  </a:lnTo>
                  <a:lnTo>
                    <a:pt x="139" y="494"/>
                  </a:lnTo>
                  <a:lnTo>
                    <a:pt x="140" y="496"/>
                  </a:lnTo>
                  <a:lnTo>
                    <a:pt x="140" y="496"/>
                  </a:lnTo>
                  <a:lnTo>
                    <a:pt x="140" y="496"/>
                  </a:lnTo>
                  <a:lnTo>
                    <a:pt x="140" y="502"/>
                  </a:lnTo>
                  <a:lnTo>
                    <a:pt x="154" y="502"/>
                  </a:lnTo>
                  <a:lnTo>
                    <a:pt x="167" y="515"/>
                  </a:lnTo>
                  <a:lnTo>
                    <a:pt x="181" y="520"/>
                  </a:lnTo>
                  <a:lnTo>
                    <a:pt x="182" y="538"/>
                  </a:lnTo>
                  <a:lnTo>
                    <a:pt x="187" y="548"/>
                  </a:lnTo>
                  <a:lnTo>
                    <a:pt x="183" y="562"/>
                  </a:lnTo>
                  <a:lnTo>
                    <a:pt x="183" y="569"/>
                  </a:lnTo>
                  <a:lnTo>
                    <a:pt x="192" y="578"/>
                  </a:lnTo>
                  <a:lnTo>
                    <a:pt x="195" y="586"/>
                  </a:lnTo>
                  <a:lnTo>
                    <a:pt x="200" y="590"/>
                  </a:lnTo>
                  <a:lnTo>
                    <a:pt x="200" y="590"/>
                  </a:lnTo>
                  <a:lnTo>
                    <a:pt x="200" y="590"/>
                  </a:lnTo>
                  <a:lnTo>
                    <a:pt x="200" y="587"/>
                  </a:lnTo>
                  <a:lnTo>
                    <a:pt x="200" y="584"/>
                  </a:lnTo>
                  <a:lnTo>
                    <a:pt x="200" y="581"/>
                  </a:lnTo>
                  <a:lnTo>
                    <a:pt x="200" y="580"/>
                  </a:lnTo>
                  <a:lnTo>
                    <a:pt x="202" y="580"/>
                  </a:lnTo>
                  <a:lnTo>
                    <a:pt x="205" y="581"/>
                  </a:lnTo>
                  <a:lnTo>
                    <a:pt x="206" y="586"/>
                  </a:lnTo>
                  <a:lnTo>
                    <a:pt x="206" y="586"/>
                  </a:lnTo>
                  <a:lnTo>
                    <a:pt x="208" y="586"/>
                  </a:lnTo>
                  <a:lnTo>
                    <a:pt x="208" y="584"/>
                  </a:lnTo>
                  <a:lnTo>
                    <a:pt x="209" y="583"/>
                  </a:lnTo>
                  <a:lnTo>
                    <a:pt x="212" y="580"/>
                  </a:lnTo>
                  <a:lnTo>
                    <a:pt x="213" y="578"/>
                  </a:lnTo>
                  <a:lnTo>
                    <a:pt x="216" y="577"/>
                  </a:lnTo>
                  <a:lnTo>
                    <a:pt x="217" y="575"/>
                  </a:lnTo>
                  <a:lnTo>
                    <a:pt x="217" y="574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7" name="Freeform 51"/>
            <p:cNvSpPr>
              <a:spLocks/>
            </p:cNvSpPr>
            <p:nvPr/>
          </p:nvSpPr>
          <p:spPr bwMode="auto">
            <a:xfrm>
              <a:off x="2715281" y="4271618"/>
              <a:ext cx="215807" cy="295577"/>
            </a:xfrm>
            <a:custGeom>
              <a:avLst/>
              <a:gdLst>
                <a:gd name="T0" fmla="*/ 270 w 321"/>
                <a:gd name="T1" fmla="*/ 387 h 440"/>
                <a:gd name="T2" fmla="*/ 278 w 321"/>
                <a:gd name="T3" fmla="*/ 356 h 440"/>
                <a:gd name="T4" fmla="*/ 294 w 321"/>
                <a:gd name="T5" fmla="*/ 334 h 440"/>
                <a:gd name="T6" fmla="*/ 300 w 321"/>
                <a:gd name="T7" fmla="*/ 317 h 440"/>
                <a:gd name="T8" fmla="*/ 303 w 321"/>
                <a:gd name="T9" fmla="*/ 304 h 440"/>
                <a:gd name="T10" fmla="*/ 312 w 321"/>
                <a:gd name="T11" fmla="*/ 309 h 440"/>
                <a:gd name="T12" fmla="*/ 318 w 321"/>
                <a:gd name="T13" fmla="*/ 304 h 440"/>
                <a:gd name="T14" fmla="*/ 320 w 321"/>
                <a:gd name="T15" fmla="*/ 267 h 440"/>
                <a:gd name="T16" fmla="*/ 291 w 321"/>
                <a:gd name="T17" fmla="*/ 181 h 440"/>
                <a:gd name="T18" fmla="*/ 273 w 321"/>
                <a:gd name="T19" fmla="*/ 159 h 440"/>
                <a:gd name="T20" fmla="*/ 260 w 321"/>
                <a:gd name="T21" fmla="*/ 167 h 440"/>
                <a:gd name="T22" fmla="*/ 248 w 321"/>
                <a:gd name="T23" fmla="*/ 174 h 440"/>
                <a:gd name="T24" fmla="*/ 237 w 321"/>
                <a:gd name="T25" fmla="*/ 194 h 440"/>
                <a:gd name="T26" fmla="*/ 225 w 321"/>
                <a:gd name="T27" fmla="*/ 211 h 440"/>
                <a:gd name="T28" fmla="*/ 220 w 321"/>
                <a:gd name="T29" fmla="*/ 219 h 440"/>
                <a:gd name="T30" fmla="*/ 212 w 321"/>
                <a:gd name="T31" fmla="*/ 217 h 440"/>
                <a:gd name="T32" fmla="*/ 195 w 321"/>
                <a:gd name="T33" fmla="*/ 203 h 440"/>
                <a:gd name="T34" fmla="*/ 200 w 321"/>
                <a:gd name="T35" fmla="*/ 181 h 440"/>
                <a:gd name="T36" fmla="*/ 210 w 321"/>
                <a:gd name="T37" fmla="*/ 176 h 440"/>
                <a:gd name="T38" fmla="*/ 233 w 321"/>
                <a:gd name="T39" fmla="*/ 128 h 440"/>
                <a:gd name="T40" fmla="*/ 233 w 321"/>
                <a:gd name="T41" fmla="*/ 99 h 440"/>
                <a:gd name="T42" fmla="*/ 222 w 321"/>
                <a:gd name="T43" fmla="*/ 77 h 440"/>
                <a:gd name="T44" fmla="*/ 216 w 321"/>
                <a:gd name="T45" fmla="*/ 62 h 440"/>
                <a:gd name="T46" fmla="*/ 228 w 321"/>
                <a:gd name="T47" fmla="*/ 63 h 440"/>
                <a:gd name="T48" fmla="*/ 210 w 321"/>
                <a:gd name="T49" fmla="*/ 33 h 440"/>
                <a:gd name="T50" fmla="*/ 179 w 321"/>
                <a:gd name="T51" fmla="*/ 24 h 440"/>
                <a:gd name="T52" fmla="*/ 117 w 321"/>
                <a:gd name="T53" fmla="*/ 0 h 440"/>
                <a:gd name="T54" fmla="*/ 96 w 321"/>
                <a:gd name="T55" fmla="*/ 8 h 440"/>
                <a:gd name="T56" fmla="*/ 90 w 321"/>
                <a:gd name="T57" fmla="*/ 31 h 440"/>
                <a:gd name="T58" fmla="*/ 101 w 321"/>
                <a:gd name="T59" fmla="*/ 39 h 440"/>
                <a:gd name="T60" fmla="*/ 91 w 321"/>
                <a:gd name="T61" fmla="*/ 45 h 440"/>
                <a:gd name="T62" fmla="*/ 72 w 321"/>
                <a:gd name="T63" fmla="*/ 61 h 440"/>
                <a:gd name="T64" fmla="*/ 75 w 321"/>
                <a:gd name="T65" fmla="*/ 85 h 440"/>
                <a:gd name="T66" fmla="*/ 69 w 321"/>
                <a:gd name="T67" fmla="*/ 107 h 440"/>
                <a:gd name="T68" fmla="*/ 61 w 321"/>
                <a:gd name="T69" fmla="*/ 111 h 440"/>
                <a:gd name="T70" fmla="*/ 60 w 321"/>
                <a:gd name="T71" fmla="*/ 90 h 440"/>
                <a:gd name="T72" fmla="*/ 55 w 321"/>
                <a:gd name="T73" fmla="*/ 68 h 440"/>
                <a:gd name="T74" fmla="*/ 51 w 321"/>
                <a:gd name="T75" fmla="*/ 77 h 440"/>
                <a:gd name="T76" fmla="*/ 42 w 321"/>
                <a:gd name="T77" fmla="*/ 95 h 440"/>
                <a:gd name="T78" fmla="*/ 32 w 321"/>
                <a:gd name="T79" fmla="*/ 96 h 440"/>
                <a:gd name="T80" fmla="*/ 27 w 321"/>
                <a:gd name="T81" fmla="*/ 102 h 440"/>
                <a:gd name="T82" fmla="*/ 25 w 321"/>
                <a:gd name="T83" fmla="*/ 118 h 440"/>
                <a:gd name="T84" fmla="*/ 14 w 321"/>
                <a:gd name="T85" fmla="*/ 134 h 440"/>
                <a:gd name="T86" fmla="*/ 16 w 321"/>
                <a:gd name="T87" fmla="*/ 153 h 440"/>
                <a:gd name="T88" fmla="*/ 8 w 321"/>
                <a:gd name="T89" fmla="*/ 181 h 440"/>
                <a:gd name="T90" fmla="*/ 2 w 321"/>
                <a:gd name="T91" fmla="*/ 197 h 440"/>
                <a:gd name="T92" fmla="*/ 8 w 321"/>
                <a:gd name="T93" fmla="*/ 222 h 440"/>
                <a:gd name="T94" fmla="*/ 2 w 321"/>
                <a:gd name="T95" fmla="*/ 234 h 440"/>
                <a:gd name="T96" fmla="*/ 14 w 321"/>
                <a:gd name="T97" fmla="*/ 263 h 440"/>
                <a:gd name="T98" fmla="*/ 25 w 321"/>
                <a:gd name="T99" fmla="*/ 282 h 440"/>
                <a:gd name="T100" fmla="*/ 36 w 321"/>
                <a:gd name="T101" fmla="*/ 321 h 440"/>
                <a:gd name="T102" fmla="*/ 35 w 321"/>
                <a:gd name="T103" fmla="*/ 369 h 440"/>
                <a:gd name="T104" fmla="*/ 22 w 321"/>
                <a:gd name="T105" fmla="*/ 400 h 440"/>
                <a:gd name="T106" fmla="*/ 19 w 321"/>
                <a:gd name="T107" fmla="*/ 419 h 440"/>
                <a:gd name="T108" fmla="*/ 2 w 321"/>
                <a:gd name="T109" fmla="*/ 438 h 440"/>
                <a:gd name="T110" fmla="*/ 257 w 321"/>
                <a:gd name="T111" fmla="*/ 419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1" h="440">
                  <a:moveTo>
                    <a:pt x="257" y="419"/>
                  </a:moveTo>
                  <a:lnTo>
                    <a:pt x="257" y="413"/>
                  </a:lnTo>
                  <a:lnTo>
                    <a:pt x="260" y="406"/>
                  </a:lnTo>
                  <a:lnTo>
                    <a:pt x="263" y="399"/>
                  </a:lnTo>
                  <a:lnTo>
                    <a:pt x="266" y="393"/>
                  </a:lnTo>
                  <a:lnTo>
                    <a:pt x="270" y="387"/>
                  </a:lnTo>
                  <a:lnTo>
                    <a:pt x="275" y="383"/>
                  </a:lnTo>
                  <a:lnTo>
                    <a:pt x="276" y="380"/>
                  </a:lnTo>
                  <a:lnTo>
                    <a:pt x="278" y="378"/>
                  </a:lnTo>
                  <a:lnTo>
                    <a:pt x="276" y="370"/>
                  </a:lnTo>
                  <a:lnTo>
                    <a:pt x="276" y="363"/>
                  </a:lnTo>
                  <a:lnTo>
                    <a:pt x="278" y="356"/>
                  </a:lnTo>
                  <a:lnTo>
                    <a:pt x="279" y="351"/>
                  </a:lnTo>
                  <a:lnTo>
                    <a:pt x="282" y="347"/>
                  </a:lnTo>
                  <a:lnTo>
                    <a:pt x="285" y="344"/>
                  </a:lnTo>
                  <a:lnTo>
                    <a:pt x="287" y="343"/>
                  </a:lnTo>
                  <a:lnTo>
                    <a:pt x="288" y="343"/>
                  </a:lnTo>
                  <a:lnTo>
                    <a:pt x="294" y="334"/>
                  </a:lnTo>
                  <a:lnTo>
                    <a:pt x="296" y="326"/>
                  </a:lnTo>
                  <a:lnTo>
                    <a:pt x="296" y="324"/>
                  </a:lnTo>
                  <a:lnTo>
                    <a:pt x="296" y="323"/>
                  </a:lnTo>
                  <a:lnTo>
                    <a:pt x="297" y="321"/>
                  </a:lnTo>
                  <a:lnTo>
                    <a:pt x="297" y="320"/>
                  </a:lnTo>
                  <a:lnTo>
                    <a:pt x="300" y="317"/>
                  </a:lnTo>
                  <a:lnTo>
                    <a:pt x="300" y="314"/>
                  </a:lnTo>
                  <a:lnTo>
                    <a:pt x="300" y="314"/>
                  </a:lnTo>
                  <a:lnTo>
                    <a:pt x="299" y="313"/>
                  </a:lnTo>
                  <a:lnTo>
                    <a:pt x="300" y="309"/>
                  </a:lnTo>
                  <a:lnTo>
                    <a:pt x="300" y="306"/>
                  </a:lnTo>
                  <a:lnTo>
                    <a:pt x="303" y="304"/>
                  </a:lnTo>
                  <a:lnTo>
                    <a:pt x="305" y="304"/>
                  </a:lnTo>
                  <a:lnTo>
                    <a:pt x="308" y="303"/>
                  </a:lnTo>
                  <a:lnTo>
                    <a:pt x="309" y="304"/>
                  </a:lnTo>
                  <a:lnTo>
                    <a:pt x="311" y="304"/>
                  </a:lnTo>
                  <a:lnTo>
                    <a:pt x="312" y="304"/>
                  </a:lnTo>
                  <a:lnTo>
                    <a:pt x="312" y="309"/>
                  </a:lnTo>
                  <a:lnTo>
                    <a:pt x="314" y="310"/>
                  </a:lnTo>
                  <a:lnTo>
                    <a:pt x="315" y="310"/>
                  </a:lnTo>
                  <a:lnTo>
                    <a:pt x="315" y="309"/>
                  </a:lnTo>
                  <a:lnTo>
                    <a:pt x="317" y="307"/>
                  </a:lnTo>
                  <a:lnTo>
                    <a:pt x="317" y="306"/>
                  </a:lnTo>
                  <a:lnTo>
                    <a:pt x="318" y="304"/>
                  </a:lnTo>
                  <a:lnTo>
                    <a:pt x="318" y="304"/>
                  </a:lnTo>
                  <a:lnTo>
                    <a:pt x="320" y="267"/>
                  </a:lnTo>
                  <a:lnTo>
                    <a:pt x="320" y="267"/>
                  </a:lnTo>
                  <a:lnTo>
                    <a:pt x="320" y="269"/>
                  </a:lnTo>
                  <a:lnTo>
                    <a:pt x="320" y="269"/>
                  </a:lnTo>
                  <a:lnTo>
                    <a:pt x="320" y="267"/>
                  </a:lnTo>
                  <a:lnTo>
                    <a:pt x="315" y="247"/>
                  </a:lnTo>
                  <a:lnTo>
                    <a:pt x="309" y="228"/>
                  </a:lnTo>
                  <a:lnTo>
                    <a:pt x="305" y="214"/>
                  </a:lnTo>
                  <a:lnTo>
                    <a:pt x="300" y="200"/>
                  </a:lnTo>
                  <a:lnTo>
                    <a:pt x="296" y="189"/>
                  </a:lnTo>
                  <a:lnTo>
                    <a:pt x="291" y="181"/>
                  </a:lnTo>
                  <a:lnTo>
                    <a:pt x="288" y="174"/>
                  </a:lnTo>
                  <a:lnTo>
                    <a:pt x="285" y="168"/>
                  </a:lnTo>
                  <a:lnTo>
                    <a:pt x="282" y="165"/>
                  </a:lnTo>
                  <a:lnTo>
                    <a:pt x="279" y="162"/>
                  </a:lnTo>
                  <a:lnTo>
                    <a:pt x="276" y="161"/>
                  </a:lnTo>
                  <a:lnTo>
                    <a:pt x="273" y="159"/>
                  </a:lnTo>
                  <a:lnTo>
                    <a:pt x="272" y="159"/>
                  </a:lnTo>
                  <a:lnTo>
                    <a:pt x="269" y="161"/>
                  </a:lnTo>
                  <a:lnTo>
                    <a:pt x="267" y="161"/>
                  </a:lnTo>
                  <a:lnTo>
                    <a:pt x="266" y="162"/>
                  </a:lnTo>
                  <a:lnTo>
                    <a:pt x="263" y="164"/>
                  </a:lnTo>
                  <a:lnTo>
                    <a:pt x="260" y="167"/>
                  </a:lnTo>
                  <a:lnTo>
                    <a:pt x="256" y="168"/>
                  </a:lnTo>
                  <a:lnTo>
                    <a:pt x="254" y="170"/>
                  </a:lnTo>
                  <a:lnTo>
                    <a:pt x="251" y="171"/>
                  </a:lnTo>
                  <a:lnTo>
                    <a:pt x="249" y="173"/>
                  </a:lnTo>
                  <a:lnTo>
                    <a:pt x="248" y="173"/>
                  </a:lnTo>
                  <a:lnTo>
                    <a:pt x="248" y="174"/>
                  </a:lnTo>
                  <a:lnTo>
                    <a:pt x="243" y="177"/>
                  </a:lnTo>
                  <a:lnTo>
                    <a:pt x="240" y="184"/>
                  </a:lnTo>
                  <a:lnTo>
                    <a:pt x="240" y="184"/>
                  </a:lnTo>
                  <a:lnTo>
                    <a:pt x="240" y="187"/>
                  </a:lnTo>
                  <a:lnTo>
                    <a:pt x="239" y="189"/>
                  </a:lnTo>
                  <a:lnTo>
                    <a:pt x="237" y="194"/>
                  </a:lnTo>
                  <a:lnTo>
                    <a:pt x="234" y="197"/>
                  </a:lnTo>
                  <a:lnTo>
                    <a:pt x="233" y="201"/>
                  </a:lnTo>
                  <a:lnTo>
                    <a:pt x="230" y="204"/>
                  </a:lnTo>
                  <a:lnTo>
                    <a:pt x="227" y="204"/>
                  </a:lnTo>
                  <a:lnTo>
                    <a:pt x="227" y="208"/>
                  </a:lnTo>
                  <a:lnTo>
                    <a:pt x="225" y="211"/>
                  </a:lnTo>
                  <a:lnTo>
                    <a:pt x="224" y="214"/>
                  </a:lnTo>
                  <a:lnTo>
                    <a:pt x="223" y="216"/>
                  </a:lnTo>
                  <a:lnTo>
                    <a:pt x="222" y="217"/>
                  </a:lnTo>
                  <a:lnTo>
                    <a:pt x="220" y="219"/>
                  </a:lnTo>
                  <a:lnTo>
                    <a:pt x="220" y="219"/>
                  </a:lnTo>
                  <a:lnTo>
                    <a:pt x="220" y="219"/>
                  </a:lnTo>
                  <a:lnTo>
                    <a:pt x="220" y="219"/>
                  </a:lnTo>
                  <a:lnTo>
                    <a:pt x="219" y="219"/>
                  </a:lnTo>
                  <a:lnTo>
                    <a:pt x="216" y="219"/>
                  </a:lnTo>
                  <a:lnTo>
                    <a:pt x="215" y="217"/>
                  </a:lnTo>
                  <a:lnTo>
                    <a:pt x="213" y="217"/>
                  </a:lnTo>
                  <a:lnTo>
                    <a:pt x="212" y="217"/>
                  </a:lnTo>
                  <a:lnTo>
                    <a:pt x="209" y="216"/>
                  </a:lnTo>
                  <a:lnTo>
                    <a:pt x="209" y="216"/>
                  </a:lnTo>
                  <a:lnTo>
                    <a:pt x="201" y="216"/>
                  </a:lnTo>
                  <a:lnTo>
                    <a:pt x="198" y="211"/>
                  </a:lnTo>
                  <a:lnTo>
                    <a:pt x="195" y="207"/>
                  </a:lnTo>
                  <a:lnTo>
                    <a:pt x="195" y="203"/>
                  </a:lnTo>
                  <a:lnTo>
                    <a:pt x="195" y="197"/>
                  </a:lnTo>
                  <a:lnTo>
                    <a:pt x="197" y="192"/>
                  </a:lnTo>
                  <a:lnTo>
                    <a:pt x="197" y="189"/>
                  </a:lnTo>
                  <a:lnTo>
                    <a:pt x="198" y="188"/>
                  </a:lnTo>
                  <a:lnTo>
                    <a:pt x="198" y="184"/>
                  </a:lnTo>
                  <a:lnTo>
                    <a:pt x="200" y="181"/>
                  </a:lnTo>
                  <a:lnTo>
                    <a:pt x="201" y="180"/>
                  </a:lnTo>
                  <a:lnTo>
                    <a:pt x="204" y="178"/>
                  </a:lnTo>
                  <a:lnTo>
                    <a:pt x="206" y="177"/>
                  </a:lnTo>
                  <a:lnTo>
                    <a:pt x="209" y="177"/>
                  </a:lnTo>
                  <a:lnTo>
                    <a:pt x="210" y="176"/>
                  </a:lnTo>
                  <a:lnTo>
                    <a:pt x="210" y="176"/>
                  </a:lnTo>
                  <a:lnTo>
                    <a:pt x="219" y="167"/>
                  </a:lnTo>
                  <a:lnTo>
                    <a:pt x="222" y="148"/>
                  </a:lnTo>
                  <a:lnTo>
                    <a:pt x="233" y="138"/>
                  </a:lnTo>
                  <a:lnTo>
                    <a:pt x="233" y="137"/>
                  </a:lnTo>
                  <a:lnTo>
                    <a:pt x="233" y="134"/>
                  </a:lnTo>
                  <a:lnTo>
                    <a:pt x="233" y="128"/>
                  </a:lnTo>
                  <a:lnTo>
                    <a:pt x="233" y="124"/>
                  </a:lnTo>
                  <a:lnTo>
                    <a:pt x="233" y="118"/>
                  </a:lnTo>
                  <a:lnTo>
                    <a:pt x="233" y="113"/>
                  </a:lnTo>
                  <a:lnTo>
                    <a:pt x="233" y="108"/>
                  </a:lnTo>
                  <a:lnTo>
                    <a:pt x="233" y="107"/>
                  </a:lnTo>
                  <a:lnTo>
                    <a:pt x="233" y="99"/>
                  </a:lnTo>
                  <a:lnTo>
                    <a:pt x="231" y="93"/>
                  </a:lnTo>
                  <a:lnTo>
                    <a:pt x="230" y="88"/>
                  </a:lnTo>
                  <a:lnTo>
                    <a:pt x="227" y="84"/>
                  </a:lnTo>
                  <a:lnTo>
                    <a:pt x="225" y="81"/>
                  </a:lnTo>
                  <a:lnTo>
                    <a:pt x="223" y="78"/>
                  </a:lnTo>
                  <a:lnTo>
                    <a:pt x="222" y="77"/>
                  </a:lnTo>
                  <a:lnTo>
                    <a:pt x="220" y="75"/>
                  </a:lnTo>
                  <a:lnTo>
                    <a:pt x="216" y="72"/>
                  </a:lnTo>
                  <a:lnTo>
                    <a:pt x="215" y="69"/>
                  </a:lnTo>
                  <a:lnTo>
                    <a:pt x="215" y="66"/>
                  </a:lnTo>
                  <a:lnTo>
                    <a:pt x="215" y="63"/>
                  </a:lnTo>
                  <a:lnTo>
                    <a:pt x="216" y="62"/>
                  </a:lnTo>
                  <a:lnTo>
                    <a:pt x="218" y="61"/>
                  </a:lnTo>
                  <a:lnTo>
                    <a:pt x="219" y="60"/>
                  </a:lnTo>
                  <a:lnTo>
                    <a:pt x="220" y="60"/>
                  </a:lnTo>
                  <a:lnTo>
                    <a:pt x="224" y="63"/>
                  </a:lnTo>
                  <a:lnTo>
                    <a:pt x="227" y="63"/>
                  </a:lnTo>
                  <a:lnTo>
                    <a:pt x="228" y="63"/>
                  </a:lnTo>
                  <a:lnTo>
                    <a:pt x="228" y="62"/>
                  </a:lnTo>
                  <a:lnTo>
                    <a:pt x="228" y="61"/>
                  </a:lnTo>
                  <a:lnTo>
                    <a:pt x="227" y="60"/>
                  </a:lnTo>
                  <a:lnTo>
                    <a:pt x="227" y="58"/>
                  </a:lnTo>
                  <a:lnTo>
                    <a:pt x="225" y="57"/>
                  </a:lnTo>
                  <a:lnTo>
                    <a:pt x="210" y="33"/>
                  </a:lnTo>
                  <a:lnTo>
                    <a:pt x="203" y="32"/>
                  </a:lnTo>
                  <a:lnTo>
                    <a:pt x="195" y="31"/>
                  </a:lnTo>
                  <a:lnTo>
                    <a:pt x="190" y="30"/>
                  </a:lnTo>
                  <a:lnTo>
                    <a:pt x="186" y="28"/>
                  </a:lnTo>
                  <a:lnTo>
                    <a:pt x="182" y="27"/>
                  </a:lnTo>
                  <a:lnTo>
                    <a:pt x="179" y="24"/>
                  </a:lnTo>
                  <a:lnTo>
                    <a:pt x="177" y="22"/>
                  </a:lnTo>
                  <a:lnTo>
                    <a:pt x="176" y="22"/>
                  </a:lnTo>
                  <a:lnTo>
                    <a:pt x="162" y="22"/>
                  </a:lnTo>
                  <a:lnTo>
                    <a:pt x="151" y="9"/>
                  </a:lnTo>
                  <a:lnTo>
                    <a:pt x="128" y="8"/>
                  </a:lnTo>
                  <a:lnTo>
                    <a:pt x="117" y="0"/>
                  </a:lnTo>
                  <a:lnTo>
                    <a:pt x="110" y="0"/>
                  </a:lnTo>
                  <a:lnTo>
                    <a:pt x="105" y="2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6" y="5"/>
                  </a:lnTo>
                  <a:lnTo>
                    <a:pt x="96" y="8"/>
                  </a:lnTo>
                  <a:lnTo>
                    <a:pt x="96" y="9"/>
                  </a:lnTo>
                  <a:lnTo>
                    <a:pt x="91" y="14"/>
                  </a:lnTo>
                  <a:lnTo>
                    <a:pt x="88" y="18"/>
                  </a:lnTo>
                  <a:lnTo>
                    <a:pt x="87" y="22"/>
                  </a:lnTo>
                  <a:lnTo>
                    <a:pt x="88" y="27"/>
                  </a:lnTo>
                  <a:lnTo>
                    <a:pt x="90" y="31"/>
                  </a:lnTo>
                  <a:lnTo>
                    <a:pt x="93" y="33"/>
                  </a:lnTo>
                  <a:lnTo>
                    <a:pt x="94" y="35"/>
                  </a:lnTo>
                  <a:lnTo>
                    <a:pt x="96" y="36"/>
                  </a:lnTo>
                  <a:lnTo>
                    <a:pt x="98" y="36"/>
                  </a:lnTo>
                  <a:lnTo>
                    <a:pt x="101" y="38"/>
                  </a:lnTo>
                  <a:lnTo>
                    <a:pt x="101" y="39"/>
                  </a:lnTo>
                  <a:lnTo>
                    <a:pt x="101" y="41"/>
                  </a:lnTo>
                  <a:lnTo>
                    <a:pt x="101" y="42"/>
                  </a:lnTo>
                  <a:lnTo>
                    <a:pt x="99" y="44"/>
                  </a:lnTo>
                  <a:lnTo>
                    <a:pt x="98" y="44"/>
                  </a:lnTo>
                  <a:lnTo>
                    <a:pt x="98" y="45"/>
                  </a:lnTo>
                  <a:lnTo>
                    <a:pt x="91" y="45"/>
                  </a:lnTo>
                  <a:lnTo>
                    <a:pt x="85" y="47"/>
                  </a:lnTo>
                  <a:lnTo>
                    <a:pt x="81" y="50"/>
                  </a:lnTo>
                  <a:lnTo>
                    <a:pt x="77" y="52"/>
                  </a:lnTo>
                  <a:lnTo>
                    <a:pt x="75" y="57"/>
                  </a:lnTo>
                  <a:lnTo>
                    <a:pt x="72" y="60"/>
                  </a:lnTo>
                  <a:lnTo>
                    <a:pt x="72" y="61"/>
                  </a:lnTo>
                  <a:lnTo>
                    <a:pt x="72" y="62"/>
                  </a:lnTo>
                  <a:lnTo>
                    <a:pt x="74" y="66"/>
                  </a:lnTo>
                  <a:lnTo>
                    <a:pt x="74" y="72"/>
                  </a:lnTo>
                  <a:lnTo>
                    <a:pt x="75" y="77"/>
                  </a:lnTo>
                  <a:lnTo>
                    <a:pt x="75" y="81"/>
                  </a:lnTo>
                  <a:lnTo>
                    <a:pt x="75" y="85"/>
                  </a:lnTo>
                  <a:lnTo>
                    <a:pt x="75" y="90"/>
                  </a:lnTo>
                  <a:lnTo>
                    <a:pt x="74" y="93"/>
                  </a:lnTo>
                  <a:lnTo>
                    <a:pt x="72" y="96"/>
                  </a:lnTo>
                  <a:lnTo>
                    <a:pt x="72" y="99"/>
                  </a:lnTo>
                  <a:lnTo>
                    <a:pt x="71" y="104"/>
                  </a:lnTo>
                  <a:lnTo>
                    <a:pt x="69" y="107"/>
                  </a:lnTo>
                  <a:lnTo>
                    <a:pt x="69" y="108"/>
                  </a:lnTo>
                  <a:lnTo>
                    <a:pt x="68" y="111"/>
                  </a:lnTo>
                  <a:lnTo>
                    <a:pt x="6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61" y="111"/>
                  </a:lnTo>
                  <a:lnTo>
                    <a:pt x="55" y="110"/>
                  </a:lnTo>
                  <a:lnTo>
                    <a:pt x="55" y="108"/>
                  </a:lnTo>
                  <a:lnTo>
                    <a:pt x="57" y="105"/>
                  </a:lnTo>
                  <a:lnTo>
                    <a:pt x="57" y="99"/>
                  </a:lnTo>
                  <a:lnTo>
                    <a:pt x="58" y="95"/>
                  </a:lnTo>
                  <a:lnTo>
                    <a:pt x="60" y="90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8"/>
                  </a:lnTo>
                  <a:lnTo>
                    <a:pt x="58" y="72"/>
                  </a:lnTo>
                  <a:lnTo>
                    <a:pt x="57" y="69"/>
                  </a:lnTo>
                  <a:lnTo>
                    <a:pt x="55" y="68"/>
                  </a:lnTo>
                  <a:lnTo>
                    <a:pt x="54" y="69"/>
                  </a:lnTo>
                  <a:lnTo>
                    <a:pt x="54" y="71"/>
                  </a:lnTo>
                  <a:lnTo>
                    <a:pt x="52" y="74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1" y="77"/>
                  </a:lnTo>
                  <a:lnTo>
                    <a:pt x="51" y="78"/>
                  </a:lnTo>
                  <a:lnTo>
                    <a:pt x="49" y="82"/>
                  </a:lnTo>
                  <a:lnTo>
                    <a:pt x="47" y="85"/>
                  </a:lnTo>
                  <a:lnTo>
                    <a:pt x="45" y="90"/>
                  </a:lnTo>
                  <a:lnTo>
                    <a:pt x="44" y="93"/>
                  </a:lnTo>
                  <a:lnTo>
                    <a:pt x="42" y="95"/>
                  </a:lnTo>
                  <a:lnTo>
                    <a:pt x="41" y="95"/>
                  </a:lnTo>
                  <a:lnTo>
                    <a:pt x="36" y="94"/>
                  </a:lnTo>
                  <a:lnTo>
                    <a:pt x="33" y="94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2"/>
                  </a:lnTo>
                  <a:lnTo>
                    <a:pt x="27" y="105"/>
                  </a:lnTo>
                  <a:lnTo>
                    <a:pt x="25" y="108"/>
                  </a:lnTo>
                  <a:lnTo>
                    <a:pt x="25" y="113"/>
                  </a:lnTo>
                  <a:lnTo>
                    <a:pt x="25" y="115"/>
                  </a:lnTo>
                  <a:lnTo>
                    <a:pt x="25" y="117"/>
                  </a:lnTo>
                  <a:lnTo>
                    <a:pt x="25" y="118"/>
                  </a:lnTo>
                  <a:lnTo>
                    <a:pt x="19" y="121"/>
                  </a:lnTo>
                  <a:lnTo>
                    <a:pt x="16" y="124"/>
                  </a:lnTo>
                  <a:lnTo>
                    <a:pt x="15" y="126"/>
                  </a:lnTo>
                  <a:lnTo>
                    <a:pt x="14" y="128"/>
                  </a:lnTo>
                  <a:lnTo>
                    <a:pt x="12" y="131"/>
                  </a:lnTo>
                  <a:lnTo>
                    <a:pt x="14" y="134"/>
                  </a:lnTo>
                  <a:lnTo>
                    <a:pt x="14" y="135"/>
                  </a:lnTo>
                  <a:lnTo>
                    <a:pt x="15" y="137"/>
                  </a:lnTo>
                  <a:lnTo>
                    <a:pt x="16" y="140"/>
                  </a:lnTo>
                  <a:lnTo>
                    <a:pt x="16" y="144"/>
                  </a:lnTo>
                  <a:lnTo>
                    <a:pt x="16" y="148"/>
                  </a:lnTo>
                  <a:lnTo>
                    <a:pt x="16" y="153"/>
                  </a:lnTo>
                  <a:lnTo>
                    <a:pt x="15" y="156"/>
                  </a:lnTo>
                  <a:lnTo>
                    <a:pt x="14" y="162"/>
                  </a:lnTo>
                  <a:lnTo>
                    <a:pt x="12" y="167"/>
                  </a:lnTo>
                  <a:lnTo>
                    <a:pt x="11" y="171"/>
                  </a:lnTo>
                  <a:lnTo>
                    <a:pt x="9" y="177"/>
                  </a:lnTo>
                  <a:lnTo>
                    <a:pt x="8" y="181"/>
                  </a:lnTo>
                  <a:lnTo>
                    <a:pt x="6" y="186"/>
                  </a:lnTo>
                  <a:lnTo>
                    <a:pt x="5" y="189"/>
                  </a:lnTo>
                  <a:lnTo>
                    <a:pt x="3" y="192"/>
                  </a:lnTo>
                  <a:lnTo>
                    <a:pt x="2" y="195"/>
                  </a:lnTo>
                  <a:lnTo>
                    <a:pt x="2" y="197"/>
                  </a:lnTo>
                  <a:lnTo>
                    <a:pt x="2" y="197"/>
                  </a:lnTo>
                  <a:lnTo>
                    <a:pt x="3" y="201"/>
                  </a:lnTo>
                  <a:lnTo>
                    <a:pt x="5" y="207"/>
                  </a:lnTo>
                  <a:lnTo>
                    <a:pt x="6" y="211"/>
                  </a:lnTo>
                  <a:lnTo>
                    <a:pt x="6" y="216"/>
                  </a:lnTo>
                  <a:lnTo>
                    <a:pt x="8" y="219"/>
                  </a:lnTo>
                  <a:lnTo>
                    <a:pt x="8" y="222"/>
                  </a:lnTo>
                  <a:lnTo>
                    <a:pt x="8" y="225"/>
                  </a:lnTo>
                  <a:lnTo>
                    <a:pt x="8" y="225"/>
                  </a:lnTo>
                  <a:lnTo>
                    <a:pt x="5" y="227"/>
                  </a:lnTo>
                  <a:lnTo>
                    <a:pt x="3" y="228"/>
                  </a:lnTo>
                  <a:lnTo>
                    <a:pt x="2" y="231"/>
                  </a:lnTo>
                  <a:lnTo>
                    <a:pt x="2" y="234"/>
                  </a:lnTo>
                  <a:lnTo>
                    <a:pt x="3" y="239"/>
                  </a:lnTo>
                  <a:lnTo>
                    <a:pt x="5" y="243"/>
                  </a:lnTo>
                  <a:lnTo>
                    <a:pt x="6" y="249"/>
                  </a:lnTo>
                  <a:lnTo>
                    <a:pt x="9" y="252"/>
                  </a:lnTo>
                  <a:lnTo>
                    <a:pt x="12" y="258"/>
                  </a:lnTo>
                  <a:lnTo>
                    <a:pt x="14" y="263"/>
                  </a:lnTo>
                  <a:lnTo>
                    <a:pt x="16" y="269"/>
                  </a:lnTo>
                  <a:lnTo>
                    <a:pt x="19" y="273"/>
                  </a:lnTo>
                  <a:lnTo>
                    <a:pt x="21" y="276"/>
                  </a:lnTo>
                  <a:lnTo>
                    <a:pt x="22" y="279"/>
                  </a:lnTo>
                  <a:lnTo>
                    <a:pt x="24" y="282"/>
                  </a:lnTo>
                  <a:lnTo>
                    <a:pt x="25" y="282"/>
                  </a:lnTo>
                  <a:lnTo>
                    <a:pt x="28" y="285"/>
                  </a:lnTo>
                  <a:lnTo>
                    <a:pt x="31" y="291"/>
                  </a:lnTo>
                  <a:lnTo>
                    <a:pt x="32" y="299"/>
                  </a:lnTo>
                  <a:lnTo>
                    <a:pt x="35" y="306"/>
                  </a:lnTo>
                  <a:lnTo>
                    <a:pt x="35" y="313"/>
                  </a:lnTo>
                  <a:lnTo>
                    <a:pt x="36" y="321"/>
                  </a:lnTo>
                  <a:lnTo>
                    <a:pt x="36" y="330"/>
                  </a:lnTo>
                  <a:lnTo>
                    <a:pt x="36" y="339"/>
                  </a:lnTo>
                  <a:lnTo>
                    <a:pt x="36" y="347"/>
                  </a:lnTo>
                  <a:lnTo>
                    <a:pt x="36" y="354"/>
                  </a:lnTo>
                  <a:lnTo>
                    <a:pt x="36" y="362"/>
                  </a:lnTo>
                  <a:lnTo>
                    <a:pt x="35" y="369"/>
                  </a:lnTo>
                  <a:lnTo>
                    <a:pt x="35" y="373"/>
                  </a:lnTo>
                  <a:lnTo>
                    <a:pt x="33" y="377"/>
                  </a:lnTo>
                  <a:lnTo>
                    <a:pt x="33" y="380"/>
                  </a:lnTo>
                  <a:lnTo>
                    <a:pt x="33" y="381"/>
                  </a:lnTo>
                  <a:lnTo>
                    <a:pt x="27" y="392"/>
                  </a:lnTo>
                  <a:lnTo>
                    <a:pt x="22" y="400"/>
                  </a:lnTo>
                  <a:lnTo>
                    <a:pt x="19" y="406"/>
                  </a:lnTo>
                  <a:lnTo>
                    <a:pt x="19" y="411"/>
                  </a:lnTo>
                  <a:lnTo>
                    <a:pt x="19" y="414"/>
                  </a:lnTo>
                  <a:lnTo>
                    <a:pt x="19" y="417"/>
                  </a:lnTo>
                  <a:lnTo>
                    <a:pt x="19" y="419"/>
                  </a:lnTo>
                  <a:lnTo>
                    <a:pt x="19" y="419"/>
                  </a:lnTo>
                  <a:lnTo>
                    <a:pt x="15" y="425"/>
                  </a:lnTo>
                  <a:lnTo>
                    <a:pt x="12" y="428"/>
                  </a:lnTo>
                  <a:lnTo>
                    <a:pt x="9" y="432"/>
                  </a:lnTo>
                  <a:lnTo>
                    <a:pt x="6" y="433"/>
                  </a:lnTo>
                  <a:lnTo>
                    <a:pt x="5" y="436"/>
                  </a:lnTo>
                  <a:lnTo>
                    <a:pt x="2" y="438"/>
                  </a:lnTo>
                  <a:lnTo>
                    <a:pt x="2" y="439"/>
                  </a:lnTo>
                  <a:lnTo>
                    <a:pt x="0" y="439"/>
                  </a:lnTo>
                  <a:lnTo>
                    <a:pt x="0" y="439"/>
                  </a:lnTo>
                  <a:lnTo>
                    <a:pt x="156" y="420"/>
                  </a:lnTo>
                  <a:lnTo>
                    <a:pt x="159" y="435"/>
                  </a:lnTo>
                  <a:lnTo>
                    <a:pt x="257" y="41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" name="Freeform 52"/>
            <p:cNvSpPr>
              <a:spLocks/>
            </p:cNvSpPr>
            <p:nvPr/>
          </p:nvSpPr>
          <p:spPr bwMode="auto">
            <a:xfrm>
              <a:off x="2715281" y="4271618"/>
              <a:ext cx="215807" cy="295577"/>
            </a:xfrm>
            <a:custGeom>
              <a:avLst/>
              <a:gdLst>
                <a:gd name="T0" fmla="*/ 266 w 321"/>
                <a:gd name="T1" fmla="*/ 393 h 440"/>
                <a:gd name="T2" fmla="*/ 276 w 321"/>
                <a:gd name="T3" fmla="*/ 370 h 440"/>
                <a:gd name="T4" fmla="*/ 287 w 321"/>
                <a:gd name="T5" fmla="*/ 343 h 440"/>
                <a:gd name="T6" fmla="*/ 296 w 321"/>
                <a:gd name="T7" fmla="*/ 323 h 440"/>
                <a:gd name="T8" fmla="*/ 300 w 321"/>
                <a:gd name="T9" fmla="*/ 314 h 440"/>
                <a:gd name="T10" fmla="*/ 305 w 321"/>
                <a:gd name="T11" fmla="*/ 304 h 440"/>
                <a:gd name="T12" fmla="*/ 312 w 321"/>
                <a:gd name="T13" fmla="*/ 309 h 440"/>
                <a:gd name="T14" fmla="*/ 318 w 321"/>
                <a:gd name="T15" fmla="*/ 304 h 440"/>
                <a:gd name="T16" fmla="*/ 320 w 321"/>
                <a:gd name="T17" fmla="*/ 269 h 440"/>
                <a:gd name="T18" fmla="*/ 300 w 321"/>
                <a:gd name="T19" fmla="*/ 200 h 440"/>
                <a:gd name="T20" fmla="*/ 279 w 321"/>
                <a:gd name="T21" fmla="*/ 162 h 440"/>
                <a:gd name="T22" fmla="*/ 266 w 321"/>
                <a:gd name="T23" fmla="*/ 162 h 440"/>
                <a:gd name="T24" fmla="*/ 251 w 321"/>
                <a:gd name="T25" fmla="*/ 171 h 440"/>
                <a:gd name="T26" fmla="*/ 240 w 321"/>
                <a:gd name="T27" fmla="*/ 184 h 440"/>
                <a:gd name="T28" fmla="*/ 233 w 321"/>
                <a:gd name="T29" fmla="*/ 201 h 440"/>
                <a:gd name="T30" fmla="*/ 224 w 321"/>
                <a:gd name="T31" fmla="*/ 214 h 440"/>
                <a:gd name="T32" fmla="*/ 220 w 321"/>
                <a:gd name="T33" fmla="*/ 219 h 440"/>
                <a:gd name="T34" fmla="*/ 212 w 321"/>
                <a:gd name="T35" fmla="*/ 217 h 440"/>
                <a:gd name="T36" fmla="*/ 195 w 321"/>
                <a:gd name="T37" fmla="*/ 207 h 440"/>
                <a:gd name="T38" fmla="*/ 198 w 321"/>
                <a:gd name="T39" fmla="*/ 188 h 440"/>
                <a:gd name="T40" fmla="*/ 209 w 321"/>
                <a:gd name="T41" fmla="*/ 177 h 440"/>
                <a:gd name="T42" fmla="*/ 233 w 321"/>
                <a:gd name="T43" fmla="*/ 138 h 440"/>
                <a:gd name="T44" fmla="*/ 233 w 321"/>
                <a:gd name="T45" fmla="*/ 113 h 440"/>
                <a:gd name="T46" fmla="*/ 230 w 321"/>
                <a:gd name="T47" fmla="*/ 88 h 440"/>
                <a:gd name="T48" fmla="*/ 220 w 321"/>
                <a:gd name="T49" fmla="*/ 75 h 440"/>
                <a:gd name="T50" fmla="*/ 218 w 321"/>
                <a:gd name="T51" fmla="*/ 61 h 440"/>
                <a:gd name="T52" fmla="*/ 228 w 321"/>
                <a:gd name="T53" fmla="*/ 63 h 440"/>
                <a:gd name="T54" fmla="*/ 210 w 321"/>
                <a:gd name="T55" fmla="*/ 33 h 440"/>
                <a:gd name="T56" fmla="*/ 182 w 321"/>
                <a:gd name="T57" fmla="*/ 27 h 440"/>
                <a:gd name="T58" fmla="*/ 128 w 321"/>
                <a:gd name="T59" fmla="*/ 8 h 440"/>
                <a:gd name="T60" fmla="*/ 96 w 321"/>
                <a:gd name="T61" fmla="*/ 2 h 440"/>
                <a:gd name="T62" fmla="*/ 88 w 321"/>
                <a:gd name="T63" fmla="*/ 18 h 440"/>
                <a:gd name="T64" fmla="*/ 96 w 321"/>
                <a:gd name="T65" fmla="*/ 36 h 440"/>
                <a:gd name="T66" fmla="*/ 101 w 321"/>
                <a:gd name="T67" fmla="*/ 42 h 440"/>
                <a:gd name="T68" fmla="*/ 85 w 321"/>
                <a:gd name="T69" fmla="*/ 47 h 440"/>
                <a:gd name="T70" fmla="*/ 72 w 321"/>
                <a:gd name="T71" fmla="*/ 62 h 440"/>
                <a:gd name="T72" fmla="*/ 75 w 321"/>
                <a:gd name="T73" fmla="*/ 85 h 440"/>
                <a:gd name="T74" fmla="*/ 69 w 321"/>
                <a:gd name="T75" fmla="*/ 107 h 440"/>
                <a:gd name="T76" fmla="*/ 61 w 321"/>
                <a:gd name="T77" fmla="*/ 111 h 440"/>
                <a:gd name="T78" fmla="*/ 58 w 321"/>
                <a:gd name="T79" fmla="*/ 95 h 440"/>
                <a:gd name="T80" fmla="*/ 58 w 321"/>
                <a:gd name="T81" fmla="*/ 72 h 440"/>
                <a:gd name="T82" fmla="*/ 52 w 321"/>
                <a:gd name="T83" fmla="*/ 75 h 440"/>
                <a:gd name="T84" fmla="*/ 47 w 321"/>
                <a:gd name="T85" fmla="*/ 85 h 440"/>
                <a:gd name="T86" fmla="*/ 36 w 321"/>
                <a:gd name="T87" fmla="*/ 94 h 440"/>
                <a:gd name="T88" fmla="*/ 32 w 321"/>
                <a:gd name="T89" fmla="*/ 98 h 440"/>
                <a:gd name="T90" fmla="*/ 27 w 321"/>
                <a:gd name="T91" fmla="*/ 105 h 440"/>
                <a:gd name="T92" fmla="*/ 25 w 321"/>
                <a:gd name="T93" fmla="*/ 118 h 440"/>
                <a:gd name="T94" fmla="*/ 14 w 321"/>
                <a:gd name="T95" fmla="*/ 134 h 440"/>
                <a:gd name="T96" fmla="*/ 16 w 321"/>
                <a:gd name="T97" fmla="*/ 148 h 440"/>
                <a:gd name="T98" fmla="*/ 9 w 321"/>
                <a:gd name="T99" fmla="*/ 177 h 440"/>
                <a:gd name="T100" fmla="*/ 2 w 321"/>
                <a:gd name="T101" fmla="*/ 197 h 440"/>
                <a:gd name="T102" fmla="*/ 6 w 321"/>
                <a:gd name="T103" fmla="*/ 216 h 440"/>
                <a:gd name="T104" fmla="*/ 5 w 321"/>
                <a:gd name="T105" fmla="*/ 227 h 440"/>
                <a:gd name="T106" fmla="*/ 6 w 321"/>
                <a:gd name="T107" fmla="*/ 249 h 440"/>
                <a:gd name="T108" fmla="*/ 21 w 321"/>
                <a:gd name="T109" fmla="*/ 276 h 440"/>
                <a:gd name="T110" fmla="*/ 31 w 321"/>
                <a:gd name="T111" fmla="*/ 291 h 440"/>
                <a:gd name="T112" fmla="*/ 36 w 321"/>
                <a:gd name="T113" fmla="*/ 339 h 440"/>
                <a:gd name="T114" fmla="*/ 33 w 321"/>
                <a:gd name="T115" fmla="*/ 377 h 440"/>
                <a:gd name="T116" fmla="*/ 19 w 321"/>
                <a:gd name="T117" fmla="*/ 406 h 440"/>
                <a:gd name="T118" fmla="*/ 19 w 321"/>
                <a:gd name="T119" fmla="*/ 419 h 440"/>
                <a:gd name="T120" fmla="*/ 2 w 321"/>
                <a:gd name="T121" fmla="*/ 438 h 440"/>
                <a:gd name="T122" fmla="*/ 257 w 321"/>
                <a:gd name="T123" fmla="*/ 419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1" h="440">
                  <a:moveTo>
                    <a:pt x="257" y="419"/>
                  </a:moveTo>
                  <a:lnTo>
                    <a:pt x="257" y="419"/>
                  </a:lnTo>
                  <a:lnTo>
                    <a:pt x="257" y="413"/>
                  </a:lnTo>
                  <a:lnTo>
                    <a:pt x="260" y="406"/>
                  </a:lnTo>
                  <a:lnTo>
                    <a:pt x="263" y="399"/>
                  </a:lnTo>
                  <a:lnTo>
                    <a:pt x="266" y="393"/>
                  </a:lnTo>
                  <a:lnTo>
                    <a:pt x="270" y="387"/>
                  </a:lnTo>
                  <a:lnTo>
                    <a:pt x="275" y="383"/>
                  </a:lnTo>
                  <a:lnTo>
                    <a:pt x="276" y="380"/>
                  </a:lnTo>
                  <a:lnTo>
                    <a:pt x="278" y="378"/>
                  </a:lnTo>
                  <a:lnTo>
                    <a:pt x="278" y="378"/>
                  </a:lnTo>
                  <a:lnTo>
                    <a:pt x="276" y="370"/>
                  </a:lnTo>
                  <a:lnTo>
                    <a:pt x="276" y="363"/>
                  </a:lnTo>
                  <a:lnTo>
                    <a:pt x="278" y="356"/>
                  </a:lnTo>
                  <a:lnTo>
                    <a:pt x="279" y="351"/>
                  </a:lnTo>
                  <a:lnTo>
                    <a:pt x="282" y="347"/>
                  </a:lnTo>
                  <a:lnTo>
                    <a:pt x="285" y="344"/>
                  </a:lnTo>
                  <a:lnTo>
                    <a:pt x="287" y="343"/>
                  </a:lnTo>
                  <a:lnTo>
                    <a:pt x="288" y="343"/>
                  </a:lnTo>
                  <a:lnTo>
                    <a:pt x="294" y="334"/>
                  </a:lnTo>
                  <a:lnTo>
                    <a:pt x="296" y="326"/>
                  </a:lnTo>
                  <a:lnTo>
                    <a:pt x="296" y="326"/>
                  </a:lnTo>
                  <a:lnTo>
                    <a:pt x="296" y="324"/>
                  </a:lnTo>
                  <a:lnTo>
                    <a:pt x="296" y="323"/>
                  </a:lnTo>
                  <a:lnTo>
                    <a:pt x="297" y="321"/>
                  </a:lnTo>
                  <a:lnTo>
                    <a:pt x="297" y="320"/>
                  </a:lnTo>
                  <a:lnTo>
                    <a:pt x="297" y="320"/>
                  </a:lnTo>
                  <a:lnTo>
                    <a:pt x="300" y="317"/>
                  </a:lnTo>
                  <a:lnTo>
                    <a:pt x="300" y="314"/>
                  </a:lnTo>
                  <a:lnTo>
                    <a:pt x="300" y="314"/>
                  </a:lnTo>
                  <a:lnTo>
                    <a:pt x="299" y="313"/>
                  </a:lnTo>
                  <a:lnTo>
                    <a:pt x="299" y="313"/>
                  </a:lnTo>
                  <a:lnTo>
                    <a:pt x="300" y="309"/>
                  </a:lnTo>
                  <a:lnTo>
                    <a:pt x="300" y="306"/>
                  </a:lnTo>
                  <a:lnTo>
                    <a:pt x="303" y="304"/>
                  </a:lnTo>
                  <a:lnTo>
                    <a:pt x="305" y="304"/>
                  </a:lnTo>
                  <a:lnTo>
                    <a:pt x="308" y="303"/>
                  </a:lnTo>
                  <a:lnTo>
                    <a:pt x="309" y="304"/>
                  </a:lnTo>
                  <a:lnTo>
                    <a:pt x="311" y="304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2" y="309"/>
                  </a:lnTo>
                  <a:lnTo>
                    <a:pt x="314" y="310"/>
                  </a:lnTo>
                  <a:lnTo>
                    <a:pt x="315" y="310"/>
                  </a:lnTo>
                  <a:lnTo>
                    <a:pt x="315" y="309"/>
                  </a:lnTo>
                  <a:lnTo>
                    <a:pt x="317" y="307"/>
                  </a:lnTo>
                  <a:lnTo>
                    <a:pt x="317" y="306"/>
                  </a:lnTo>
                  <a:lnTo>
                    <a:pt x="318" y="304"/>
                  </a:lnTo>
                  <a:lnTo>
                    <a:pt x="318" y="304"/>
                  </a:lnTo>
                  <a:lnTo>
                    <a:pt x="320" y="267"/>
                  </a:lnTo>
                  <a:lnTo>
                    <a:pt x="320" y="267"/>
                  </a:lnTo>
                  <a:lnTo>
                    <a:pt x="320" y="267"/>
                  </a:lnTo>
                  <a:lnTo>
                    <a:pt x="320" y="269"/>
                  </a:lnTo>
                  <a:lnTo>
                    <a:pt x="320" y="269"/>
                  </a:lnTo>
                  <a:lnTo>
                    <a:pt x="320" y="267"/>
                  </a:lnTo>
                  <a:lnTo>
                    <a:pt x="320" y="267"/>
                  </a:lnTo>
                  <a:lnTo>
                    <a:pt x="315" y="247"/>
                  </a:lnTo>
                  <a:lnTo>
                    <a:pt x="309" y="228"/>
                  </a:lnTo>
                  <a:lnTo>
                    <a:pt x="305" y="214"/>
                  </a:lnTo>
                  <a:lnTo>
                    <a:pt x="300" y="200"/>
                  </a:lnTo>
                  <a:lnTo>
                    <a:pt x="296" y="189"/>
                  </a:lnTo>
                  <a:lnTo>
                    <a:pt x="291" y="181"/>
                  </a:lnTo>
                  <a:lnTo>
                    <a:pt x="288" y="174"/>
                  </a:lnTo>
                  <a:lnTo>
                    <a:pt x="285" y="168"/>
                  </a:lnTo>
                  <a:lnTo>
                    <a:pt x="282" y="165"/>
                  </a:lnTo>
                  <a:lnTo>
                    <a:pt x="279" y="162"/>
                  </a:lnTo>
                  <a:lnTo>
                    <a:pt x="276" y="161"/>
                  </a:lnTo>
                  <a:lnTo>
                    <a:pt x="273" y="159"/>
                  </a:lnTo>
                  <a:lnTo>
                    <a:pt x="272" y="159"/>
                  </a:lnTo>
                  <a:lnTo>
                    <a:pt x="269" y="161"/>
                  </a:lnTo>
                  <a:lnTo>
                    <a:pt x="267" y="161"/>
                  </a:lnTo>
                  <a:lnTo>
                    <a:pt x="266" y="162"/>
                  </a:lnTo>
                  <a:lnTo>
                    <a:pt x="266" y="162"/>
                  </a:lnTo>
                  <a:lnTo>
                    <a:pt x="263" y="164"/>
                  </a:lnTo>
                  <a:lnTo>
                    <a:pt x="260" y="167"/>
                  </a:lnTo>
                  <a:lnTo>
                    <a:pt x="256" y="168"/>
                  </a:lnTo>
                  <a:lnTo>
                    <a:pt x="254" y="170"/>
                  </a:lnTo>
                  <a:lnTo>
                    <a:pt x="251" y="171"/>
                  </a:lnTo>
                  <a:lnTo>
                    <a:pt x="249" y="173"/>
                  </a:lnTo>
                  <a:lnTo>
                    <a:pt x="248" y="173"/>
                  </a:lnTo>
                  <a:lnTo>
                    <a:pt x="248" y="174"/>
                  </a:lnTo>
                  <a:lnTo>
                    <a:pt x="243" y="177"/>
                  </a:lnTo>
                  <a:lnTo>
                    <a:pt x="240" y="184"/>
                  </a:lnTo>
                  <a:lnTo>
                    <a:pt x="240" y="184"/>
                  </a:lnTo>
                  <a:lnTo>
                    <a:pt x="240" y="184"/>
                  </a:lnTo>
                  <a:lnTo>
                    <a:pt x="240" y="187"/>
                  </a:lnTo>
                  <a:lnTo>
                    <a:pt x="239" y="189"/>
                  </a:lnTo>
                  <a:lnTo>
                    <a:pt x="237" y="194"/>
                  </a:lnTo>
                  <a:lnTo>
                    <a:pt x="234" y="197"/>
                  </a:lnTo>
                  <a:lnTo>
                    <a:pt x="233" y="201"/>
                  </a:lnTo>
                  <a:lnTo>
                    <a:pt x="230" y="204"/>
                  </a:lnTo>
                  <a:lnTo>
                    <a:pt x="227" y="204"/>
                  </a:lnTo>
                  <a:lnTo>
                    <a:pt x="227" y="204"/>
                  </a:lnTo>
                  <a:lnTo>
                    <a:pt x="227" y="208"/>
                  </a:lnTo>
                  <a:lnTo>
                    <a:pt x="225" y="211"/>
                  </a:lnTo>
                  <a:lnTo>
                    <a:pt x="224" y="214"/>
                  </a:lnTo>
                  <a:lnTo>
                    <a:pt x="223" y="216"/>
                  </a:lnTo>
                  <a:lnTo>
                    <a:pt x="222" y="217"/>
                  </a:lnTo>
                  <a:lnTo>
                    <a:pt x="220" y="219"/>
                  </a:lnTo>
                  <a:lnTo>
                    <a:pt x="220" y="219"/>
                  </a:lnTo>
                  <a:lnTo>
                    <a:pt x="220" y="219"/>
                  </a:lnTo>
                  <a:lnTo>
                    <a:pt x="220" y="219"/>
                  </a:lnTo>
                  <a:lnTo>
                    <a:pt x="220" y="219"/>
                  </a:lnTo>
                  <a:lnTo>
                    <a:pt x="219" y="219"/>
                  </a:lnTo>
                  <a:lnTo>
                    <a:pt x="216" y="219"/>
                  </a:lnTo>
                  <a:lnTo>
                    <a:pt x="215" y="217"/>
                  </a:lnTo>
                  <a:lnTo>
                    <a:pt x="213" y="217"/>
                  </a:lnTo>
                  <a:lnTo>
                    <a:pt x="212" y="217"/>
                  </a:lnTo>
                  <a:lnTo>
                    <a:pt x="209" y="216"/>
                  </a:lnTo>
                  <a:lnTo>
                    <a:pt x="209" y="216"/>
                  </a:lnTo>
                  <a:lnTo>
                    <a:pt x="209" y="216"/>
                  </a:lnTo>
                  <a:lnTo>
                    <a:pt x="201" y="216"/>
                  </a:lnTo>
                  <a:lnTo>
                    <a:pt x="198" y="211"/>
                  </a:lnTo>
                  <a:lnTo>
                    <a:pt x="195" y="207"/>
                  </a:lnTo>
                  <a:lnTo>
                    <a:pt x="195" y="203"/>
                  </a:lnTo>
                  <a:lnTo>
                    <a:pt x="195" y="197"/>
                  </a:lnTo>
                  <a:lnTo>
                    <a:pt x="197" y="192"/>
                  </a:lnTo>
                  <a:lnTo>
                    <a:pt x="197" y="189"/>
                  </a:lnTo>
                  <a:lnTo>
                    <a:pt x="198" y="188"/>
                  </a:lnTo>
                  <a:lnTo>
                    <a:pt x="198" y="188"/>
                  </a:lnTo>
                  <a:lnTo>
                    <a:pt x="198" y="184"/>
                  </a:lnTo>
                  <a:lnTo>
                    <a:pt x="200" y="181"/>
                  </a:lnTo>
                  <a:lnTo>
                    <a:pt x="201" y="180"/>
                  </a:lnTo>
                  <a:lnTo>
                    <a:pt x="204" y="178"/>
                  </a:lnTo>
                  <a:lnTo>
                    <a:pt x="206" y="177"/>
                  </a:lnTo>
                  <a:lnTo>
                    <a:pt x="209" y="177"/>
                  </a:lnTo>
                  <a:lnTo>
                    <a:pt x="210" y="176"/>
                  </a:lnTo>
                  <a:lnTo>
                    <a:pt x="210" y="176"/>
                  </a:lnTo>
                  <a:lnTo>
                    <a:pt x="219" y="167"/>
                  </a:lnTo>
                  <a:lnTo>
                    <a:pt x="222" y="148"/>
                  </a:lnTo>
                  <a:lnTo>
                    <a:pt x="233" y="138"/>
                  </a:lnTo>
                  <a:lnTo>
                    <a:pt x="233" y="138"/>
                  </a:lnTo>
                  <a:lnTo>
                    <a:pt x="233" y="137"/>
                  </a:lnTo>
                  <a:lnTo>
                    <a:pt x="233" y="134"/>
                  </a:lnTo>
                  <a:lnTo>
                    <a:pt x="233" y="128"/>
                  </a:lnTo>
                  <a:lnTo>
                    <a:pt x="233" y="124"/>
                  </a:lnTo>
                  <a:lnTo>
                    <a:pt x="233" y="118"/>
                  </a:lnTo>
                  <a:lnTo>
                    <a:pt x="233" y="113"/>
                  </a:lnTo>
                  <a:lnTo>
                    <a:pt x="233" y="108"/>
                  </a:lnTo>
                  <a:lnTo>
                    <a:pt x="233" y="107"/>
                  </a:lnTo>
                  <a:lnTo>
                    <a:pt x="233" y="107"/>
                  </a:lnTo>
                  <a:lnTo>
                    <a:pt x="233" y="99"/>
                  </a:lnTo>
                  <a:lnTo>
                    <a:pt x="231" y="93"/>
                  </a:lnTo>
                  <a:lnTo>
                    <a:pt x="230" y="88"/>
                  </a:lnTo>
                  <a:lnTo>
                    <a:pt x="227" y="84"/>
                  </a:lnTo>
                  <a:lnTo>
                    <a:pt x="225" y="81"/>
                  </a:lnTo>
                  <a:lnTo>
                    <a:pt x="223" y="78"/>
                  </a:lnTo>
                  <a:lnTo>
                    <a:pt x="222" y="77"/>
                  </a:lnTo>
                  <a:lnTo>
                    <a:pt x="220" y="75"/>
                  </a:lnTo>
                  <a:lnTo>
                    <a:pt x="220" y="75"/>
                  </a:lnTo>
                  <a:lnTo>
                    <a:pt x="216" y="72"/>
                  </a:lnTo>
                  <a:lnTo>
                    <a:pt x="215" y="69"/>
                  </a:lnTo>
                  <a:lnTo>
                    <a:pt x="215" y="66"/>
                  </a:lnTo>
                  <a:lnTo>
                    <a:pt x="215" y="63"/>
                  </a:lnTo>
                  <a:lnTo>
                    <a:pt x="216" y="62"/>
                  </a:lnTo>
                  <a:lnTo>
                    <a:pt x="218" y="61"/>
                  </a:lnTo>
                  <a:lnTo>
                    <a:pt x="219" y="60"/>
                  </a:lnTo>
                  <a:lnTo>
                    <a:pt x="220" y="60"/>
                  </a:lnTo>
                  <a:lnTo>
                    <a:pt x="220" y="60"/>
                  </a:lnTo>
                  <a:lnTo>
                    <a:pt x="224" y="63"/>
                  </a:lnTo>
                  <a:lnTo>
                    <a:pt x="227" y="63"/>
                  </a:lnTo>
                  <a:lnTo>
                    <a:pt x="228" y="63"/>
                  </a:lnTo>
                  <a:lnTo>
                    <a:pt x="228" y="62"/>
                  </a:lnTo>
                  <a:lnTo>
                    <a:pt x="228" y="61"/>
                  </a:lnTo>
                  <a:lnTo>
                    <a:pt x="227" y="60"/>
                  </a:lnTo>
                  <a:lnTo>
                    <a:pt x="227" y="58"/>
                  </a:lnTo>
                  <a:lnTo>
                    <a:pt x="225" y="57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03" y="32"/>
                  </a:lnTo>
                  <a:lnTo>
                    <a:pt x="195" y="31"/>
                  </a:lnTo>
                  <a:lnTo>
                    <a:pt x="190" y="30"/>
                  </a:lnTo>
                  <a:lnTo>
                    <a:pt x="186" y="28"/>
                  </a:lnTo>
                  <a:lnTo>
                    <a:pt x="182" y="27"/>
                  </a:lnTo>
                  <a:lnTo>
                    <a:pt x="179" y="24"/>
                  </a:lnTo>
                  <a:lnTo>
                    <a:pt x="177" y="22"/>
                  </a:lnTo>
                  <a:lnTo>
                    <a:pt x="176" y="22"/>
                  </a:lnTo>
                  <a:lnTo>
                    <a:pt x="162" y="22"/>
                  </a:lnTo>
                  <a:lnTo>
                    <a:pt x="151" y="9"/>
                  </a:lnTo>
                  <a:lnTo>
                    <a:pt x="128" y="8"/>
                  </a:lnTo>
                  <a:lnTo>
                    <a:pt x="117" y="0"/>
                  </a:lnTo>
                  <a:lnTo>
                    <a:pt x="110" y="0"/>
                  </a:lnTo>
                  <a:lnTo>
                    <a:pt x="105" y="2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6" y="5"/>
                  </a:lnTo>
                  <a:lnTo>
                    <a:pt x="96" y="8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1" y="14"/>
                  </a:lnTo>
                  <a:lnTo>
                    <a:pt x="88" y="18"/>
                  </a:lnTo>
                  <a:lnTo>
                    <a:pt x="87" y="22"/>
                  </a:lnTo>
                  <a:lnTo>
                    <a:pt x="88" y="27"/>
                  </a:lnTo>
                  <a:lnTo>
                    <a:pt x="90" y="31"/>
                  </a:lnTo>
                  <a:lnTo>
                    <a:pt x="93" y="33"/>
                  </a:lnTo>
                  <a:lnTo>
                    <a:pt x="94" y="35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8" y="36"/>
                  </a:lnTo>
                  <a:lnTo>
                    <a:pt x="101" y="38"/>
                  </a:lnTo>
                  <a:lnTo>
                    <a:pt x="101" y="39"/>
                  </a:lnTo>
                  <a:lnTo>
                    <a:pt x="101" y="41"/>
                  </a:lnTo>
                  <a:lnTo>
                    <a:pt x="101" y="42"/>
                  </a:lnTo>
                  <a:lnTo>
                    <a:pt x="99" y="44"/>
                  </a:lnTo>
                  <a:lnTo>
                    <a:pt x="98" y="44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1" y="45"/>
                  </a:lnTo>
                  <a:lnTo>
                    <a:pt x="85" y="47"/>
                  </a:lnTo>
                  <a:lnTo>
                    <a:pt x="81" y="50"/>
                  </a:lnTo>
                  <a:lnTo>
                    <a:pt x="77" y="52"/>
                  </a:lnTo>
                  <a:lnTo>
                    <a:pt x="75" y="57"/>
                  </a:lnTo>
                  <a:lnTo>
                    <a:pt x="72" y="60"/>
                  </a:lnTo>
                  <a:lnTo>
                    <a:pt x="72" y="61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4" y="66"/>
                  </a:lnTo>
                  <a:lnTo>
                    <a:pt x="74" y="72"/>
                  </a:lnTo>
                  <a:lnTo>
                    <a:pt x="75" y="77"/>
                  </a:lnTo>
                  <a:lnTo>
                    <a:pt x="75" y="81"/>
                  </a:lnTo>
                  <a:lnTo>
                    <a:pt x="75" y="85"/>
                  </a:lnTo>
                  <a:lnTo>
                    <a:pt x="75" y="90"/>
                  </a:lnTo>
                  <a:lnTo>
                    <a:pt x="74" y="93"/>
                  </a:lnTo>
                  <a:lnTo>
                    <a:pt x="72" y="96"/>
                  </a:lnTo>
                  <a:lnTo>
                    <a:pt x="72" y="99"/>
                  </a:lnTo>
                  <a:lnTo>
                    <a:pt x="71" y="104"/>
                  </a:lnTo>
                  <a:lnTo>
                    <a:pt x="69" y="107"/>
                  </a:lnTo>
                  <a:lnTo>
                    <a:pt x="69" y="108"/>
                  </a:lnTo>
                  <a:lnTo>
                    <a:pt x="68" y="111"/>
                  </a:lnTo>
                  <a:lnTo>
                    <a:pt x="6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61" y="111"/>
                  </a:lnTo>
                  <a:lnTo>
                    <a:pt x="55" y="110"/>
                  </a:lnTo>
                  <a:lnTo>
                    <a:pt x="55" y="110"/>
                  </a:lnTo>
                  <a:lnTo>
                    <a:pt x="55" y="108"/>
                  </a:lnTo>
                  <a:lnTo>
                    <a:pt x="57" y="105"/>
                  </a:lnTo>
                  <a:lnTo>
                    <a:pt x="57" y="99"/>
                  </a:lnTo>
                  <a:lnTo>
                    <a:pt x="58" y="95"/>
                  </a:lnTo>
                  <a:lnTo>
                    <a:pt x="60" y="90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58" y="72"/>
                  </a:lnTo>
                  <a:lnTo>
                    <a:pt x="57" y="69"/>
                  </a:lnTo>
                  <a:lnTo>
                    <a:pt x="55" y="68"/>
                  </a:lnTo>
                  <a:lnTo>
                    <a:pt x="54" y="69"/>
                  </a:lnTo>
                  <a:lnTo>
                    <a:pt x="54" y="71"/>
                  </a:lnTo>
                  <a:lnTo>
                    <a:pt x="52" y="74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1" y="77"/>
                  </a:lnTo>
                  <a:lnTo>
                    <a:pt x="51" y="78"/>
                  </a:lnTo>
                  <a:lnTo>
                    <a:pt x="49" y="82"/>
                  </a:lnTo>
                  <a:lnTo>
                    <a:pt x="47" y="85"/>
                  </a:lnTo>
                  <a:lnTo>
                    <a:pt x="45" y="90"/>
                  </a:lnTo>
                  <a:lnTo>
                    <a:pt x="44" y="93"/>
                  </a:lnTo>
                  <a:lnTo>
                    <a:pt x="42" y="95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36" y="94"/>
                  </a:lnTo>
                  <a:lnTo>
                    <a:pt x="33" y="94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2"/>
                  </a:lnTo>
                  <a:lnTo>
                    <a:pt x="27" y="105"/>
                  </a:lnTo>
                  <a:lnTo>
                    <a:pt x="25" y="108"/>
                  </a:lnTo>
                  <a:lnTo>
                    <a:pt x="25" y="113"/>
                  </a:lnTo>
                  <a:lnTo>
                    <a:pt x="25" y="115"/>
                  </a:lnTo>
                  <a:lnTo>
                    <a:pt x="25" y="117"/>
                  </a:lnTo>
                  <a:lnTo>
                    <a:pt x="25" y="118"/>
                  </a:lnTo>
                  <a:lnTo>
                    <a:pt x="25" y="118"/>
                  </a:lnTo>
                  <a:lnTo>
                    <a:pt x="19" y="121"/>
                  </a:lnTo>
                  <a:lnTo>
                    <a:pt x="16" y="124"/>
                  </a:lnTo>
                  <a:lnTo>
                    <a:pt x="15" y="126"/>
                  </a:lnTo>
                  <a:lnTo>
                    <a:pt x="14" y="128"/>
                  </a:lnTo>
                  <a:lnTo>
                    <a:pt x="12" y="131"/>
                  </a:lnTo>
                  <a:lnTo>
                    <a:pt x="14" y="134"/>
                  </a:lnTo>
                  <a:lnTo>
                    <a:pt x="14" y="135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6" y="140"/>
                  </a:lnTo>
                  <a:lnTo>
                    <a:pt x="16" y="144"/>
                  </a:lnTo>
                  <a:lnTo>
                    <a:pt x="16" y="148"/>
                  </a:lnTo>
                  <a:lnTo>
                    <a:pt x="16" y="153"/>
                  </a:lnTo>
                  <a:lnTo>
                    <a:pt x="15" y="156"/>
                  </a:lnTo>
                  <a:lnTo>
                    <a:pt x="14" y="162"/>
                  </a:lnTo>
                  <a:lnTo>
                    <a:pt x="12" y="167"/>
                  </a:lnTo>
                  <a:lnTo>
                    <a:pt x="11" y="171"/>
                  </a:lnTo>
                  <a:lnTo>
                    <a:pt x="9" y="177"/>
                  </a:lnTo>
                  <a:lnTo>
                    <a:pt x="8" y="181"/>
                  </a:lnTo>
                  <a:lnTo>
                    <a:pt x="6" y="186"/>
                  </a:lnTo>
                  <a:lnTo>
                    <a:pt x="5" y="189"/>
                  </a:lnTo>
                  <a:lnTo>
                    <a:pt x="3" y="192"/>
                  </a:lnTo>
                  <a:lnTo>
                    <a:pt x="2" y="195"/>
                  </a:lnTo>
                  <a:lnTo>
                    <a:pt x="2" y="197"/>
                  </a:lnTo>
                  <a:lnTo>
                    <a:pt x="2" y="197"/>
                  </a:lnTo>
                  <a:lnTo>
                    <a:pt x="2" y="197"/>
                  </a:lnTo>
                  <a:lnTo>
                    <a:pt x="3" y="201"/>
                  </a:lnTo>
                  <a:lnTo>
                    <a:pt x="5" y="207"/>
                  </a:lnTo>
                  <a:lnTo>
                    <a:pt x="6" y="211"/>
                  </a:lnTo>
                  <a:lnTo>
                    <a:pt x="6" y="216"/>
                  </a:lnTo>
                  <a:lnTo>
                    <a:pt x="8" y="219"/>
                  </a:lnTo>
                  <a:lnTo>
                    <a:pt x="8" y="222"/>
                  </a:lnTo>
                  <a:lnTo>
                    <a:pt x="8" y="225"/>
                  </a:lnTo>
                  <a:lnTo>
                    <a:pt x="8" y="225"/>
                  </a:lnTo>
                  <a:lnTo>
                    <a:pt x="8" y="225"/>
                  </a:lnTo>
                  <a:lnTo>
                    <a:pt x="5" y="227"/>
                  </a:lnTo>
                  <a:lnTo>
                    <a:pt x="3" y="228"/>
                  </a:lnTo>
                  <a:lnTo>
                    <a:pt x="2" y="231"/>
                  </a:lnTo>
                  <a:lnTo>
                    <a:pt x="2" y="234"/>
                  </a:lnTo>
                  <a:lnTo>
                    <a:pt x="3" y="239"/>
                  </a:lnTo>
                  <a:lnTo>
                    <a:pt x="5" y="243"/>
                  </a:lnTo>
                  <a:lnTo>
                    <a:pt x="6" y="249"/>
                  </a:lnTo>
                  <a:lnTo>
                    <a:pt x="9" y="252"/>
                  </a:lnTo>
                  <a:lnTo>
                    <a:pt x="12" y="258"/>
                  </a:lnTo>
                  <a:lnTo>
                    <a:pt x="14" y="263"/>
                  </a:lnTo>
                  <a:lnTo>
                    <a:pt x="16" y="269"/>
                  </a:lnTo>
                  <a:lnTo>
                    <a:pt x="19" y="273"/>
                  </a:lnTo>
                  <a:lnTo>
                    <a:pt x="21" y="276"/>
                  </a:lnTo>
                  <a:lnTo>
                    <a:pt x="22" y="279"/>
                  </a:lnTo>
                  <a:lnTo>
                    <a:pt x="24" y="282"/>
                  </a:lnTo>
                  <a:lnTo>
                    <a:pt x="25" y="282"/>
                  </a:lnTo>
                  <a:lnTo>
                    <a:pt x="25" y="282"/>
                  </a:lnTo>
                  <a:lnTo>
                    <a:pt x="28" y="285"/>
                  </a:lnTo>
                  <a:lnTo>
                    <a:pt x="31" y="291"/>
                  </a:lnTo>
                  <a:lnTo>
                    <a:pt x="32" y="299"/>
                  </a:lnTo>
                  <a:lnTo>
                    <a:pt x="35" y="306"/>
                  </a:lnTo>
                  <a:lnTo>
                    <a:pt x="35" y="313"/>
                  </a:lnTo>
                  <a:lnTo>
                    <a:pt x="36" y="321"/>
                  </a:lnTo>
                  <a:lnTo>
                    <a:pt x="36" y="330"/>
                  </a:lnTo>
                  <a:lnTo>
                    <a:pt x="36" y="339"/>
                  </a:lnTo>
                  <a:lnTo>
                    <a:pt x="36" y="347"/>
                  </a:lnTo>
                  <a:lnTo>
                    <a:pt x="36" y="354"/>
                  </a:lnTo>
                  <a:lnTo>
                    <a:pt x="36" y="362"/>
                  </a:lnTo>
                  <a:lnTo>
                    <a:pt x="35" y="369"/>
                  </a:lnTo>
                  <a:lnTo>
                    <a:pt x="35" y="373"/>
                  </a:lnTo>
                  <a:lnTo>
                    <a:pt x="33" y="377"/>
                  </a:lnTo>
                  <a:lnTo>
                    <a:pt x="33" y="380"/>
                  </a:lnTo>
                  <a:lnTo>
                    <a:pt x="33" y="381"/>
                  </a:lnTo>
                  <a:lnTo>
                    <a:pt x="33" y="381"/>
                  </a:lnTo>
                  <a:lnTo>
                    <a:pt x="27" y="392"/>
                  </a:lnTo>
                  <a:lnTo>
                    <a:pt x="22" y="400"/>
                  </a:lnTo>
                  <a:lnTo>
                    <a:pt x="19" y="406"/>
                  </a:lnTo>
                  <a:lnTo>
                    <a:pt x="19" y="411"/>
                  </a:lnTo>
                  <a:lnTo>
                    <a:pt x="19" y="414"/>
                  </a:lnTo>
                  <a:lnTo>
                    <a:pt x="19" y="417"/>
                  </a:lnTo>
                  <a:lnTo>
                    <a:pt x="19" y="419"/>
                  </a:lnTo>
                  <a:lnTo>
                    <a:pt x="19" y="419"/>
                  </a:lnTo>
                  <a:lnTo>
                    <a:pt x="19" y="419"/>
                  </a:lnTo>
                  <a:lnTo>
                    <a:pt x="15" y="425"/>
                  </a:lnTo>
                  <a:lnTo>
                    <a:pt x="12" y="428"/>
                  </a:lnTo>
                  <a:lnTo>
                    <a:pt x="9" y="432"/>
                  </a:lnTo>
                  <a:lnTo>
                    <a:pt x="6" y="433"/>
                  </a:lnTo>
                  <a:lnTo>
                    <a:pt x="5" y="436"/>
                  </a:lnTo>
                  <a:lnTo>
                    <a:pt x="2" y="438"/>
                  </a:lnTo>
                  <a:lnTo>
                    <a:pt x="2" y="439"/>
                  </a:lnTo>
                  <a:lnTo>
                    <a:pt x="0" y="439"/>
                  </a:lnTo>
                  <a:lnTo>
                    <a:pt x="0" y="439"/>
                  </a:lnTo>
                  <a:lnTo>
                    <a:pt x="156" y="420"/>
                  </a:lnTo>
                  <a:lnTo>
                    <a:pt x="159" y="435"/>
                  </a:lnTo>
                  <a:lnTo>
                    <a:pt x="257" y="41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" name="Freeform 53"/>
            <p:cNvSpPr>
              <a:spLocks/>
            </p:cNvSpPr>
            <p:nvPr/>
          </p:nvSpPr>
          <p:spPr bwMode="auto">
            <a:xfrm>
              <a:off x="2506105" y="4167917"/>
              <a:ext cx="321300" cy="167038"/>
            </a:xfrm>
            <a:custGeom>
              <a:avLst/>
              <a:gdLst>
                <a:gd name="T0" fmla="*/ 9 w 479"/>
                <a:gd name="T1" fmla="*/ 109 h 249"/>
                <a:gd name="T2" fmla="*/ 25 w 479"/>
                <a:gd name="T3" fmla="*/ 128 h 249"/>
                <a:gd name="T4" fmla="*/ 34 w 479"/>
                <a:gd name="T5" fmla="*/ 136 h 249"/>
                <a:gd name="T6" fmla="*/ 55 w 479"/>
                <a:gd name="T7" fmla="*/ 137 h 249"/>
                <a:gd name="T8" fmla="*/ 99 w 479"/>
                <a:gd name="T9" fmla="*/ 147 h 249"/>
                <a:gd name="T10" fmla="*/ 130 w 479"/>
                <a:gd name="T11" fmla="*/ 158 h 249"/>
                <a:gd name="T12" fmla="*/ 171 w 479"/>
                <a:gd name="T13" fmla="*/ 163 h 249"/>
                <a:gd name="T14" fmla="*/ 188 w 479"/>
                <a:gd name="T15" fmla="*/ 179 h 249"/>
                <a:gd name="T16" fmla="*/ 198 w 479"/>
                <a:gd name="T17" fmla="*/ 209 h 249"/>
                <a:gd name="T18" fmla="*/ 195 w 479"/>
                <a:gd name="T19" fmla="*/ 224 h 249"/>
                <a:gd name="T20" fmla="*/ 212 w 479"/>
                <a:gd name="T21" fmla="*/ 240 h 249"/>
                <a:gd name="T22" fmla="*/ 225 w 479"/>
                <a:gd name="T23" fmla="*/ 237 h 249"/>
                <a:gd name="T24" fmla="*/ 229 w 479"/>
                <a:gd name="T25" fmla="*/ 224 h 249"/>
                <a:gd name="T26" fmla="*/ 243 w 479"/>
                <a:gd name="T27" fmla="*/ 197 h 249"/>
                <a:gd name="T28" fmla="*/ 254 w 479"/>
                <a:gd name="T29" fmla="*/ 182 h 249"/>
                <a:gd name="T30" fmla="*/ 261 w 479"/>
                <a:gd name="T31" fmla="*/ 158 h 249"/>
                <a:gd name="T32" fmla="*/ 261 w 479"/>
                <a:gd name="T33" fmla="*/ 172 h 249"/>
                <a:gd name="T34" fmla="*/ 276 w 479"/>
                <a:gd name="T35" fmla="*/ 163 h 249"/>
                <a:gd name="T36" fmla="*/ 290 w 479"/>
                <a:gd name="T37" fmla="*/ 166 h 249"/>
                <a:gd name="T38" fmla="*/ 284 w 479"/>
                <a:gd name="T39" fmla="*/ 182 h 249"/>
                <a:gd name="T40" fmla="*/ 290 w 479"/>
                <a:gd name="T41" fmla="*/ 179 h 249"/>
                <a:gd name="T42" fmla="*/ 308 w 479"/>
                <a:gd name="T43" fmla="*/ 163 h 249"/>
                <a:gd name="T44" fmla="*/ 315 w 479"/>
                <a:gd name="T45" fmla="*/ 146 h 249"/>
                <a:gd name="T46" fmla="*/ 363 w 479"/>
                <a:gd name="T47" fmla="*/ 127 h 249"/>
                <a:gd name="T48" fmla="*/ 399 w 479"/>
                <a:gd name="T49" fmla="*/ 133 h 249"/>
                <a:gd name="T50" fmla="*/ 425 w 479"/>
                <a:gd name="T51" fmla="*/ 149 h 249"/>
                <a:gd name="T52" fmla="*/ 423 w 479"/>
                <a:gd name="T53" fmla="*/ 133 h 249"/>
                <a:gd name="T54" fmla="*/ 432 w 479"/>
                <a:gd name="T55" fmla="*/ 125 h 249"/>
                <a:gd name="T56" fmla="*/ 444 w 479"/>
                <a:gd name="T57" fmla="*/ 128 h 249"/>
                <a:gd name="T58" fmla="*/ 474 w 479"/>
                <a:gd name="T59" fmla="*/ 122 h 249"/>
                <a:gd name="T60" fmla="*/ 455 w 479"/>
                <a:gd name="T61" fmla="*/ 104 h 249"/>
                <a:gd name="T62" fmla="*/ 452 w 479"/>
                <a:gd name="T63" fmla="*/ 84 h 249"/>
                <a:gd name="T64" fmla="*/ 439 w 479"/>
                <a:gd name="T65" fmla="*/ 81 h 249"/>
                <a:gd name="T66" fmla="*/ 420 w 479"/>
                <a:gd name="T67" fmla="*/ 83 h 249"/>
                <a:gd name="T68" fmla="*/ 392 w 479"/>
                <a:gd name="T69" fmla="*/ 62 h 249"/>
                <a:gd name="T70" fmla="*/ 386 w 479"/>
                <a:gd name="T71" fmla="*/ 54 h 249"/>
                <a:gd name="T72" fmla="*/ 367 w 479"/>
                <a:gd name="T73" fmla="*/ 62 h 249"/>
                <a:gd name="T74" fmla="*/ 334 w 479"/>
                <a:gd name="T75" fmla="*/ 68 h 249"/>
                <a:gd name="T76" fmla="*/ 312 w 479"/>
                <a:gd name="T77" fmla="*/ 70 h 249"/>
                <a:gd name="T78" fmla="*/ 268 w 479"/>
                <a:gd name="T79" fmla="*/ 98 h 249"/>
                <a:gd name="T80" fmla="*/ 257 w 479"/>
                <a:gd name="T81" fmla="*/ 93 h 249"/>
                <a:gd name="T82" fmla="*/ 240 w 479"/>
                <a:gd name="T83" fmla="*/ 97 h 249"/>
                <a:gd name="T84" fmla="*/ 215 w 479"/>
                <a:gd name="T85" fmla="*/ 84 h 249"/>
                <a:gd name="T86" fmla="*/ 190 w 479"/>
                <a:gd name="T87" fmla="*/ 60 h 249"/>
                <a:gd name="T88" fmla="*/ 160 w 479"/>
                <a:gd name="T89" fmla="*/ 67 h 249"/>
                <a:gd name="T90" fmla="*/ 163 w 479"/>
                <a:gd name="T91" fmla="*/ 57 h 249"/>
                <a:gd name="T92" fmla="*/ 149 w 479"/>
                <a:gd name="T93" fmla="*/ 67 h 249"/>
                <a:gd name="T94" fmla="*/ 141 w 479"/>
                <a:gd name="T95" fmla="*/ 54 h 249"/>
                <a:gd name="T96" fmla="*/ 136 w 479"/>
                <a:gd name="T97" fmla="*/ 51 h 249"/>
                <a:gd name="T98" fmla="*/ 140 w 479"/>
                <a:gd name="T99" fmla="*/ 43 h 249"/>
                <a:gd name="T100" fmla="*/ 141 w 479"/>
                <a:gd name="T101" fmla="*/ 43 h 249"/>
                <a:gd name="T102" fmla="*/ 143 w 479"/>
                <a:gd name="T103" fmla="*/ 50 h 249"/>
                <a:gd name="T104" fmla="*/ 149 w 479"/>
                <a:gd name="T105" fmla="*/ 46 h 249"/>
                <a:gd name="T106" fmla="*/ 179 w 479"/>
                <a:gd name="T107" fmla="*/ 7 h 249"/>
                <a:gd name="T108" fmla="*/ 192 w 479"/>
                <a:gd name="T109" fmla="*/ 2 h 249"/>
                <a:gd name="T110" fmla="*/ 166 w 479"/>
                <a:gd name="T111" fmla="*/ 1 h 249"/>
                <a:gd name="T112" fmla="*/ 130 w 479"/>
                <a:gd name="T113" fmla="*/ 29 h 249"/>
                <a:gd name="T114" fmla="*/ 110 w 479"/>
                <a:gd name="T115" fmla="*/ 47 h 249"/>
                <a:gd name="T116" fmla="*/ 91 w 479"/>
                <a:gd name="T117" fmla="*/ 62 h 249"/>
                <a:gd name="T118" fmla="*/ 69 w 479"/>
                <a:gd name="T119" fmla="*/ 76 h 249"/>
                <a:gd name="T120" fmla="*/ 50 w 479"/>
                <a:gd name="T121" fmla="*/ 79 h 249"/>
                <a:gd name="T122" fmla="*/ 24 w 479"/>
                <a:gd name="T123" fmla="*/ 98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9" h="249">
                  <a:moveTo>
                    <a:pt x="0" y="109"/>
                  </a:moveTo>
                  <a:lnTo>
                    <a:pt x="0" y="109"/>
                  </a:lnTo>
                  <a:lnTo>
                    <a:pt x="2" y="109"/>
                  </a:lnTo>
                  <a:lnTo>
                    <a:pt x="3" y="109"/>
                  </a:lnTo>
                  <a:lnTo>
                    <a:pt x="6" y="109"/>
                  </a:lnTo>
                  <a:lnTo>
                    <a:pt x="9" y="109"/>
                  </a:lnTo>
                  <a:lnTo>
                    <a:pt x="14" y="110"/>
                  </a:lnTo>
                  <a:lnTo>
                    <a:pt x="17" y="114"/>
                  </a:lnTo>
                  <a:lnTo>
                    <a:pt x="21" y="119"/>
                  </a:lnTo>
                  <a:lnTo>
                    <a:pt x="24" y="125"/>
                  </a:lnTo>
                  <a:lnTo>
                    <a:pt x="25" y="127"/>
                  </a:lnTo>
                  <a:lnTo>
                    <a:pt x="25" y="128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1" y="133"/>
                  </a:lnTo>
                  <a:lnTo>
                    <a:pt x="33" y="134"/>
                  </a:lnTo>
                  <a:lnTo>
                    <a:pt x="34" y="134"/>
                  </a:lnTo>
                  <a:lnTo>
                    <a:pt x="34" y="136"/>
                  </a:lnTo>
                  <a:lnTo>
                    <a:pt x="34" y="136"/>
                  </a:lnTo>
                  <a:lnTo>
                    <a:pt x="36" y="136"/>
                  </a:lnTo>
                  <a:lnTo>
                    <a:pt x="39" y="136"/>
                  </a:lnTo>
                  <a:lnTo>
                    <a:pt x="44" y="136"/>
                  </a:lnTo>
                  <a:lnTo>
                    <a:pt x="50" y="137"/>
                  </a:lnTo>
                  <a:lnTo>
                    <a:pt x="55" y="137"/>
                  </a:lnTo>
                  <a:lnTo>
                    <a:pt x="63" y="139"/>
                  </a:lnTo>
                  <a:lnTo>
                    <a:pt x="69" y="140"/>
                  </a:lnTo>
                  <a:lnTo>
                    <a:pt x="77" y="142"/>
                  </a:lnTo>
                  <a:lnTo>
                    <a:pt x="84" y="143"/>
                  </a:lnTo>
                  <a:lnTo>
                    <a:pt x="91" y="144"/>
                  </a:lnTo>
                  <a:lnTo>
                    <a:pt x="99" y="147"/>
                  </a:lnTo>
                  <a:lnTo>
                    <a:pt x="105" y="149"/>
                  </a:lnTo>
                  <a:lnTo>
                    <a:pt x="111" y="152"/>
                  </a:lnTo>
                  <a:lnTo>
                    <a:pt x="117" y="155"/>
                  </a:lnTo>
                  <a:lnTo>
                    <a:pt x="123" y="157"/>
                  </a:lnTo>
                  <a:lnTo>
                    <a:pt x="124" y="157"/>
                  </a:lnTo>
                  <a:lnTo>
                    <a:pt x="130" y="158"/>
                  </a:lnTo>
                  <a:lnTo>
                    <a:pt x="138" y="160"/>
                  </a:lnTo>
                  <a:lnTo>
                    <a:pt x="147" y="160"/>
                  </a:lnTo>
                  <a:lnTo>
                    <a:pt x="156" y="161"/>
                  </a:lnTo>
                  <a:lnTo>
                    <a:pt x="163" y="163"/>
                  </a:lnTo>
                  <a:lnTo>
                    <a:pt x="169" y="163"/>
                  </a:lnTo>
                  <a:lnTo>
                    <a:pt x="171" y="163"/>
                  </a:lnTo>
                  <a:lnTo>
                    <a:pt x="174" y="167"/>
                  </a:lnTo>
                  <a:lnTo>
                    <a:pt x="177" y="177"/>
                  </a:lnTo>
                  <a:lnTo>
                    <a:pt x="179" y="177"/>
                  </a:lnTo>
                  <a:lnTo>
                    <a:pt x="180" y="177"/>
                  </a:lnTo>
                  <a:lnTo>
                    <a:pt x="185" y="177"/>
                  </a:lnTo>
                  <a:lnTo>
                    <a:pt x="188" y="179"/>
                  </a:lnTo>
                  <a:lnTo>
                    <a:pt x="192" y="182"/>
                  </a:lnTo>
                  <a:lnTo>
                    <a:pt x="195" y="187"/>
                  </a:lnTo>
                  <a:lnTo>
                    <a:pt x="198" y="194"/>
                  </a:lnTo>
                  <a:lnTo>
                    <a:pt x="199" y="205"/>
                  </a:lnTo>
                  <a:lnTo>
                    <a:pt x="199" y="206"/>
                  </a:lnTo>
                  <a:lnTo>
                    <a:pt x="198" y="209"/>
                  </a:lnTo>
                  <a:lnTo>
                    <a:pt x="198" y="212"/>
                  </a:lnTo>
                  <a:lnTo>
                    <a:pt x="198" y="216"/>
                  </a:lnTo>
                  <a:lnTo>
                    <a:pt x="196" y="218"/>
                  </a:lnTo>
                  <a:lnTo>
                    <a:pt x="196" y="221"/>
                  </a:lnTo>
                  <a:lnTo>
                    <a:pt x="195" y="224"/>
                  </a:lnTo>
                  <a:lnTo>
                    <a:pt x="195" y="224"/>
                  </a:lnTo>
                  <a:lnTo>
                    <a:pt x="213" y="224"/>
                  </a:lnTo>
                  <a:lnTo>
                    <a:pt x="213" y="226"/>
                  </a:lnTo>
                  <a:lnTo>
                    <a:pt x="212" y="227"/>
                  </a:lnTo>
                  <a:lnTo>
                    <a:pt x="212" y="232"/>
                  </a:lnTo>
                  <a:lnTo>
                    <a:pt x="212" y="236"/>
                  </a:lnTo>
                  <a:lnTo>
                    <a:pt x="212" y="240"/>
                  </a:lnTo>
                  <a:lnTo>
                    <a:pt x="213" y="243"/>
                  </a:lnTo>
                  <a:lnTo>
                    <a:pt x="216" y="246"/>
                  </a:lnTo>
                  <a:lnTo>
                    <a:pt x="221" y="248"/>
                  </a:lnTo>
                  <a:lnTo>
                    <a:pt x="225" y="236"/>
                  </a:lnTo>
                  <a:lnTo>
                    <a:pt x="225" y="236"/>
                  </a:lnTo>
                  <a:lnTo>
                    <a:pt x="225" y="237"/>
                  </a:lnTo>
                  <a:lnTo>
                    <a:pt x="225" y="237"/>
                  </a:lnTo>
                  <a:lnTo>
                    <a:pt x="225" y="236"/>
                  </a:lnTo>
                  <a:lnTo>
                    <a:pt x="225" y="235"/>
                  </a:lnTo>
                  <a:lnTo>
                    <a:pt x="226" y="232"/>
                  </a:lnTo>
                  <a:lnTo>
                    <a:pt x="228" y="229"/>
                  </a:lnTo>
                  <a:lnTo>
                    <a:pt x="229" y="224"/>
                  </a:lnTo>
                  <a:lnTo>
                    <a:pt x="232" y="220"/>
                  </a:lnTo>
                  <a:lnTo>
                    <a:pt x="234" y="216"/>
                  </a:lnTo>
                  <a:lnTo>
                    <a:pt x="237" y="212"/>
                  </a:lnTo>
                  <a:lnTo>
                    <a:pt x="239" y="207"/>
                  </a:lnTo>
                  <a:lnTo>
                    <a:pt x="242" y="202"/>
                  </a:lnTo>
                  <a:lnTo>
                    <a:pt x="243" y="197"/>
                  </a:lnTo>
                  <a:lnTo>
                    <a:pt x="246" y="193"/>
                  </a:lnTo>
                  <a:lnTo>
                    <a:pt x="248" y="190"/>
                  </a:lnTo>
                  <a:lnTo>
                    <a:pt x="251" y="186"/>
                  </a:lnTo>
                  <a:lnTo>
                    <a:pt x="252" y="185"/>
                  </a:lnTo>
                  <a:lnTo>
                    <a:pt x="252" y="183"/>
                  </a:lnTo>
                  <a:lnTo>
                    <a:pt x="254" y="182"/>
                  </a:lnTo>
                  <a:lnTo>
                    <a:pt x="254" y="175"/>
                  </a:lnTo>
                  <a:lnTo>
                    <a:pt x="255" y="167"/>
                  </a:lnTo>
                  <a:lnTo>
                    <a:pt x="257" y="163"/>
                  </a:lnTo>
                  <a:lnTo>
                    <a:pt x="258" y="161"/>
                  </a:lnTo>
                  <a:lnTo>
                    <a:pt x="259" y="158"/>
                  </a:lnTo>
                  <a:lnTo>
                    <a:pt x="261" y="158"/>
                  </a:lnTo>
                  <a:lnTo>
                    <a:pt x="262" y="158"/>
                  </a:lnTo>
                  <a:lnTo>
                    <a:pt x="262" y="158"/>
                  </a:lnTo>
                  <a:lnTo>
                    <a:pt x="261" y="161"/>
                  </a:lnTo>
                  <a:lnTo>
                    <a:pt x="261" y="164"/>
                  </a:lnTo>
                  <a:lnTo>
                    <a:pt x="261" y="167"/>
                  </a:lnTo>
                  <a:lnTo>
                    <a:pt x="261" y="172"/>
                  </a:lnTo>
                  <a:lnTo>
                    <a:pt x="261" y="175"/>
                  </a:lnTo>
                  <a:lnTo>
                    <a:pt x="261" y="177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76" y="170"/>
                  </a:lnTo>
                  <a:lnTo>
                    <a:pt x="276" y="163"/>
                  </a:lnTo>
                  <a:lnTo>
                    <a:pt x="284" y="161"/>
                  </a:lnTo>
                  <a:lnTo>
                    <a:pt x="288" y="157"/>
                  </a:lnTo>
                  <a:lnTo>
                    <a:pt x="292" y="161"/>
                  </a:lnTo>
                  <a:lnTo>
                    <a:pt x="291" y="161"/>
                  </a:lnTo>
                  <a:lnTo>
                    <a:pt x="291" y="163"/>
                  </a:lnTo>
                  <a:lnTo>
                    <a:pt x="290" y="166"/>
                  </a:lnTo>
                  <a:lnTo>
                    <a:pt x="288" y="167"/>
                  </a:lnTo>
                  <a:lnTo>
                    <a:pt x="287" y="170"/>
                  </a:lnTo>
                  <a:lnTo>
                    <a:pt x="284" y="173"/>
                  </a:lnTo>
                  <a:lnTo>
                    <a:pt x="284" y="176"/>
                  </a:lnTo>
                  <a:lnTo>
                    <a:pt x="284" y="177"/>
                  </a:lnTo>
                  <a:lnTo>
                    <a:pt x="284" y="182"/>
                  </a:lnTo>
                  <a:lnTo>
                    <a:pt x="284" y="185"/>
                  </a:lnTo>
                  <a:lnTo>
                    <a:pt x="285" y="185"/>
                  </a:lnTo>
                  <a:lnTo>
                    <a:pt x="287" y="183"/>
                  </a:lnTo>
                  <a:lnTo>
                    <a:pt x="288" y="182"/>
                  </a:lnTo>
                  <a:lnTo>
                    <a:pt x="290" y="180"/>
                  </a:lnTo>
                  <a:lnTo>
                    <a:pt x="290" y="179"/>
                  </a:lnTo>
                  <a:lnTo>
                    <a:pt x="291" y="177"/>
                  </a:lnTo>
                  <a:lnTo>
                    <a:pt x="300" y="167"/>
                  </a:lnTo>
                  <a:lnTo>
                    <a:pt x="301" y="167"/>
                  </a:lnTo>
                  <a:lnTo>
                    <a:pt x="304" y="166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7" y="158"/>
                  </a:lnTo>
                  <a:lnTo>
                    <a:pt x="307" y="155"/>
                  </a:lnTo>
                  <a:lnTo>
                    <a:pt x="308" y="152"/>
                  </a:lnTo>
                  <a:lnTo>
                    <a:pt x="309" y="149"/>
                  </a:lnTo>
                  <a:lnTo>
                    <a:pt x="312" y="147"/>
                  </a:lnTo>
                  <a:lnTo>
                    <a:pt x="315" y="146"/>
                  </a:lnTo>
                  <a:lnTo>
                    <a:pt x="317" y="146"/>
                  </a:lnTo>
                  <a:lnTo>
                    <a:pt x="318" y="144"/>
                  </a:lnTo>
                  <a:lnTo>
                    <a:pt x="339" y="146"/>
                  </a:lnTo>
                  <a:lnTo>
                    <a:pt x="339" y="142"/>
                  </a:lnTo>
                  <a:lnTo>
                    <a:pt x="353" y="142"/>
                  </a:lnTo>
                  <a:lnTo>
                    <a:pt x="363" y="127"/>
                  </a:lnTo>
                  <a:lnTo>
                    <a:pt x="396" y="130"/>
                  </a:lnTo>
                  <a:lnTo>
                    <a:pt x="396" y="130"/>
                  </a:lnTo>
                  <a:lnTo>
                    <a:pt x="396" y="130"/>
                  </a:lnTo>
                  <a:lnTo>
                    <a:pt x="396" y="130"/>
                  </a:lnTo>
                  <a:lnTo>
                    <a:pt x="396" y="130"/>
                  </a:lnTo>
                  <a:lnTo>
                    <a:pt x="399" y="133"/>
                  </a:lnTo>
                  <a:lnTo>
                    <a:pt x="402" y="134"/>
                  </a:lnTo>
                  <a:lnTo>
                    <a:pt x="406" y="137"/>
                  </a:lnTo>
                  <a:lnTo>
                    <a:pt x="411" y="142"/>
                  </a:lnTo>
                  <a:lnTo>
                    <a:pt x="417" y="144"/>
                  </a:lnTo>
                  <a:lnTo>
                    <a:pt x="422" y="147"/>
                  </a:lnTo>
                  <a:lnTo>
                    <a:pt x="425" y="149"/>
                  </a:lnTo>
                  <a:lnTo>
                    <a:pt x="426" y="147"/>
                  </a:lnTo>
                  <a:lnTo>
                    <a:pt x="426" y="146"/>
                  </a:lnTo>
                  <a:lnTo>
                    <a:pt x="425" y="144"/>
                  </a:lnTo>
                  <a:lnTo>
                    <a:pt x="425" y="140"/>
                  </a:lnTo>
                  <a:lnTo>
                    <a:pt x="423" y="137"/>
                  </a:lnTo>
                  <a:lnTo>
                    <a:pt x="423" y="133"/>
                  </a:lnTo>
                  <a:lnTo>
                    <a:pt x="425" y="130"/>
                  </a:lnTo>
                  <a:lnTo>
                    <a:pt x="425" y="128"/>
                  </a:lnTo>
                  <a:lnTo>
                    <a:pt x="428" y="127"/>
                  </a:lnTo>
                  <a:lnTo>
                    <a:pt x="429" y="125"/>
                  </a:lnTo>
                  <a:lnTo>
                    <a:pt x="430" y="125"/>
                  </a:lnTo>
                  <a:lnTo>
                    <a:pt x="432" y="125"/>
                  </a:lnTo>
                  <a:lnTo>
                    <a:pt x="432" y="125"/>
                  </a:lnTo>
                  <a:lnTo>
                    <a:pt x="432" y="128"/>
                  </a:lnTo>
                  <a:lnTo>
                    <a:pt x="435" y="130"/>
                  </a:lnTo>
                  <a:lnTo>
                    <a:pt x="438" y="130"/>
                  </a:lnTo>
                  <a:lnTo>
                    <a:pt x="441" y="130"/>
                  </a:lnTo>
                  <a:lnTo>
                    <a:pt x="444" y="128"/>
                  </a:lnTo>
                  <a:lnTo>
                    <a:pt x="447" y="127"/>
                  </a:lnTo>
                  <a:lnTo>
                    <a:pt x="450" y="127"/>
                  </a:lnTo>
                  <a:lnTo>
                    <a:pt x="450" y="125"/>
                  </a:lnTo>
                  <a:lnTo>
                    <a:pt x="477" y="125"/>
                  </a:lnTo>
                  <a:lnTo>
                    <a:pt x="478" y="122"/>
                  </a:lnTo>
                  <a:lnTo>
                    <a:pt x="474" y="122"/>
                  </a:lnTo>
                  <a:lnTo>
                    <a:pt x="466" y="109"/>
                  </a:lnTo>
                  <a:lnTo>
                    <a:pt x="455" y="109"/>
                  </a:lnTo>
                  <a:lnTo>
                    <a:pt x="455" y="109"/>
                  </a:lnTo>
                  <a:lnTo>
                    <a:pt x="455" y="107"/>
                  </a:lnTo>
                  <a:lnTo>
                    <a:pt x="455" y="106"/>
                  </a:lnTo>
                  <a:lnTo>
                    <a:pt x="455" y="104"/>
                  </a:lnTo>
                  <a:lnTo>
                    <a:pt x="453" y="101"/>
                  </a:lnTo>
                  <a:lnTo>
                    <a:pt x="453" y="100"/>
                  </a:lnTo>
                  <a:lnTo>
                    <a:pt x="453" y="98"/>
                  </a:lnTo>
                  <a:lnTo>
                    <a:pt x="453" y="97"/>
                  </a:lnTo>
                  <a:lnTo>
                    <a:pt x="453" y="89"/>
                  </a:lnTo>
                  <a:lnTo>
                    <a:pt x="452" y="84"/>
                  </a:lnTo>
                  <a:lnTo>
                    <a:pt x="449" y="81"/>
                  </a:lnTo>
                  <a:lnTo>
                    <a:pt x="446" y="80"/>
                  </a:lnTo>
                  <a:lnTo>
                    <a:pt x="443" y="80"/>
                  </a:lnTo>
                  <a:lnTo>
                    <a:pt x="441" y="80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5" y="86"/>
                  </a:lnTo>
                  <a:lnTo>
                    <a:pt x="430" y="86"/>
                  </a:lnTo>
                  <a:lnTo>
                    <a:pt x="428" y="86"/>
                  </a:lnTo>
                  <a:lnTo>
                    <a:pt x="425" y="86"/>
                  </a:lnTo>
                  <a:lnTo>
                    <a:pt x="423" y="84"/>
                  </a:lnTo>
                  <a:lnTo>
                    <a:pt x="420" y="83"/>
                  </a:lnTo>
                  <a:lnTo>
                    <a:pt x="420" y="81"/>
                  </a:lnTo>
                  <a:lnTo>
                    <a:pt x="420" y="80"/>
                  </a:lnTo>
                  <a:lnTo>
                    <a:pt x="414" y="86"/>
                  </a:lnTo>
                  <a:lnTo>
                    <a:pt x="396" y="84"/>
                  </a:lnTo>
                  <a:lnTo>
                    <a:pt x="394" y="80"/>
                  </a:lnTo>
                  <a:lnTo>
                    <a:pt x="392" y="62"/>
                  </a:lnTo>
                  <a:lnTo>
                    <a:pt x="394" y="57"/>
                  </a:lnTo>
                  <a:lnTo>
                    <a:pt x="393" y="51"/>
                  </a:lnTo>
                  <a:lnTo>
                    <a:pt x="393" y="51"/>
                  </a:lnTo>
                  <a:lnTo>
                    <a:pt x="392" y="53"/>
                  </a:lnTo>
                  <a:lnTo>
                    <a:pt x="389" y="53"/>
                  </a:lnTo>
                  <a:lnTo>
                    <a:pt x="386" y="54"/>
                  </a:lnTo>
                  <a:lnTo>
                    <a:pt x="383" y="56"/>
                  </a:lnTo>
                  <a:lnTo>
                    <a:pt x="380" y="56"/>
                  </a:lnTo>
                  <a:lnTo>
                    <a:pt x="378" y="57"/>
                  </a:lnTo>
                  <a:lnTo>
                    <a:pt x="378" y="57"/>
                  </a:lnTo>
                  <a:lnTo>
                    <a:pt x="373" y="60"/>
                  </a:lnTo>
                  <a:lnTo>
                    <a:pt x="367" y="62"/>
                  </a:lnTo>
                  <a:lnTo>
                    <a:pt x="361" y="62"/>
                  </a:lnTo>
                  <a:lnTo>
                    <a:pt x="356" y="65"/>
                  </a:lnTo>
                  <a:lnTo>
                    <a:pt x="350" y="65"/>
                  </a:lnTo>
                  <a:lnTo>
                    <a:pt x="344" y="67"/>
                  </a:lnTo>
                  <a:lnTo>
                    <a:pt x="340" y="68"/>
                  </a:lnTo>
                  <a:lnTo>
                    <a:pt x="334" y="68"/>
                  </a:lnTo>
                  <a:lnTo>
                    <a:pt x="330" y="70"/>
                  </a:lnTo>
                  <a:lnTo>
                    <a:pt x="324" y="70"/>
                  </a:lnTo>
                  <a:lnTo>
                    <a:pt x="321" y="70"/>
                  </a:lnTo>
                  <a:lnTo>
                    <a:pt x="317" y="70"/>
                  </a:lnTo>
                  <a:lnTo>
                    <a:pt x="314" y="70"/>
                  </a:lnTo>
                  <a:lnTo>
                    <a:pt x="312" y="70"/>
                  </a:lnTo>
                  <a:lnTo>
                    <a:pt x="311" y="70"/>
                  </a:lnTo>
                  <a:lnTo>
                    <a:pt x="311" y="70"/>
                  </a:lnTo>
                  <a:lnTo>
                    <a:pt x="279" y="100"/>
                  </a:lnTo>
                  <a:lnTo>
                    <a:pt x="273" y="98"/>
                  </a:lnTo>
                  <a:lnTo>
                    <a:pt x="273" y="98"/>
                  </a:lnTo>
                  <a:lnTo>
                    <a:pt x="268" y="98"/>
                  </a:lnTo>
                  <a:lnTo>
                    <a:pt x="267" y="98"/>
                  </a:lnTo>
                  <a:lnTo>
                    <a:pt x="264" y="98"/>
                  </a:lnTo>
                  <a:lnTo>
                    <a:pt x="261" y="98"/>
                  </a:lnTo>
                  <a:lnTo>
                    <a:pt x="259" y="98"/>
                  </a:lnTo>
                  <a:lnTo>
                    <a:pt x="258" y="94"/>
                  </a:lnTo>
                  <a:lnTo>
                    <a:pt x="257" y="93"/>
                  </a:lnTo>
                  <a:lnTo>
                    <a:pt x="254" y="92"/>
                  </a:lnTo>
                  <a:lnTo>
                    <a:pt x="251" y="93"/>
                  </a:lnTo>
                  <a:lnTo>
                    <a:pt x="246" y="94"/>
                  </a:lnTo>
                  <a:lnTo>
                    <a:pt x="243" y="95"/>
                  </a:lnTo>
                  <a:lnTo>
                    <a:pt x="242" y="97"/>
                  </a:lnTo>
                  <a:lnTo>
                    <a:pt x="240" y="97"/>
                  </a:lnTo>
                  <a:lnTo>
                    <a:pt x="225" y="97"/>
                  </a:lnTo>
                  <a:lnTo>
                    <a:pt x="222" y="92"/>
                  </a:lnTo>
                  <a:lnTo>
                    <a:pt x="222" y="90"/>
                  </a:lnTo>
                  <a:lnTo>
                    <a:pt x="221" y="89"/>
                  </a:lnTo>
                  <a:lnTo>
                    <a:pt x="218" y="86"/>
                  </a:lnTo>
                  <a:lnTo>
                    <a:pt x="215" y="84"/>
                  </a:lnTo>
                  <a:lnTo>
                    <a:pt x="213" y="81"/>
                  </a:lnTo>
                  <a:lnTo>
                    <a:pt x="210" y="79"/>
                  </a:lnTo>
                  <a:lnTo>
                    <a:pt x="207" y="76"/>
                  </a:lnTo>
                  <a:lnTo>
                    <a:pt x="206" y="74"/>
                  </a:lnTo>
                  <a:lnTo>
                    <a:pt x="199" y="65"/>
                  </a:lnTo>
                  <a:lnTo>
                    <a:pt x="190" y="60"/>
                  </a:lnTo>
                  <a:lnTo>
                    <a:pt x="183" y="59"/>
                  </a:lnTo>
                  <a:lnTo>
                    <a:pt x="176" y="59"/>
                  </a:lnTo>
                  <a:lnTo>
                    <a:pt x="169" y="62"/>
                  </a:lnTo>
                  <a:lnTo>
                    <a:pt x="165" y="64"/>
                  </a:lnTo>
                  <a:lnTo>
                    <a:pt x="162" y="65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65"/>
                  </a:lnTo>
                  <a:lnTo>
                    <a:pt x="162" y="62"/>
                  </a:lnTo>
                  <a:lnTo>
                    <a:pt x="162" y="62"/>
                  </a:lnTo>
                  <a:lnTo>
                    <a:pt x="163" y="60"/>
                  </a:lnTo>
                  <a:lnTo>
                    <a:pt x="163" y="57"/>
                  </a:lnTo>
                  <a:lnTo>
                    <a:pt x="163" y="56"/>
                  </a:lnTo>
                  <a:lnTo>
                    <a:pt x="163" y="56"/>
                  </a:lnTo>
                  <a:lnTo>
                    <a:pt x="159" y="57"/>
                  </a:lnTo>
                  <a:lnTo>
                    <a:pt x="154" y="59"/>
                  </a:lnTo>
                  <a:lnTo>
                    <a:pt x="152" y="62"/>
                  </a:lnTo>
                  <a:lnTo>
                    <a:pt x="149" y="67"/>
                  </a:lnTo>
                  <a:lnTo>
                    <a:pt x="146" y="71"/>
                  </a:lnTo>
                  <a:lnTo>
                    <a:pt x="144" y="74"/>
                  </a:lnTo>
                  <a:lnTo>
                    <a:pt x="143" y="77"/>
                  </a:lnTo>
                  <a:lnTo>
                    <a:pt x="143" y="77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1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7" y="54"/>
                  </a:lnTo>
                  <a:lnTo>
                    <a:pt x="137" y="53"/>
                  </a:lnTo>
                  <a:lnTo>
                    <a:pt x="136" y="51"/>
                  </a:lnTo>
                  <a:lnTo>
                    <a:pt x="137" y="47"/>
                  </a:lnTo>
                  <a:lnTo>
                    <a:pt x="137" y="44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40" y="41"/>
                  </a:lnTo>
                  <a:lnTo>
                    <a:pt x="140" y="43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1" y="46"/>
                  </a:lnTo>
                  <a:lnTo>
                    <a:pt x="141" y="46"/>
                  </a:lnTo>
                  <a:lnTo>
                    <a:pt x="141" y="44"/>
                  </a:lnTo>
                  <a:lnTo>
                    <a:pt x="141" y="43"/>
                  </a:lnTo>
                  <a:lnTo>
                    <a:pt x="141" y="41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1" y="41"/>
                  </a:lnTo>
                  <a:lnTo>
                    <a:pt x="141" y="46"/>
                  </a:lnTo>
                  <a:lnTo>
                    <a:pt x="143" y="50"/>
                  </a:lnTo>
                  <a:lnTo>
                    <a:pt x="144" y="51"/>
                  </a:lnTo>
                  <a:lnTo>
                    <a:pt x="146" y="51"/>
                  </a:lnTo>
                  <a:lnTo>
                    <a:pt x="147" y="51"/>
                  </a:lnTo>
                  <a:lnTo>
                    <a:pt x="147" y="49"/>
                  </a:lnTo>
                  <a:lnTo>
                    <a:pt x="149" y="47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56" y="38"/>
                  </a:lnTo>
                  <a:lnTo>
                    <a:pt x="157" y="31"/>
                  </a:lnTo>
                  <a:lnTo>
                    <a:pt x="174" y="16"/>
                  </a:lnTo>
                  <a:lnTo>
                    <a:pt x="180" y="7"/>
                  </a:lnTo>
                  <a:lnTo>
                    <a:pt x="179" y="7"/>
                  </a:lnTo>
                  <a:lnTo>
                    <a:pt x="179" y="8"/>
                  </a:lnTo>
                  <a:lnTo>
                    <a:pt x="179" y="8"/>
                  </a:lnTo>
                  <a:lnTo>
                    <a:pt x="180" y="8"/>
                  </a:lnTo>
                  <a:lnTo>
                    <a:pt x="188" y="5"/>
                  </a:lnTo>
                  <a:lnTo>
                    <a:pt x="190" y="4"/>
                  </a:lnTo>
                  <a:lnTo>
                    <a:pt x="192" y="2"/>
                  </a:lnTo>
                  <a:lnTo>
                    <a:pt x="189" y="1"/>
                  </a:lnTo>
                  <a:lnTo>
                    <a:pt x="185" y="1"/>
                  </a:lnTo>
                  <a:lnTo>
                    <a:pt x="182" y="0"/>
                  </a:lnTo>
                  <a:lnTo>
                    <a:pt x="177" y="0"/>
                  </a:lnTo>
                  <a:lnTo>
                    <a:pt x="176" y="0"/>
                  </a:lnTo>
                  <a:lnTo>
                    <a:pt x="166" y="1"/>
                  </a:lnTo>
                  <a:lnTo>
                    <a:pt x="156" y="4"/>
                  </a:lnTo>
                  <a:lnTo>
                    <a:pt x="149" y="10"/>
                  </a:lnTo>
                  <a:lnTo>
                    <a:pt x="141" y="16"/>
                  </a:lnTo>
                  <a:lnTo>
                    <a:pt x="137" y="21"/>
                  </a:lnTo>
                  <a:lnTo>
                    <a:pt x="133" y="26"/>
                  </a:lnTo>
                  <a:lnTo>
                    <a:pt x="130" y="29"/>
                  </a:lnTo>
                  <a:lnTo>
                    <a:pt x="130" y="30"/>
                  </a:lnTo>
                  <a:lnTo>
                    <a:pt x="123" y="31"/>
                  </a:lnTo>
                  <a:lnTo>
                    <a:pt x="119" y="34"/>
                  </a:lnTo>
                  <a:lnTo>
                    <a:pt x="114" y="38"/>
                  </a:lnTo>
                  <a:lnTo>
                    <a:pt x="111" y="43"/>
                  </a:lnTo>
                  <a:lnTo>
                    <a:pt x="110" y="47"/>
                  </a:lnTo>
                  <a:lnTo>
                    <a:pt x="107" y="51"/>
                  </a:lnTo>
                  <a:lnTo>
                    <a:pt x="105" y="54"/>
                  </a:lnTo>
                  <a:lnTo>
                    <a:pt x="102" y="56"/>
                  </a:lnTo>
                  <a:lnTo>
                    <a:pt x="100" y="57"/>
                  </a:lnTo>
                  <a:lnTo>
                    <a:pt x="96" y="59"/>
                  </a:lnTo>
                  <a:lnTo>
                    <a:pt x="91" y="62"/>
                  </a:lnTo>
                  <a:lnTo>
                    <a:pt x="87" y="65"/>
                  </a:lnTo>
                  <a:lnTo>
                    <a:pt x="83" y="68"/>
                  </a:lnTo>
                  <a:lnTo>
                    <a:pt x="80" y="71"/>
                  </a:lnTo>
                  <a:lnTo>
                    <a:pt x="77" y="74"/>
                  </a:lnTo>
                  <a:lnTo>
                    <a:pt x="77" y="76"/>
                  </a:lnTo>
                  <a:lnTo>
                    <a:pt x="69" y="76"/>
                  </a:lnTo>
                  <a:lnTo>
                    <a:pt x="61" y="76"/>
                  </a:lnTo>
                  <a:lnTo>
                    <a:pt x="61" y="77"/>
                  </a:lnTo>
                  <a:lnTo>
                    <a:pt x="58" y="77"/>
                  </a:lnTo>
                  <a:lnTo>
                    <a:pt x="55" y="77"/>
                  </a:lnTo>
                  <a:lnTo>
                    <a:pt x="54" y="79"/>
                  </a:lnTo>
                  <a:lnTo>
                    <a:pt x="50" y="79"/>
                  </a:lnTo>
                  <a:lnTo>
                    <a:pt x="47" y="80"/>
                  </a:lnTo>
                  <a:lnTo>
                    <a:pt x="45" y="81"/>
                  </a:lnTo>
                  <a:lnTo>
                    <a:pt x="44" y="81"/>
                  </a:lnTo>
                  <a:lnTo>
                    <a:pt x="38" y="89"/>
                  </a:lnTo>
                  <a:lnTo>
                    <a:pt x="31" y="94"/>
                  </a:lnTo>
                  <a:lnTo>
                    <a:pt x="24" y="98"/>
                  </a:lnTo>
                  <a:lnTo>
                    <a:pt x="17" y="101"/>
                  </a:lnTo>
                  <a:lnTo>
                    <a:pt x="9" y="104"/>
                  </a:lnTo>
                  <a:lnTo>
                    <a:pt x="5" y="107"/>
                  </a:lnTo>
                  <a:lnTo>
                    <a:pt x="0" y="107"/>
                  </a:lnTo>
                  <a:lnTo>
                    <a:pt x="0" y="10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" name="Freeform 54"/>
            <p:cNvSpPr>
              <a:spLocks/>
            </p:cNvSpPr>
            <p:nvPr/>
          </p:nvSpPr>
          <p:spPr bwMode="auto">
            <a:xfrm>
              <a:off x="2506105" y="4167917"/>
              <a:ext cx="321300" cy="167038"/>
            </a:xfrm>
            <a:custGeom>
              <a:avLst/>
              <a:gdLst>
                <a:gd name="T0" fmla="*/ 9 w 479"/>
                <a:gd name="T1" fmla="*/ 109 h 249"/>
                <a:gd name="T2" fmla="*/ 25 w 479"/>
                <a:gd name="T3" fmla="*/ 128 h 249"/>
                <a:gd name="T4" fmla="*/ 34 w 479"/>
                <a:gd name="T5" fmla="*/ 136 h 249"/>
                <a:gd name="T6" fmla="*/ 63 w 479"/>
                <a:gd name="T7" fmla="*/ 139 h 249"/>
                <a:gd name="T8" fmla="*/ 111 w 479"/>
                <a:gd name="T9" fmla="*/ 152 h 249"/>
                <a:gd name="T10" fmla="*/ 147 w 479"/>
                <a:gd name="T11" fmla="*/ 160 h 249"/>
                <a:gd name="T12" fmla="*/ 177 w 479"/>
                <a:gd name="T13" fmla="*/ 177 h 249"/>
                <a:gd name="T14" fmla="*/ 198 w 479"/>
                <a:gd name="T15" fmla="*/ 194 h 249"/>
                <a:gd name="T16" fmla="*/ 196 w 479"/>
                <a:gd name="T17" fmla="*/ 218 h 249"/>
                <a:gd name="T18" fmla="*/ 212 w 479"/>
                <a:gd name="T19" fmla="*/ 227 h 249"/>
                <a:gd name="T20" fmla="*/ 225 w 479"/>
                <a:gd name="T21" fmla="*/ 236 h 249"/>
                <a:gd name="T22" fmla="*/ 225 w 479"/>
                <a:gd name="T23" fmla="*/ 235 h 249"/>
                <a:gd name="T24" fmla="*/ 239 w 479"/>
                <a:gd name="T25" fmla="*/ 207 h 249"/>
                <a:gd name="T26" fmla="*/ 252 w 479"/>
                <a:gd name="T27" fmla="*/ 183 h 249"/>
                <a:gd name="T28" fmla="*/ 259 w 479"/>
                <a:gd name="T29" fmla="*/ 158 h 249"/>
                <a:gd name="T30" fmla="*/ 261 w 479"/>
                <a:gd name="T31" fmla="*/ 167 h 249"/>
                <a:gd name="T32" fmla="*/ 276 w 479"/>
                <a:gd name="T33" fmla="*/ 163 h 249"/>
                <a:gd name="T34" fmla="*/ 290 w 479"/>
                <a:gd name="T35" fmla="*/ 166 h 249"/>
                <a:gd name="T36" fmla="*/ 284 w 479"/>
                <a:gd name="T37" fmla="*/ 182 h 249"/>
                <a:gd name="T38" fmla="*/ 291 w 479"/>
                <a:gd name="T39" fmla="*/ 177 h 249"/>
                <a:gd name="T40" fmla="*/ 308 w 479"/>
                <a:gd name="T41" fmla="*/ 163 h 249"/>
                <a:gd name="T42" fmla="*/ 317 w 479"/>
                <a:gd name="T43" fmla="*/ 146 h 249"/>
                <a:gd name="T44" fmla="*/ 396 w 479"/>
                <a:gd name="T45" fmla="*/ 130 h 249"/>
                <a:gd name="T46" fmla="*/ 406 w 479"/>
                <a:gd name="T47" fmla="*/ 137 h 249"/>
                <a:gd name="T48" fmla="*/ 426 w 479"/>
                <a:gd name="T49" fmla="*/ 146 h 249"/>
                <a:gd name="T50" fmla="*/ 425 w 479"/>
                <a:gd name="T51" fmla="*/ 128 h 249"/>
                <a:gd name="T52" fmla="*/ 432 w 479"/>
                <a:gd name="T53" fmla="*/ 128 h 249"/>
                <a:gd name="T54" fmla="*/ 450 w 479"/>
                <a:gd name="T55" fmla="*/ 125 h 249"/>
                <a:gd name="T56" fmla="*/ 455 w 479"/>
                <a:gd name="T57" fmla="*/ 109 h 249"/>
                <a:gd name="T58" fmla="*/ 453 w 479"/>
                <a:gd name="T59" fmla="*/ 97 h 249"/>
                <a:gd name="T60" fmla="*/ 441 w 479"/>
                <a:gd name="T61" fmla="*/ 80 h 249"/>
                <a:gd name="T62" fmla="*/ 425 w 479"/>
                <a:gd name="T63" fmla="*/ 86 h 249"/>
                <a:gd name="T64" fmla="*/ 394 w 479"/>
                <a:gd name="T65" fmla="*/ 80 h 249"/>
                <a:gd name="T66" fmla="*/ 389 w 479"/>
                <a:gd name="T67" fmla="*/ 53 h 249"/>
                <a:gd name="T68" fmla="*/ 373 w 479"/>
                <a:gd name="T69" fmla="*/ 60 h 249"/>
                <a:gd name="T70" fmla="*/ 334 w 479"/>
                <a:gd name="T71" fmla="*/ 68 h 249"/>
                <a:gd name="T72" fmla="*/ 311 w 479"/>
                <a:gd name="T73" fmla="*/ 70 h 249"/>
                <a:gd name="T74" fmla="*/ 267 w 479"/>
                <a:gd name="T75" fmla="*/ 98 h 249"/>
                <a:gd name="T76" fmla="*/ 254 w 479"/>
                <a:gd name="T77" fmla="*/ 92 h 249"/>
                <a:gd name="T78" fmla="*/ 222 w 479"/>
                <a:gd name="T79" fmla="*/ 92 h 249"/>
                <a:gd name="T80" fmla="*/ 210 w 479"/>
                <a:gd name="T81" fmla="*/ 79 h 249"/>
                <a:gd name="T82" fmla="*/ 176 w 479"/>
                <a:gd name="T83" fmla="*/ 59 h 249"/>
                <a:gd name="T84" fmla="*/ 160 w 479"/>
                <a:gd name="T85" fmla="*/ 65 h 249"/>
                <a:gd name="T86" fmla="*/ 163 w 479"/>
                <a:gd name="T87" fmla="*/ 56 h 249"/>
                <a:gd name="T88" fmla="*/ 143 w 479"/>
                <a:gd name="T89" fmla="*/ 77 h 249"/>
                <a:gd name="T90" fmla="*/ 138 w 479"/>
                <a:gd name="T91" fmla="*/ 56 h 249"/>
                <a:gd name="T92" fmla="*/ 138 w 479"/>
                <a:gd name="T93" fmla="*/ 41 h 249"/>
                <a:gd name="T94" fmla="*/ 141 w 479"/>
                <a:gd name="T95" fmla="*/ 46 h 249"/>
                <a:gd name="T96" fmla="*/ 141 w 479"/>
                <a:gd name="T97" fmla="*/ 41 h 249"/>
                <a:gd name="T98" fmla="*/ 147 w 479"/>
                <a:gd name="T99" fmla="*/ 49 h 249"/>
                <a:gd name="T100" fmla="*/ 180 w 479"/>
                <a:gd name="T101" fmla="*/ 7 h 249"/>
                <a:gd name="T102" fmla="*/ 188 w 479"/>
                <a:gd name="T103" fmla="*/ 5 h 249"/>
                <a:gd name="T104" fmla="*/ 176 w 479"/>
                <a:gd name="T105" fmla="*/ 0 h 249"/>
                <a:gd name="T106" fmla="*/ 133 w 479"/>
                <a:gd name="T107" fmla="*/ 26 h 249"/>
                <a:gd name="T108" fmla="*/ 111 w 479"/>
                <a:gd name="T109" fmla="*/ 43 h 249"/>
                <a:gd name="T110" fmla="*/ 96 w 479"/>
                <a:gd name="T111" fmla="*/ 59 h 249"/>
                <a:gd name="T112" fmla="*/ 69 w 479"/>
                <a:gd name="T113" fmla="*/ 76 h 249"/>
                <a:gd name="T114" fmla="*/ 50 w 479"/>
                <a:gd name="T115" fmla="*/ 79 h 249"/>
                <a:gd name="T116" fmla="*/ 24 w 479"/>
                <a:gd name="T117" fmla="*/ 98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79" h="249">
                  <a:moveTo>
                    <a:pt x="0" y="109"/>
                  </a:moveTo>
                  <a:lnTo>
                    <a:pt x="0" y="109"/>
                  </a:lnTo>
                  <a:lnTo>
                    <a:pt x="0" y="109"/>
                  </a:lnTo>
                  <a:lnTo>
                    <a:pt x="2" y="109"/>
                  </a:lnTo>
                  <a:lnTo>
                    <a:pt x="3" y="109"/>
                  </a:lnTo>
                  <a:lnTo>
                    <a:pt x="6" y="109"/>
                  </a:lnTo>
                  <a:lnTo>
                    <a:pt x="9" y="109"/>
                  </a:lnTo>
                  <a:lnTo>
                    <a:pt x="14" y="110"/>
                  </a:lnTo>
                  <a:lnTo>
                    <a:pt x="17" y="114"/>
                  </a:lnTo>
                  <a:lnTo>
                    <a:pt x="21" y="119"/>
                  </a:lnTo>
                  <a:lnTo>
                    <a:pt x="24" y="125"/>
                  </a:lnTo>
                  <a:lnTo>
                    <a:pt x="24" y="125"/>
                  </a:lnTo>
                  <a:lnTo>
                    <a:pt x="25" y="127"/>
                  </a:lnTo>
                  <a:lnTo>
                    <a:pt x="25" y="128"/>
                  </a:lnTo>
                  <a:lnTo>
                    <a:pt x="28" y="130"/>
                  </a:lnTo>
                  <a:lnTo>
                    <a:pt x="30" y="131"/>
                  </a:lnTo>
                  <a:lnTo>
                    <a:pt x="31" y="133"/>
                  </a:lnTo>
                  <a:lnTo>
                    <a:pt x="33" y="134"/>
                  </a:lnTo>
                  <a:lnTo>
                    <a:pt x="34" y="134"/>
                  </a:lnTo>
                  <a:lnTo>
                    <a:pt x="34" y="136"/>
                  </a:lnTo>
                  <a:lnTo>
                    <a:pt x="34" y="136"/>
                  </a:lnTo>
                  <a:lnTo>
                    <a:pt x="34" y="136"/>
                  </a:lnTo>
                  <a:lnTo>
                    <a:pt x="36" y="136"/>
                  </a:lnTo>
                  <a:lnTo>
                    <a:pt x="39" y="136"/>
                  </a:lnTo>
                  <a:lnTo>
                    <a:pt x="44" y="136"/>
                  </a:lnTo>
                  <a:lnTo>
                    <a:pt x="50" y="137"/>
                  </a:lnTo>
                  <a:lnTo>
                    <a:pt x="55" y="137"/>
                  </a:lnTo>
                  <a:lnTo>
                    <a:pt x="63" y="139"/>
                  </a:lnTo>
                  <a:lnTo>
                    <a:pt x="69" y="140"/>
                  </a:lnTo>
                  <a:lnTo>
                    <a:pt x="77" y="142"/>
                  </a:lnTo>
                  <a:lnTo>
                    <a:pt x="84" y="143"/>
                  </a:lnTo>
                  <a:lnTo>
                    <a:pt x="91" y="144"/>
                  </a:lnTo>
                  <a:lnTo>
                    <a:pt x="99" y="147"/>
                  </a:lnTo>
                  <a:lnTo>
                    <a:pt x="105" y="149"/>
                  </a:lnTo>
                  <a:lnTo>
                    <a:pt x="111" y="152"/>
                  </a:lnTo>
                  <a:lnTo>
                    <a:pt x="117" y="155"/>
                  </a:lnTo>
                  <a:lnTo>
                    <a:pt x="123" y="157"/>
                  </a:lnTo>
                  <a:lnTo>
                    <a:pt x="123" y="157"/>
                  </a:lnTo>
                  <a:lnTo>
                    <a:pt x="124" y="157"/>
                  </a:lnTo>
                  <a:lnTo>
                    <a:pt x="130" y="158"/>
                  </a:lnTo>
                  <a:lnTo>
                    <a:pt x="138" y="160"/>
                  </a:lnTo>
                  <a:lnTo>
                    <a:pt x="147" y="160"/>
                  </a:lnTo>
                  <a:lnTo>
                    <a:pt x="156" y="161"/>
                  </a:lnTo>
                  <a:lnTo>
                    <a:pt x="163" y="163"/>
                  </a:lnTo>
                  <a:lnTo>
                    <a:pt x="169" y="163"/>
                  </a:lnTo>
                  <a:lnTo>
                    <a:pt x="171" y="163"/>
                  </a:lnTo>
                  <a:lnTo>
                    <a:pt x="174" y="16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9" y="177"/>
                  </a:lnTo>
                  <a:lnTo>
                    <a:pt x="180" y="177"/>
                  </a:lnTo>
                  <a:lnTo>
                    <a:pt x="185" y="177"/>
                  </a:lnTo>
                  <a:lnTo>
                    <a:pt x="188" y="179"/>
                  </a:lnTo>
                  <a:lnTo>
                    <a:pt x="192" y="182"/>
                  </a:lnTo>
                  <a:lnTo>
                    <a:pt x="195" y="187"/>
                  </a:lnTo>
                  <a:lnTo>
                    <a:pt x="198" y="194"/>
                  </a:lnTo>
                  <a:lnTo>
                    <a:pt x="199" y="205"/>
                  </a:lnTo>
                  <a:lnTo>
                    <a:pt x="199" y="205"/>
                  </a:lnTo>
                  <a:lnTo>
                    <a:pt x="199" y="206"/>
                  </a:lnTo>
                  <a:lnTo>
                    <a:pt x="198" y="209"/>
                  </a:lnTo>
                  <a:lnTo>
                    <a:pt x="198" y="212"/>
                  </a:lnTo>
                  <a:lnTo>
                    <a:pt x="198" y="216"/>
                  </a:lnTo>
                  <a:lnTo>
                    <a:pt x="196" y="218"/>
                  </a:lnTo>
                  <a:lnTo>
                    <a:pt x="196" y="221"/>
                  </a:lnTo>
                  <a:lnTo>
                    <a:pt x="195" y="224"/>
                  </a:lnTo>
                  <a:lnTo>
                    <a:pt x="195" y="224"/>
                  </a:lnTo>
                  <a:lnTo>
                    <a:pt x="213" y="224"/>
                  </a:lnTo>
                  <a:lnTo>
                    <a:pt x="213" y="224"/>
                  </a:lnTo>
                  <a:lnTo>
                    <a:pt x="213" y="226"/>
                  </a:lnTo>
                  <a:lnTo>
                    <a:pt x="212" y="227"/>
                  </a:lnTo>
                  <a:lnTo>
                    <a:pt x="212" y="232"/>
                  </a:lnTo>
                  <a:lnTo>
                    <a:pt x="212" y="236"/>
                  </a:lnTo>
                  <a:lnTo>
                    <a:pt x="212" y="240"/>
                  </a:lnTo>
                  <a:lnTo>
                    <a:pt x="213" y="243"/>
                  </a:lnTo>
                  <a:lnTo>
                    <a:pt x="216" y="246"/>
                  </a:lnTo>
                  <a:lnTo>
                    <a:pt x="221" y="248"/>
                  </a:lnTo>
                  <a:lnTo>
                    <a:pt x="225" y="236"/>
                  </a:lnTo>
                  <a:lnTo>
                    <a:pt x="225" y="236"/>
                  </a:lnTo>
                  <a:lnTo>
                    <a:pt x="225" y="236"/>
                  </a:lnTo>
                  <a:lnTo>
                    <a:pt x="225" y="237"/>
                  </a:lnTo>
                  <a:lnTo>
                    <a:pt x="225" y="237"/>
                  </a:lnTo>
                  <a:lnTo>
                    <a:pt x="225" y="236"/>
                  </a:lnTo>
                  <a:lnTo>
                    <a:pt x="225" y="236"/>
                  </a:lnTo>
                  <a:lnTo>
                    <a:pt x="225" y="235"/>
                  </a:lnTo>
                  <a:lnTo>
                    <a:pt x="226" y="232"/>
                  </a:lnTo>
                  <a:lnTo>
                    <a:pt x="228" y="229"/>
                  </a:lnTo>
                  <a:lnTo>
                    <a:pt x="229" y="224"/>
                  </a:lnTo>
                  <a:lnTo>
                    <a:pt x="232" y="220"/>
                  </a:lnTo>
                  <a:lnTo>
                    <a:pt x="234" y="216"/>
                  </a:lnTo>
                  <a:lnTo>
                    <a:pt x="237" y="212"/>
                  </a:lnTo>
                  <a:lnTo>
                    <a:pt x="239" y="207"/>
                  </a:lnTo>
                  <a:lnTo>
                    <a:pt x="242" y="202"/>
                  </a:lnTo>
                  <a:lnTo>
                    <a:pt x="243" y="197"/>
                  </a:lnTo>
                  <a:lnTo>
                    <a:pt x="246" y="193"/>
                  </a:lnTo>
                  <a:lnTo>
                    <a:pt x="248" y="190"/>
                  </a:lnTo>
                  <a:lnTo>
                    <a:pt x="251" y="186"/>
                  </a:lnTo>
                  <a:lnTo>
                    <a:pt x="252" y="185"/>
                  </a:lnTo>
                  <a:lnTo>
                    <a:pt x="252" y="183"/>
                  </a:lnTo>
                  <a:lnTo>
                    <a:pt x="254" y="182"/>
                  </a:lnTo>
                  <a:lnTo>
                    <a:pt x="254" y="182"/>
                  </a:lnTo>
                  <a:lnTo>
                    <a:pt x="254" y="175"/>
                  </a:lnTo>
                  <a:lnTo>
                    <a:pt x="255" y="167"/>
                  </a:lnTo>
                  <a:lnTo>
                    <a:pt x="257" y="163"/>
                  </a:lnTo>
                  <a:lnTo>
                    <a:pt x="258" y="161"/>
                  </a:lnTo>
                  <a:lnTo>
                    <a:pt x="259" y="158"/>
                  </a:lnTo>
                  <a:lnTo>
                    <a:pt x="261" y="158"/>
                  </a:lnTo>
                  <a:lnTo>
                    <a:pt x="262" y="158"/>
                  </a:lnTo>
                  <a:lnTo>
                    <a:pt x="262" y="158"/>
                  </a:lnTo>
                  <a:lnTo>
                    <a:pt x="262" y="158"/>
                  </a:lnTo>
                  <a:lnTo>
                    <a:pt x="261" y="161"/>
                  </a:lnTo>
                  <a:lnTo>
                    <a:pt x="261" y="164"/>
                  </a:lnTo>
                  <a:lnTo>
                    <a:pt x="261" y="167"/>
                  </a:lnTo>
                  <a:lnTo>
                    <a:pt x="261" y="172"/>
                  </a:lnTo>
                  <a:lnTo>
                    <a:pt x="261" y="175"/>
                  </a:lnTo>
                  <a:lnTo>
                    <a:pt x="261" y="177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76" y="170"/>
                  </a:lnTo>
                  <a:lnTo>
                    <a:pt x="276" y="163"/>
                  </a:lnTo>
                  <a:lnTo>
                    <a:pt x="284" y="161"/>
                  </a:lnTo>
                  <a:lnTo>
                    <a:pt x="288" y="157"/>
                  </a:lnTo>
                  <a:lnTo>
                    <a:pt x="292" y="161"/>
                  </a:lnTo>
                  <a:lnTo>
                    <a:pt x="292" y="161"/>
                  </a:lnTo>
                  <a:lnTo>
                    <a:pt x="291" y="161"/>
                  </a:lnTo>
                  <a:lnTo>
                    <a:pt x="291" y="163"/>
                  </a:lnTo>
                  <a:lnTo>
                    <a:pt x="290" y="166"/>
                  </a:lnTo>
                  <a:lnTo>
                    <a:pt x="288" y="167"/>
                  </a:lnTo>
                  <a:lnTo>
                    <a:pt x="287" y="170"/>
                  </a:lnTo>
                  <a:lnTo>
                    <a:pt x="284" y="173"/>
                  </a:lnTo>
                  <a:lnTo>
                    <a:pt x="284" y="176"/>
                  </a:lnTo>
                  <a:lnTo>
                    <a:pt x="284" y="177"/>
                  </a:lnTo>
                  <a:lnTo>
                    <a:pt x="284" y="177"/>
                  </a:lnTo>
                  <a:lnTo>
                    <a:pt x="284" y="182"/>
                  </a:lnTo>
                  <a:lnTo>
                    <a:pt x="284" y="185"/>
                  </a:lnTo>
                  <a:lnTo>
                    <a:pt x="285" y="185"/>
                  </a:lnTo>
                  <a:lnTo>
                    <a:pt x="287" y="183"/>
                  </a:lnTo>
                  <a:lnTo>
                    <a:pt x="288" y="182"/>
                  </a:lnTo>
                  <a:lnTo>
                    <a:pt x="290" y="180"/>
                  </a:lnTo>
                  <a:lnTo>
                    <a:pt x="290" y="179"/>
                  </a:lnTo>
                  <a:lnTo>
                    <a:pt x="291" y="177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1" y="167"/>
                  </a:lnTo>
                  <a:lnTo>
                    <a:pt x="304" y="166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7" y="158"/>
                  </a:lnTo>
                  <a:lnTo>
                    <a:pt x="307" y="155"/>
                  </a:lnTo>
                  <a:lnTo>
                    <a:pt x="308" y="152"/>
                  </a:lnTo>
                  <a:lnTo>
                    <a:pt x="309" y="149"/>
                  </a:lnTo>
                  <a:lnTo>
                    <a:pt x="312" y="147"/>
                  </a:lnTo>
                  <a:lnTo>
                    <a:pt x="315" y="146"/>
                  </a:lnTo>
                  <a:lnTo>
                    <a:pt x="317" y="146"/>
                  </a:lnTo>
                  <a:lnTo>
                    <a:pt x="318" y="144"/>
                  </a:lnTo>
                  <a:lnTo>
                    <a:pt x="339" y="146"/>
                  </a:lnTo>
                  <a:lnTo>
                    <a:pt x="339" y="142"/>
                  </a:lnTo>
                  <a:lnTo>
                    <a:pt x="353" y="142"/>
                  </a:lnTo>
                  <a:lnTo>
                    <a:pt x="363" y="127"/>
                  </a:lnTo>
                  <a:lnTo>
                    <a:pt x="396" y="130"/>
                  </a:lnTo>
                  <a:lnTo>
                    <a:pt x="396" y="130"/>
                  </a:lnTo>
                  <a:lnTo>
                    <a:pt x="396" y="130"/>
                  </a:lnTo>
                  <a:lnTo>
                    <a:pt x="396" y="130"/>
                  </a:lnTo>
                  <a:lnTo>
                    <a:pt x="396" y="130"/>
                  </a:lnTo>
                  <a:lnTo>
                    <a:pt x="396" y="130"/>
                  </a:lnTo>
                  <a:lnTo>
                    <a:pt x="399" y="133"/>
                  </a:lnTo>
                  <a:lnTo>
                    <a:pt x="402" y="134"/>
                  </a:lnTo>
                  <a:lnTo>
                    <a:pt x="406" y="137"/>
                  </a:lnTo>
                  <a:lnTo>
                    <a:pt x="411" y="142"/>
                  </a:lnTo>
                  <a:lnTo>
                    <a:pt x="411" y="142"/>
                  </a:lnTo>
                  <a:lnTo>
                    <a:pt x="417" y="144"/>
                  </a:lnTo>
                  <a:lnTo>
                    <a:pt x="422" y="147"/>
                  </a:lnTo>
                  <a:lnTo>
                    <a:pt x="425" y="149"/>
                  </a:lnTo>
                  <a:lnTo>
                    <a:pt x="426" y="147"/>
                  </a:lnTo>
                  <a:lnTo>
                    <a:pt x="426" y="146"/>
                  </a:lnTo>
                  <a:lnTo>
                    <a:pt x="425" y="144"/>
                  </a:lnTo>
                  <a:lnTo>
                    <a:pt x="425" y="140"/>
                  </a:lnTo>
                  <a:lnTo>
                    <a:pt x="423" y="137"/>
                  </a:lnTo>
                  <a:lnTo>
                    <a:pt x="423" y="137"/>
                  </a:lnTo>
                  <a:lnTo>
                    <a:pt x="423" y="133"/>
                  </a:lnTo>
                  <a:lnTo>
                    <a:pt x="425" y="130"/>
                  </a:lnTo>
                  <a:lnTo>
                    <a:pt x="425" y="128"/>
                  </a:lnTo>
                  <a:lnTo>
                    <a:pt x="428" y="127"/>
                  </a:lnTo>
                  <a:lnTo>
                    <a:pt x="429" y="125"/>
                  </a:lnTo>
                  <a:lnTo>
                    <a:pt x="430" y="125"/>
                  </a:lnTo>
                  <a:lnTo>
                    <a:pt x="432" y="125"/>
                  </a:lnTo>
                  <a:lnTo>
                    <a:pt x="432" y="125"/>
                  </a:lnTo>
                  <a:lnTo>
                    <a:pt x="432" y="125"/>
                  </a:lnTo>
                  <a:lnTo>
                    <a:pt x="432" y="128"/>
                  </a:lnTo>
                  <a:lnTo>
                    <a:pt x="435" y="130"/>
                  </a:lnTo>
                  <a:lnTo>
                    <a:pt x="438" y="130"/>
                  </a:lnTo>
                  <a:lnTo>
                    <a:pt x="441" y="130"/>
                  </a:lnTo>
                  <a:lnTo>
                    <a:pt x="444" y="128"/>
                  </a:lnTo>
                  <a:lnTo>
                    <a:pt x="447" y="127"/>
                  </a:lnTo>
                  <a:lnTo>
                    <a:pt x="450" y="127"/>
                  </a:lnTo>
                  <a:lnTo>
                    <a:pt x="450" y="125"/>
                  </a:lnTo>
                  <a:lnTo>
                    <a:pt x="477" y="125"/>
                  </a:lnTo>
                  <a:lnTo>
                    <a:pt x="478" y="122"/>
                  </a:lnTo>
                  <a:lnTo>
                    <a:pt x="474" y="122"/>
                  </a:lnTo>
                  <a:lnTo>
                    <a:pt x="466" y="109"/>
                  </a:lnTo>
                  <a:lnTo>
                    <a:pt x="455" y="109"/>
                  </a:lnTo>
                  <a:lnTo>
                    <a:pt x="455" y="109"/>
                  </a:lnTo>
                  <a:lnTo>
                    <a:pt x="455" y="109"/>
                  </a:lnTo>
                  <a:lnTo>
                    <a:pt x="455" y="107"/>
                  </a:lnTo>
                  <a:lnTo>
                    <a:pt x="455" y="106"/>
                  </a:lnTo>
                  <a:lnTo>
                    <a:pt x="455" y="104"/>
                  </a:lnTo>
                  <a:lnTo>
                    <a:pt x="453" y="101"/>
                  </a:lnTo>
                  <a:lnTo>
                    <a:pt x="453" y="100"/>
                  </a:lnTo>
                  <a:lnTo>
                    <a:pt x="453" y="98"/>
                  </a:lnTo>
                  <a:lnTo>
                    <a:pt x="453" y="97"/>
                  </a:lnTo>
                  <a:lnTo>
                    <a:pt x="453" y="97"/>
                  </a:lnTo>
                  <a:lnTo>
                    <a:pt x="453" y="89"/>
                  </a:lnTo>
                  <a:lnTo>
                    <a:pt x="452" y="84"/>
                  </a:lnTo>
                  <a:lnTo>
                    <a:pt x="449" y="81"/>
                  </a:lnTo>
                  <a:lnTo>
                    <a:pt x="446" y="80"/>
                  </a:lnTo>
                  <a:lnTo>
                    <a:pt x="443" y="80"/>
                  </a:lnTo>
                  <a:lnTo>
                    <a:pt x="441" y="80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5" y="86"/>
                  </a:lnTo>
                  <a:lnTo>
                    <a:pt x="430" y="86"/>
                  </a:lnTo>
                  <a:lnTo>
                    <a:pt x="428" y="86"/>
                  </a:lnTo>
                  <a:lnTo>
                    <a:pt x="425" y="86"/>
                  </a:lnTo>
                  <a:lnTo>
                    <a:pt x="423" y="84"/>
                  </a:lnTo>
                  <a:lnTo>
                    <a:pt x="420" y="83"/>
                  </a:lnTo>
                  <a:lnTo>
                    <a:pt x="420" y="81"/>
                  </a:lnTo>
                  <a:lnTo>
                    <a:pt x="420" y="80"/>
                  </a:lnTo>
                  <a:lnTo>
                    <a:pt x="414" y="86"/>
                  </a:lnTo>
                  <a:lnTo>
                    <a:pt x="396" y="84"/>
                  </a:lnTo>
                  <a:lnTo>
                    <a:pt x="394" y="80"/>
                  </a:lnTo>
                  <a:lnTo>
                    <a:pt x="392" y="62"/>
                  </a:lnTo>
                  <a:lnTo>
                    <a:pt x="394" y="57"/>
                  </a:lnTo>
                  <a:lnTo>
                    <a:pt x="393" y="51"/>
                  </a:lnTo>
                  <a:lnTo>
                    <a:pt x="393" y="51"/>
                  </a:lnTo>
                  <a:lnTo>
                    <a:pt x="393" y="51"/>
                  </a:lnTo>
                  <a:lnTo>
                    <a:pt x="392" y="53"/>
                  </a:lnTo>
                  <a:lnTo>
                    <a:pt x="389" y="53"/>
                  </a:lnTo>
                  <a:lnTo>
                    <a:pt x="386" y="54"/>
                  </a:lnTo>
                  <a:lnTo>
                    <a:pt x="383" y="56"/>
                  </a:lnTo>
                  <a:lnTo>
                    <a:pt x="380" y="56"/>
                  </a:lnTo>
                  <a:lnTo>
                    <a:pt x="378" y="57"/>
                  </a:lnTo>
                  <a:lnTo>
                    <a:pt x="378" y="57"/>
                  </a:lnTo>
                  <a:lnTo>
                    <a:pt x="378" y="57"/>
                  </a:lnTo>
                  <a:lnTo>
                    <a:pt x="373" y="60"/>
                  </a:lnTo>
                  <a:lnTo>
                    <a:pt x="367" y="62"/>
                  </a:lnTo>
                  <a:lnTo>
                    <a:pt x="361" y="62"/>
                  </a:lnTo>
                  <a:lnTo>
                    <a:pt x="356" y="65"/>
                  </a:lnTo>
                  <a:lnTo>
                    <a:pt x="350" y="65"/>
                  </a:lnTo>
                  <a:lnTo>
                    <a:pt x="344" y="67"/>
                  </a:lnTo>
                  <a:lnTo>
                    <a:pt x="340" y="68"/>
                  </a:lnTo>
                  <a:lnTo>
                    <a:pt x="334" y="68"/>
                  </a:lnTo>
                  <a:lnTo>
                    <a:pt x="330" y="70"/>
                  </a:lnTo>
                  <a:lnTo>
                    <a:pt x="324" y="70"/>
                  </a:lnTo>
                  <a:lnTo>
                    <a:pt x="321" y="70"/>
                  </a:lnTo>
                  <a:lnTo>
                    <a:pt x="317" y="70"/>
                  </a:lnTo>
                  <a:lnTo>
                    <a:pt x="314" y="70"/>
                  </a:lnTo>
                  <a:lnTo>
                    <a:pt x="312" y="70"/>
                  </a:lnTo>
                  <a:lnTo>
                    <a:pt x="311" y="70"/>
                  </a:lnTo>
                  <a:lnTo>
                    <a:pt x="311" y="70"/>
                  </a:lnTo>
                  <a:lnTo>
                    <a:pt x="279" y="100"/>
                  </a:lnTo>
                  <a:lnTo>
                    <a:pt x="273" y="98"/>
                  </a:lnTo>
                  <a:lnTo>
                    <a:pt x="273" y="98"/>
                  </a:lnTo>
                  <a:lnTo>
                    <a:pt x="268" y="98"/>
                  </a:lnTo>
                  <a:lnTo>
                    <a:pt x="268" y="98"/>
                  </a:lnTo>
                  <a:lnTo>
                    <a:pt x="267" y="98"/>
                  </a:lnTo>
                  <a:lnTo>
                    <a:pt x="264" y="98"/>
                  </a:lnTo>
                  <a:lnTo>
                    <a:pt x="261" y="98"/>
                  </a:lnTo>
                  <a:lnTo>
                    <a:pt x="259" y="98"/>
                  </a:lnTo>
                  <a:lnTo>
                    <a:pt x="259" y="98"/>
                  </a:lnTo>
                  <a:lnTo>
                    <a:pt x="258" y="94"/>
                  </a:lnTo>
                  <a:lnTo>
                    <a:pt x="257" y="93"/>
                  </a:lnTo>
                  <a:lnTo>
                    <a:pt x="254" y="92"/>
                  </a:lnTo>
                  <a:lnTo>
                    <a:pt x="251" y="93"/>
                  </a:lnTo>
                  <a:lnTo>
                    <a:pt x="246" y="94"/>
                  </a:lnTo>
                  <a:lnTo>
                    <a:pt x="243" y="95"/>
                  </a:lnTo>
                  <a:lnTo>
                    <a:pt x="242" y="97"/>
                  </a:lnTo>
                  <a:lnTo>
                    <a:pt x="240" y="97"/>
                  </a:lnTo>
                  <a:lnTo>
                    <a:pt x="225" y="97"/>
                  </a:lnTo>
                  <a:lnTo>
                    <a:pt x="222" y="92"/>
                  </a:lnTo>
                  <a:lnTo>
                    <a:pt x="222" y="92"/>
                  </a:lnTo>
                  <a:lnTo>
                    <a:pt x="222" y="90"/>
                  </a:lnTo>
                  <a:lnTo>
                    <a:pt x="221" y="89"/>
                  </a:lnTo>
                  <a:lnTo>
                    <a:pt x="218" y="86"/>
                  </a:lnTo>
                  <a:lnTo>
                    <a:pt x="215" y="84"/>
                  </a:lnTo>
                  <a:lnTo>
                    <a:pt x="213" y="81"/>
                  </a:lnTo>
                  <a:lnTo>
                    <a:pt x="210" y="79"/>
                  </a:lnTo>
                  <a:lnTo>
                    <a:pt x="207" y="76"/>
                  </a:lnTo>
                  <a:lnTo>
                    <a:pt x="206" y="74"/>
                  </a:lnTo>
                  <a:lnTo>
                    <a:pt x="206" y="74"/>
                  </a:lnTo>
                  <a:lnTo>
                    <a:pt x="199" y="65"/>
                  </a:lnTo>
                  <a:lnTo>
                    <a:pt x="190" y="60"/>
                  </a:lnTo>
                  <a:lnTo>
                    <a:pt x="183" y="59"/>
                  </a:lnTo>
                  <a:lnTo>
                    <a:pt x="176" y="59"/>
                  </a:lnTo>
                  <a:lnTo>
                    <a:pt x="169" y="62"/>
                  </a:lnTo>
                  <a:lnTo>
                    <a:pt x="165" y="64"/>
                  </a:lnTo>
                  <a:lnTo>
                    <a:pt x="162" y="65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65"/>
                  </a:lnTo>
                  <a:lnTo>
                    <a:pt x="162" y="62"/>
                  </a:lnTo>
                  <a:lnTo>
                    <a:pt x="162" y="62"/>
                  </a:lnTo>
                  <a:lnTo>
                    <a:pt x="163" y="60"/>
                  </a:lnTo>
                  <a:lnTo>
                    <a:pt x="163" y="57"/>
                  </a:lnTo>
                  <a:lnTo>
                    <a:pt x="163" y="56"/>
                  </a:lnTo>
                  <a:lnTo>
                    <a:pt x="163" y="56"/>
                  </a:lnTo>
                  <a:lnTo>
                    <a:pt x="163" y="56"/>
                  </a:lnTo>
                  <a:lnTo>
                    <a:pt x="159" y="57"/>
                  </a:lnTo>
                  <a:lnTo>
                    <a:pt x="154" y="59"/>
                  </a:lnTo>
                  <a:lnTo>
                    <a:pt x="152" y="62"/>
                  </a:lnTo>
                  <a:lnTo>
                    <a:pt x="149" y="67"/>
                  </a:lnTo>
                  <a:lnTo>
                    <a:pt x="146" y="71"/>
                  </a:lnTo>
                  <a:lnTo>
                    <a:pt x="144" y="74"/>
                  </a:lnTo>
                  <a:lnTo>
                    <a:pt x="143" y="77"/>
                  </a:lnTo>
                  <a:lnTo>
                    <a:pt x="143" y="77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1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7" y="54"/>
                  </a:lnTo>
                  <a:lnTo>
                    <a:pt x="137" y="53"/>
                  </a:lnTo>
                  <a:lnTo>
                    <a:pt x="136" y="51"/>
                  </a:lnTo>
                  <a:lnTo>
                    <a:pt x="137" y="47"/>
                  </a:lnTo>
                  <a:lnTo>
                    <a:pt x="137" y="47"/>
                  </a:lnTo>
                  <a:lnTo>
                    <a:pt x="137" y="44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40" y="41"/>
                  </a:lnTo>
                  <a:lnTo>
                    <a:pt x="140" y="43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1" y="46"/>
                  </a:lnTo>
                  <a:lnTo>
                    <a:pt x="141" y="46"/>
                  </a:lnTo>
                  <a:lnTo>
                    <a:pt x="141" y="46"/>
                  </a:lnTo>
                  <a:lnTo>
                    <a:pt x="141" y="44"/>
                  </a:lnTo>
                  <a:lnTo>
                    <a:pt x="141" y="43"/>
                  </a:lnTo>
                  <a:lnTo>
                    <a:pt x="141" y="41"/>
                  </a:lnTo>
                  <a:lnTo>
                    <a:pt x="140" y="40"/>
                  </a:lnTo>
                  <a:lnTo>
                    <a:pt x="140" y="40"/>
                  </a:lnTo>
                  <a:lnTo>
                    <a:pt x="141" y="41"/>
                  </a:lnTo>
                  <a:lnTo>
                    <a:pt x="141" y="46"/>
                  </a:lnTo>
                  <a:lnTo>
                    <a:pt x="141" y="46"/>
                  </a:lnTo>
                  <a:lnTo>
                    <a:pt x="143" y="50"/>
                  </a:lnTo>
                  <a:lnTo>
                    <a:pt x="144" y="51"/>
                  </a:lnTo>
                  <a:lnTo>
                    <a:pt x="146" y="51"/>
                  </a:lnTo>
                  <a:lnTo>
                    <a:pt x="147" y="51"/>
                  </a:lnTo>
                  <a:lnTo>
                    <a:pt x="147" y="49"/>
                  </a:lnTo>
                  <a:lnTo>
                    <a:pt x="149" y="47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56" y="38"/>
                  </a:lnTo>
                  <a:lnTo>
                    <a:pt x="157" y="31"/>
                  </a:lnTo>
                  <a:lnTo>
                    <a:pt x="174" y="16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79" y="7"/>
                  </a:lnTo>
                  <a:lnTo>
                    <a:pt x="179" y="8"/>
                  </a:lnTo>
                  <a:lnTo>
                    <a:pt x="179" y="8"/>
                  </a:lnTo>
                  <a:lnTo>
                    <a:pt x="180" y="8"/>
                  </a:lnTo>
                  <a:lnTo>
                    <a:pt x="180" y="8"/>
                  </a:lnTo>
                  <a:lnTo>
                    <a:pt x="188" y="5"/>
                  </a:lnTo>
                  <a:lnTo>
                    <a:pt x="190" y="4"/>
                  </a:lnTo>
                  <a:lnTo>
                    <a:pt x="192" y="2"/>
                  </a:lnTo>
                  <a:lnTo>
                    <a:pt x="189" y="1"/>
                  </a:lnTo>
                  <a:lnTo>
                    <a:pt x="185" y="1"/>
                  </a:lnTo>
                  <a:lnTo>
                    <a:pt x="182" y="0"/>
                  </a:lnTo>
                  <a:lnTo>
                    <a:pt x="177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66" y="1"/>
                  </a:lnTo>
                  <a:lnTo>
                    <a:pt x="156" y="4"/>
                  </a:lnTo>
                  <a:lnTo>
                    <a:pt x="149" y="10"/>
                  </a:lnTo>
                  <a:lnTo>
                    <a:pt x="141" y="16"/>
                  </a:lnTo>
                  <a:lnTo>
                    <a:pt x="137" y="21"/>
                  </a:lnTo>
                  <a:lnTo>
                    <a:pt x="133" y="26"/>
                  </a:lnTo>
                  <a:lnTo>
                    <a:pt x="130" y="29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23" y="31"/>
                  </a:lnTo>
                  <a:lnTo>
                    <a:pt x="119" y="34"/>
                  </a:lnTo>
                  <a:lnTo>
                    <a:pt x="114" y="38"/>
                  </a:lnTo>
                  <a:lnTo>
                    <a:pt x="111" y="43"/>
                  </a:lnTo>
                  <a:lnTo>
                    <a:pt x="110" y="47"/>
                  </a:lnTo>
                  <a:lnTo>
                    <a:pt x="107" y="51"/>
                  </a:lnTo>
                  <a:lnTo>
                    <a:pt x="105" y="54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0" y="57"/>
                  </a:lnTo>
                  <a:lnTo>
                    <a:pt x="96" y="59"/>
                  </a:lnTo>
                  <a:lnTo>
                    <a:pt x="91" y="62"/>
                  </a:lnTo>
                  <a:lnTo>
                    <a:pt x="87" y="65"/>
                  </a:lnTo>
                  <a:lnTo>
                    <a:pt x="83" y="68"/>
                  </a:lnTo>
                  <a:lnTo>
                    <a:pt x="80" y="71"/>
                  </a:lnTo>
                  <a:lnTo>
                    <a:pt x="77" y="74"/>
                  </a:lnTo>
                  <a:lnTo>
                    <a:pt x="77" y="76"/>
                  </a:lnTo>
                  <a:lnTo>
                    <a:pt x="69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7"/>
                  </a:lnTo>
                  <a:lnTo>
                    <a:pt x="58" y="77"/>
                  </a:lnTo>
                  <a:lnTo>
                    <a:pt x="55" y="77"/>
                  </a:lnTo>
                  <a:lnTo>
                    <a:pt x="54" y="79"/>
                  </a:lnTo>
                  <a:lnTo>
                    <a:pt x="50" y="79"/>
                  </a:lnTo>
                  <a:lnTo>
                    <a:pt x="47" y="80"/>
                  </a:lnTo>
                  <a:lnTo>
                    <a:pt x="45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38" y="89"/>
                  </a:lnTo>
                  <a:lnTo>
                    <a:pt x="31" y="94"/>
                  </a:lnTo>
                  <a:lnTo>
                    <a:pt x="24" y="98"/>
                  </a:lnTo>
                  <a:lnTo>
                    <a:pt x="17" y="101"/>
                  </a:lnTo>
                  <a:lnTo>
                    <a:pt x="9" y="104"/>
                  </a:lnTo>
                  <a:lnTo>
                    <a:pt x="5" y="107"/>
                  </a:lnTo>
                  <a:lnTo>
                    <a:pt x="0" y="107"/>
                  </a:lnTo>
                  <a:lnTo>
                    <a:pt x="0" y="10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" name="Freeform 55"/>
            <p:cNvSpPr>
              <a:spLocks/>
            </p:cNvSpPr>
            <p:nvPr/>
          </p:nvSpPr>
          <p:spPr bwMode="auto">
            <a:xfrm>
              <a:off x="2821979" y="4509446"/>
              <a:ext cx="235701" cy="267013"/>
            </a:xfrm>
            <a:custGeom>
              <a:avLst/>
              <a:gdLst>
                <a:gd name="T0" fmla="*/ 102 w 351"/>
                <a:gd name="T1" fmla="*/ 64 h 398"/>
                <a:gd name="T2" fmla="*/ 110 w 351"/>
                <a:gd name="T3" fmla="*/ 61 h 398"/>
                <a:gd name="T4" fmla="*/ 128 w 351"/>
                <a:gd name="T5" fmla="*/ 66 h 398"/>
                <a:gd name="T6" fmla="*/ 153 w 351"/>
                <a:gd name="T7" fmla="*/ 66 h 398"/>
                <a:gd name="T8" fmla="*/ 143 w 351"/>
                <a:gd name="T9" fmla="*/ 84 h 398"/>
                <a:gd name="T10" fmla="*/ 155 w 351"/>
                <a:gd name="T11" fmla="*/ 84 h 398"/>
                <a:gd name="T12" fmla="*/ 165 w 351"/>
                <a:gd name="T13" fmla="*/ 78 h 398"/>
                <a:gd name="T14" fmla="*/ 177 w 351"/>
                <a:gd name="T15" fmla="*/ 82 h 398"/>
                <a:gd name="T16" fmla="*/ 191 w 351"/>
                <a:gd name="T17" fmla="*/ 76 h 398"/>
                <a:gd name="T18" fmla="*/ 203 w 351"/>
                <a:gd name="T19" fmla="*/ 72 h 398"/>
                <a:gd name="T20" fmla="*/ 216 w 351"/>
                <a:gd name="T21" fmla="*/ 66 h 398"/>
                <a:gd name="T22" fmla="*/ 229 w 351"/>
                <a:gd name="T23" fmla="*/ 64 h 398"/>
                <a:gd name="T24" fmla="*/ 234 w 351"/>
                <a:gd name="T25" fmla="*/ 64 h 398"/>
                <a:gd name="T26" fmla="*/ 246 w 351"/>
                <a:gd name="T27" fmla="*/ 52 h 398"/>
                <a:gd name="T28" fmla="*/ 269 w 351"/>
                <a:gd name="T29" fmla="*/ 31 h 398"/>
                <a:gd name="T30" fmla="*/ 299 w 351"/>
                <a:gd name="T31" fmla="*/ 9 h 398"/>
                <a:gd name="T32" fmla="*/ 322 w 351"/>
                <a:gd name="T33" fmla="*/ 0 h 398"/>
                <a:gd name="T34" fmla="*/ 342 w 351"/>
                <a:gd name="T35" fmla="*/ 148 h 398"/>
                <a:gd name="T36" fmla="*/ 347 w 351"/>
                <a:gd name="T37" fmla="*/ 174 h 398"/>
                <a:gd name="T38" fmla="*/ 342 w 351"/>
                <a:gd name="T39" fmla="*/ 192 h 398"/>
                <a:gd name="T40" fmla="*/ 338 w 351"/>
                <a:gd name="T41" fmla="*/ 222 h 398"/>
                <a:gd name="T42" fmla="*/ 338 w 351"/>
                <a:gd name="T43" fmla="*/ 231 h 398"/>
                <a:gd name="T44" fmla="*/ 338 w 351"/>
                <a:gd name="T45" fmla="*/ 246 h 398"/>
                <a:gd name="T46" fmla="*/ 328 w 351"/>
                <a:gd name="T47" fmla="*/ 261 h 398"/>
                <a:gd name="T48" fmla="*/ 314 w 351"/>
                <a:gd name="T49" fmla="*/ 276 h 398"/>
                <a:gd name="T50" fmla="*/ 309 w 351"/>
                <a:gd name="T51" fmla="*/ 282 h 398"/>
                <a:gd name="T52" fmla="*/ 298 w 351"/>
                <a:gd name="T53" fmla="*/ 285 h 398"/>
                <a:gd name="T54" fmla="*/ 276 w 351"/>
                <a:gd name="T55" fmla="*/ 324 h 398"/>
                <a:gd name="T56" fmla="*/ 273 w 351"/>
                <a:gd name="T57" fmla="*/ 334 h 398"/>
                <a:gd name="T58" fmla="*/ 263 w 351"/>
                <a:gd name="T59" fmla="*/ 330 h 398"/>
                <a:gd name="T60" fmla="*/ 256 w 351"/>
                <a:gd name="T61" fmla="*/ 328 h 398"/>
                <a:gd name="T62" fmla="*/ 251 w 351"/>
                <a:gd name="T63" fmla="*/ 342 h 398"/>
                <a:gd name="T64" fmla="*/ 248 w 351"/>
                <a:gd name="T65" fmla="*/ 349 h 398"/>
                <a:gd name="T66" fmla="*/ 245 w 351"/>
                <a:gd name="T67" fmla="*/ 355 h 398"/>
                <a:gd name="T68" fmla="*/ 242 w 351"/>
                <a:gd name="T69" fmla="*/ 384 h 398"/>
                <a:gd name="T70" fmla="*/ 223 w 351"/>
                <a:gd name="T71" fmla="*/ 397 h 398"/>
                <a:gd name="T72" fmla="*/ 215 w 351"/>
                <a:gd name="T73" fmla="*/ 388 h 398"/>
                <a:gd name="T74" fmla="*/ 200 w 351"/>
                <a:gd name="T75" fmla="*/ 381 h 398"/>
                <a:gd name="T76" fmla="*/ 196 w 351"/>
                <a:gd name="T77" fmla="*/ 375 h 398"/>
                <a:gd name="T78" fmla="*/ 182 w 351"/>
                <a:gd name="T79" fmla="*/ 369 h 398"/>
                <a:gd name="T80" fmla="*/ 167 w 351"/>
                <a:gd name="T81" fmla="*/ 382 h 398"/>
                <a:gd name="T82" fmla="*/ 150 w 351"/>
                <a:gd name="T83" fmla="*/ 384 h 398"/>
                <a:gd name="T84" fmla="*/ 143 w 351"/>
                <a:gd name="T85" fmla="*/ 379 h 398"/>
                <a:gd name="T86" fmla="*/ 132 w 351"/>
                <a:gd name="T87" fmla="*/ 382 h 398"/>
                <a:gd name="T88" fmla="*/ 122 w 351"/>
                <a:gd name="T89" fmla="*/ 385 h 398"/>
                <a:gd name="T90" fmla="*/ 83 w 351"/>
                <a:gd name="T91" fmla="*/ 372 h 398"/>
                <a:gd name="T92" fmla="*/ 75 w 351"/>
                <a:gd name="T93" fmla="*/ 358 h 398"/>
                <a:gd name="T94" fmla="*/ 50 w 351"/>
                <a:gd name="T95" fmla="*/ 351 h 398"/>
                <a:gd name="T96" fmla="*/ 35 w 351"/>
                <a:gd name="T97" fmla="*/ 351 h 398"/>
                <a:gd name="T98" fmla="*/ 0 w 351"/>
                <a:gd name="T99" fmla="*/ 81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51" h="398">
                  <a:moveTo>
                    <a:pt x="0" y="81"/>
                  </a:moveTo>
                  <a:lnTo>
                    <a:pt x="98" y="66"/>
                  </a:lnTo>
                  <a:lnTo>
                    <a:pt x="99" y="66"/>
                  </a:lnTo>
                  <a:lnTo>
                    <a:pt x="102" y="64"/>
                  </a:lnTo>
                  <a:lnTo>
                    <a:pt x="105" y="63"/>
                  </a:lnTo>
                  <a:lnTo>
                    <a:pt x="107" y="61"/>
                  </a:lnTo>
                  <a:lnTo>
                    <a:pt x="108" y="61"/>
                  </a:lnTo>
                  <a:lnTo>
                    <a:pt x="110" y="61"/>
                  </a:lnTo>
                  <a:lnTo>
                    <a:pt x="114" y="61"/>
                  </a:lnTo>
                  <a:lnTo>
                    <a:pt x="119" y="61"/>
                  </a:lnTo>
                  <a:lnTo>
                    <a:pt x="123" y="63"/>
                  </a:lnTo>
                  <a:lnTo>
                    <a:pt x="128" y="66"/>
                  </a:lnTo>
                  <a:lnTo>
                    <a:pt x="134" y="68"/>
                  </a:lnTo>
                  <a:lnTo>
                    <a:pt x="138" y="72"/>
                  </a:lnTo>
                  <a:lnTo>
                    <a:pt x="147" y="72"/>
                  </a:lnTo>
                  <a:lnTo>
                    <a:pt x="153" y="66"/>
                  </a:lnTo>
                  <a:lnTo>
                    <a:pt x="161" y="71"/>
                  </a:lnTo>
                  <a:lnTo>
                    <a:pt x="150" y="76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44" y="84"/>
                  </a:lnTo>
                  <a:lnTo>
                    <a:pt x="147" y="84"/>
                  </a:lnTo>
                  <a:lnTo>
                    <a:pt x="150" y="84"/>
                  </a:lnTo>
                  <a:lnTo>
                    <a:pt x="155" y="84"/>
                  </a:lnTo>
                  <a:lnTo>
                    <a:pt x="158" y="82"/>
                  </a:lnTo>
                  <a:lnTo>
                    <a:pt x="161" y="79"/>
                  </a:lnTo>
                  <a:lnTo>
                    <a:pt x="165" y="76"/>
                  </a:lnTo>
                  <a:lnTo>
                    <a:pt x="165" y="78"/>
                  </a:lnTo>
                  <a:lnTo>
                    <a:pt x="167" y="78"/>
                  </a:lnTo>
                  <a:lnTo>
                    <a:pt x="170" y="79"/>
                  </a:lnTo>
                  <a:lnTo>
                    <a:pt x="174" y="81"/>
                  </a:lnTo>
                  <a:lnTo>
                    <a:pt x="177" y="82"/>
                  </a:lnTo>
                  <a:lnTo>
                    <a:pt x="182" y="82"/>
                  </a:lnTo>
                  <a:lnTo>
                    <a:pt x="186" y="81"/>
                  </a:lnTo>
                  <a:lnTo>
                    <a:pt x="191" y="76"/>
                  </a:lnTo>
                  <a:lnTo>
                    <a:pt x="191" y="76"/>
                  </a:lnTo>
                  <a:lnTo>
                    <a:pt x="194" y="76"/>
                  </a:lnTo>
                  <a:lnTo>
                    <a:pt x="196" y="75"/>
                  </a:lnTo>
                  <a:lnTo>
                    <a:pt x="200" y="74"/>
                  </a:lnTo>
                  <a:lnTo>
                    <a:pt x="203" y="72"/>
                  </a:lnTo>
                  <a:lnTo>
                    <a:pt x="207" y="71"/>
                  </a:lnTo>
                  <a:lnTo>
                    <a:pt x="212" y="68"/>
                  </a:lnTo>
                  <a:lnTo>
                    <a:pt x="215" y="66"/>
                  </a:lnTo>
                  <a:lnTo>
                    <a:pt x="216" y="66"/>
                  </a:lnTo>
                  <a:lnTo>
                    <a:pt x="219" y="66"/>
                  </a:lnTo>
                  <a:lnTo>
                    <a:pt x="222" y="66"/>
                  </a:lnTo>
                  <a:lnTo>
                    <a:pt x="224" y="64"/>
                  </a:lnTo>
                  <a:lnTo>
                    <a:pt x="229" y="64"/>
                  </a:lnTo>
                  <a:lnTo>
                    <a:pt x="232" y="64"/>
                  </a:lnTo>
                  <a:lnTo>
                    <a:pt x="233" y="64"/>
                  </a:lnTo>
                  <a:lnTo>
                    <a:pt x="234" y="64"/>
                  </a:lnTo>
                  <a:lnTo>
                    <a:pt x="234" y="64"/>
                  </a:lnTo>
                  <a:lnTo>
                    <a:pt x="236" y="63"/>
                  </a:lnTo>
                  <a:lnTo>
                    <a:pt x="239" y="60"/>
                  </a:lnTo>
                  <a:lnTo>
                    <a:pt x="242" y="57"/>
                  </a:lnTo>
                  <a:lnTo>
                    <a:pt x="246" y="52"/>
                  </a:lnTo>
                  <a:lnTo>
                    <a:pt x="252" y="46"/>
                  </a:lnTo>
                  <a:lnTo>
                    <a:pt x="256" y="42"/>
                  </a:lnTo>
                  <a:lnTo>
                    <a:pt x="263" y="36"/>
                  </a:lnTo>
                  <a:lnTo>
                    <a:pt x="269" y="31"/>
                  </a:lnTo>
                  <a:lnTo>
                    <a:pt x="276" y="27"/>
                  </a:lnTo>
                  <a:lnTo>
                    <a:pt x="284" y="21"/>
                  </a:lnTo>
                  <a:lnTo>
                    <a:pt x="292" y="15"/>
                  </a:lnTo>
                  <a:lnTo>
                    <a:pt x="299" y="9"/>
                  </a:lnTo>
                  <a:lnTo>
                    <a:pt x="308" y="5"/>
                  </a:lnTo>
                  <a:lnTo>
                    <a:pt x="315" y="2"/>
                  </a:lnTo>
                  <a:lnTo>
                    <a:pt x="323" y="0"/>
                  </a:lnTo>
                  <a:lnTo>
                    <a:pt x="322" y="0"/>
                  </a:lnTo>
                  <a:lnTo>
                    <a:pt x="350" y="139"/>
                  </a:lnTo>
                  <a:lnTo>
                    <a:pt x="339" y="142"/>
                  </a:lnTo>
                  <a:lnTo>
                    <a:pt x="341" y="144"/>
                  </a:lnTo>
                  <a:lnTo>
                    <a:pt x="342" y="148"/>
                  </a:lnTo>
                  <a:lnTo>
                    <a:pt x="344" y="153"/>
                  </a:lnTo>
                  <a:lnTo>
                    <a:pt x="345" y="160"/>
                  </a:lnTo>
                  <a:lnTo>
                    <a:pt x="347" y="167"/>
                  </a:lnTo>
                  <a:lnTo>
                    <a:pt x="347" y="174"/>
                  </a:lnTo>
                  <a:lnTo>
                    <a:pt x="347" y="180"/>
                  </a:lnTo>
                  <a:lnTo>
                    <a:pt x="344" y="184"/>
                  </a:lnTo>
                  <a:lnTo>
                    <a:pt x="342" y="187"/>
                  </a:lnTo>
                  <a:lnTo>
                    <a:pt x="342" y="192"/>
                  </a:lnTo>
                  <a:lnTo>
                    <a:pt x="341" y="198"/>
                  </a:lnTo>
                  <a:lnTo>
                    <a:pt x="339" y="207"/>
                  </a:lnTo>
                  <a:lnTo>
                    <a:pt x="339" y="216"/>
                  </a:lnTo>
                  <a:lnTo>
                    <a:pt x="338" y="222"/>
                  </a:lnTo>
                  <a:lnTo>
                    <a:pt x="338" y="228"/>
                  </a:lnTo>
                  <a:lnTo>
                    <a:pt x="338" y="229"/>
                  </a:lnTo>
                  <a:lnTo>
                    <a:pt x="338" y="231"/>
                  </a:lnTo>
                  <a:lnTo>
                    <a:pt x="338" y="231"/>
                  </a:lnTo>
                  <a:lnTo>
                    <a:pt x="339" y="234"/>
                  </a:lnTo>
                  <a:lnTo>
                    <a:pt x="339" y="237"/>
                  </a:lnTo>
                  <a:lnTo>
                    <a:pt x="339" y="241"/>
                  </a:lnTo>
                  <a:lnTo>
                    <a:pt x="338" y="246"/>
                  </a:lnTo>
                  <a:lnTo>
                    <a:pt x="335" y="250"/>
                  </a:lnTo>
                  <a:lnTo>
                    <a:pt x="331" y="256"/>
                  </a:lnTo>
                  <a:lnTo>
                    <a:pt x="329" y="258"/>
                  </a:lnTo>
                  <a:lnTo>
                    <a:pt x="328" y="261"/>
                  </a:lnTo>
                  <a:lnTo>
                    <a:pt x="323" y="264"/>
                  </a:lnTo>
                  <a:lnTo>
                    <a:pt x="320" y="267"/>
                  </a:lnTo>
                  <a:lnTo>
                    <a:pt x="318" y="271"/>
                  </a:lnTo>
                  <a:lnTo>
                    <a:pt x="314" y="276"/>
                  </a:lnTo>
                  <a:lnTo>
                    <a:pt x="312" y="279"/>
                  </a:lnTo>
                  <a:lnTo>
                    <a:pt x="311" y="279"/>
                  </a:lnTo>
                  <a:lnTo>
                    <a:pt x="311" y="280"/>
                  </a:lnTo>
                  <a:lnTo>
                    <a:pt x="309" y="282"/>
                  </a:lnTo>
                  <a:lnTo>
                    <a:pt x="306" y="283"/>
                  </a:lnTo>
                  <a:lnTo>
                    <a:pt x="303" y="283"/>
                  </a:lnTo>
                  <a:lnTo>
                    <a:pt x="300" y="285"/>
                  </a:lnTo>
                  <a:lnTo>
                    <a:pt x="298" y="285"/>
                  </a:lnTo>
                  <a:lnTo>
                    <a:pt x="296" y="283"/>
                  </a:lnTo>
                  <a:lnTo>
                    <a:pt x="296" y="282"/>
                  </a:lnTo>
                  <a:lnTo>
                    <a:pt x="278" y="300"/>
                  </a:lnTo>
                  <a:lnTo>
                    <a:pt x="276" y="324"/>
                  </a:lnTo>
                  <a:lnTo>
                    <a:pt x="275" y="324"/>
                  </a:lnTo>
                  <a:lnTo>
                    <a:pt x="275" y="328"/>
                  </a:lnTo>
                  <a:lnTo>
                    <a:pt x="275" y="330"/>
                  </a:lnTo>
                  <a:lnTo>
                    <a:pt x="273" y="334"/>
                  </a:lnTo>
                  <a:lnTo>
                    <a:pt x="270" y="337"/>
                  </a:lnTo>
                  <a:lnTo>
                    <a:pt x="269" y="339"/>
                  </a:lnTo>
                  <a:lnTo>
                    <a:pt x="266" y="337"/>
                  </a:lnTo>
                  <a:lnTo>
                    <a:pt x="263" y="330"/>
                  </a:lnTo>
                  <a:lnTo>
                    <a:pt x="262" y="329"/>
                  </a:lnTo>
                  <a:lnTo>
                    <a:pt x="260" y="328"/>
                  </a:lnTo>
                  <a:lnTo>
                    <a:pt x="259" y="328"/>
                  </a:lnTo>
                  <a:lnTo>
                    <a:pt x="256" y="328"/>
                  </a:lnTo>
                  <a:lnTo>
                    <a:pt x="254" y="328"/>
                  </a:lnTo>
                  <a:lnTo>
                    <a:pt x="252" y="330"/>
                  </a:lnTo>
                  <a:lnTo>
                    <a:pt x="252" y="334"/>
                  </a:lnTo>
                  <a:lnTo>
                    <a:pt x="251" y="342"/>
                  </a:lnTo>
                  <a:lnTo>
                    <a:pt x="251" y="342"/>
                  </a:lnTo>
                  <a:lnTo>
                    <a:pt x="251" y="345"/>
                  </a:lnTo>
                  <a:lnTo>
                    <a:pt x="249" y="346"/>
                  </a:lnTo>
                  <a:lnTo>
                    <a:pt x="248" y="349"/>
                  </a:lnTo>
                  <a:lnTo>
                    <a:pt x="246" y="352"/>
                  </a:lnTo>
                  <a:lnTo>
                    <a:pt x="246" y="354"/>
                  </a:lnTo>
                  <a:lnTo>
                    <a:pt x="245" y="355"/>
                  </a:lnTo>
                  <a:lnTo>
                    <a:pt x="245" y="355"/>
                  </a:lnTo>
                  <a:lnTo>
                    <a:pt x="248" y="373"/>
                  </a:lnTo>
                  <a:lnTo>
                    <a:pt x="246" y="375"/>
                  </a:lnTo>
                  <a:lnTo>
                    <a:pt x="245" y="378"/>
                  </a:lnTo>
                  <a:lnTo>
                    <a:pt x="242" y="384"/>
                  </a:lnTo>
                  <a:lnTo>
                    <a:pt x="237" y="388"/>
                  </a:lnTo>
                  <a:lnTo>
                    <a:pt x="233" y="392"/>
                  </a:lnTo>
                  <a:lnTo>
                    <a:pt x="229" y="395"/>
                  </a:lnTo>
                  <a:lnTo>
                    <a:pt x="223" y="397"/>
                  </a:lnTo>
                  <a:lnTo>
                    <a:pt x="221" y="394"/>
                  </a:lnTo>
                  <a:lnTo>
                    <a:pt x="219" y="392"/>
                  </a:lnTo>
                  <a:lnTo>
                    <a:pt x="218" y="391"/>
                  </a:lnTo>
                  <a:lnTo>
                    <a:pt x="215" y="388"/>
                  </a:lnTo>
                  <a:lnTo>
                    <a:pt x="212" y="385"/>
                  </a:lnTo>
                  <a:lnTo>
                    <a:pt x="207" y="382"/>
                  </a:lnTo>
                  <a:lnTo>
                    <a:pt x="204" y="381"/>
                  </a:lnTo>
                  <a:lnTo>
                    <a:pt x="200" y="381"/>
                  </a:lnTo>
                  <a:lnTo>
                    <a:pt x="197" y="384"/>
                  </a:lnTo>
                  <a:lnTo>
                    <a:pt x="196" y="382"/>
                  </a:lnTo>
                  <a:lnTo>
                    <a:pt x="196" y="379"/>
                  </a:lnTo>
                  <a:lnTo>
                    <a:pt x="196" y="375"/>
                  </a:lnTo>
                  <a:lnTo>
                    <a:pt x="194" y="370"/>
                  </a:lnTo>
                  <a:lnTo>
                    <a:pt x="191" y="367"/>
                  </a:lnTo>
                  <a:lnTo>
                    <a:pt x="188" y="366"/>
                  </a:lnTo>
                  <a:lnTo>
                    <a:pt x="182" y="369"/>
                  </a:lnTo>
                  <a:lnTo>
                    <a:pt x="173" y="376"/>
                  </a:lnTo>
                  <a:lnTo>
                    <a:pt x="171" y="378"/>
                  </a:lnTo>
                  <a:lnTo>
                    <a:pt x="170" y="379"/>
                  </a:lnTo>
                  <a:lnTo>
                    <a:pt x="167" y="382"/>
                  </a:lnTo>
                  <a:lnTo>
                    <a:pt x="164" y="384"/>
                  </a:lnTo>
                  <a:lnTo>
                    <a:pt x="160" y="385"/>
                  </a:lnTo>
                  <a:lnTo>
                    <a:pt x="156" y="387"/>
                  </a:lnTo>
                  <a:lnTo>
                    <a:pt x="150" y="384"/>
                  </a:lnTo>
                  <a:lnTo>
                    <a:pt x="146" y="381"/>
                  </a:lnTo>
                  <a:lnTo>
                    <a:pt x="144" y="379"/>
                  </a:lnTo>
                  <a:lnTo>
                    <a:pt x="144" y="379"/>
                  </a:lnTo>
                  <a:lnTo>
                    <a:pt x="143" y="379"/>
                  </a:lnTo>
                  <a:lnTo>
                    <a:pt x="141" y="378"/>
                  </a:lnTo>
                  <a:lnTo>
                    <a:pt x="138" y="379"/>
                  </a:lnTo>
                  <a:lnTo>
                    <a:pt x="135" y="379"/>
                  </a:lnTo>
                  <a:lnTo>
                    <a:pt x="132" y="382"/>
                  </a:lnTo>
                  <a:lnTo>
                    <a:pt x="128" y="387"/>
                  </a:lnTo>
                  <a:lnTo>
                    <a:pt x="127" y="387"/>
                  </a:lnTo>
                  <a:lnTo>
                    <a:pt x="125" y="385"/>
                  </a:lnTo>
                  <a:lnTo>
                    <a:pt x="122" y="385"/>
                  </a:lnTo>
                  <a:lnTo>
                    <a:pt x="120" y="385"/>
                  </a:lnTo>
                  <a:lnTo>
                    <a:pt x="108" y="375"/>
                  </a:lnTo>
                  <a:lnTo>
                    <a:pt x="83" y="373"/>
                  </a:lnTo>
                  <a:lnTo>
                    <a:pt x="83" y="372"/>
                  </a:lnTo>
                  <a:lnTo>
                    <a:pt x="83" y="369"/>
                  </a:lnTo>
                  <a:lnTo>
                    <a:pt x="81" y="366"/>
                  </a:lnTo>
                  <a:lnTo>
                    <a:pt x="80" y="362"/>
                  </a:lnTo>
                  <a:lnTo>
                    <a:pt x="75" y="358"/>
                  </a:lnTo>
                  <a:lnTo>
                    <a:pt x="69" y="354"/>
                  </a:lnTo>
                  <a:lnTo>
                    <a:pt x="61" y="352"/>
                  </a:lnTo>
                  <a:lnTo>
                    <a:pt x="51" y="351"/>
                  </a:lnTo>
                  <a:lnTo>
                    <a:pt x="50" y="351"/>
                  </a:lnTo>
                  <a:lnTo>
                    <a:pt x="47" y="351"/>
                  </a:lnTo>
                  <a:lnTo>
                    <a:pt x="44" y="351"/>
                  </a:lnTo>
                  <a:lnTo>
                    <a:pt x="39" y="351"/>
                  </a:lnTo>
                  <a:lnTo>
                    <a:pt x="35" y="351"/>
                  </a:lnTo>
                  <a:lnTo>
                    <a:pt x="32" y="351"/>
                  </a:lnTo>
                  <a:lnTo>
                    <a:pt x="31" y="351"/>
                  </a:lnTo>
                  <a:lnTo>
                    <a:pt x="30" y="351"/>
                  </a:lnTo>
                  <a:lnTo>
                    <a:pt x="0" y="81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" name="Freeform 56"/>
            <p:cNvSpPr>
              <a:spLocks/>
            </p:cNvSpPr>
            <p:nvPr/>
          </p:nvSpPr>
          <p:spPr bwMode="auto">
            <a:xfrm>
              <a:off x="2821979" y="4509446"/>
              <a:ext cx="235701" cy="267013"/>
            </a:xfrm>
            <a:custGeom>
              <a:avLst/>
              <a:gdLst>
                <a:gd name="T0" fmla="*/ 99 w 351"/>
                <a:gd name="T1" fmla="*/ 66 h 398"/>
                <a:gd name="T2" fmla="*/ 107 w 351"/>
                <a:gd name="T3" fmla="*/ 61 h 398"/>
                <a:gd name="T4" fmla="*/ 119 w 351"/>
                <a:gd name="T5" fmla="*/ 61 h 398"/>
                <a:gd name="T6" fmla="*/ 138 w 351"/>
                <a:gd name="T7" fmla="*/ 72 h 398"/>
                <a:gd name="T8" fmla="*/ 150 w 351"/>
                <a:gd name="T9" fmla="*/ 76 h 398"/>
                <a:gd name="T10" fmla="*/ 144 w 351"/>
                <a:gd name="T11" fmla="*/ 84 h 398"/>
                <a:gd name="T12" fmla="*/ 158 w 351"/>
                <a:gd name="T13" fmla="*/ 82 h 398"/>
                <a:gd name="T14" fmla="*/ 165 w 351"/>
                <a:gd name="T15" fmla="*/ 78 h 398"/>
                <a:gd name="T16" fmla="*/ 177 w 351"/>
                <a:gd name="T17" fmla="*/ 82 h 398"/>
                <a:gd name="T18" fmla="*/ 191 w 351"/>
                <a:gd name="T19" fmla="*/ 76 h 398"/>
                <a:gd name="T20" fmla="*/ 200 w 351"/>
                <a:gd name="T21" fmla="*/ 74 h 398"/>
                <a:gd name="T22" fmla="*/ 215 w 351"/>
                <a:gd name="T23" fmla="*/ 66 h 398"/>
                <a:gd name="T24" fmla="*/ 222 w 351"/>
                <a:gd name="T25" fmla="*/ 66 h 398"/>
                <a:gd name="T26" fmla="*/ 233 w 351"/>
                <a:gd name="T27" fmla="*/ 64 h 398"/>
                <a:gd name="T28" fmla="*/ 236 w 351"/>
                <a:gd name="T29" fmla="*/ 63 h 398"/>
                <a:gd name="T30" fmla="*/ 252 w 351"/>
                <a:gd name="T31" fmla="*/ 46 h 398"/>
                <a:gd name="T32" fmla="*/ 276 w 351"/>
                <a:gd name="T33" fmla="*/ 27 h 398"/>
                <a:gd name="T34" fmla="*/ 308 w 351"/>
                <a:gd name="T35" fmla="*/ 5 h 398"/>
                <a:gd name="T36" fmla="*/ 350 w 351"/>
                <a:gd name="T37" fmla="*/ 139 h 398"/>
                <a:gd name="T38" fmla="*/ 342 w 351"/>
                <a:gd name="T39" fmla="*/ 148 h 398"/>
                <a:gd name="T40" fmla="*/ 347 w 351"/>
                <a:gd name="T41" fmla="*/ 174 h 398"/>
                <a:gd name="T42" fmla="*/ 342 w 351"/>
                <a:gd name="T43" fmla="*/ 187 h 398"/>
                <a:gd name="T44" fmla="*/ 339 w 351"/>
                <a:gd name="T45" fmla="*/ 216 h 398"/>
                <a:gd name="T46" fmla="*/ 338 w 351"/>
                <a:gd name="T47" fmla="*/ 229 h 398"/>
                <a:gd name="T48" fmla="*/ 339 w 351"/>
                <a:gd name="T49" fmla="*/ 237 h 398"/>
                <a:gd name="T50" fmla="*/ 331 w 351"/>
                <a:gd name="T51" fmla="*/ 256 h 398"/>
                <a:gd name="T52" fmla="*/ 323 w 351"/>
                <a:gd name="T53" fmla="*/ 264 h 398"/>
                <a:gd name="T54" fmla="*/ 312 w 351"/>
                <a:gd name="T55" fmla="*/ 279 h 398"/>
                <a:gd name="T56" fmla="*/ 309 w 351"/>
                <a:gd name="T57" fmla="*/ 282 h 398"/>
                <a:gd name="T58" fmla="*/ 298 w 351"/>
                <a:gd name="T59" fmla="*/ 285 h 398"/>
                <a:gd name="T60" fmla="*/ 276 w 351"/>
                <a:gd name="T61" fmla="*/ 324 h 398"/>
                <a:gd name="T62" fmla="*/ 275 w 351"/>
                <a:gd name="T63" fmla="*/ 330 h 398"/>
                <a:gd name="T64" fmla="*/ 266 w 351"/>
                <a:gd name="T65" fmla="*/ 337 h 398"/>
                <a:gd name="T66" fmla="*/ 260 w 351"/>
                <a:gd name="T67" fmla="*/ 328 h 398"/>
                <a:gd name="T68" fmla="*/ 252 w 351"/>
                <a:gd name="T69" fmla="*/ 330 h 398"/>
                <a:gd name="T70" fmla="*/ 251 w 351"/>
                <a:gd name="T71" fmla="*/ 342 h 398"/>
                <a:gd name="T72" fmla="*/ 246 w 351"/>
                <a:gd name="T73" fmla="*/ 352 h 398"/>
                <a:gd name="T74" fmla="*/ 248 w 351"/>
                <a:gd name="T75" fmla="*/ 373 h 398"/>
                <a:gd name="T76" fmla="*/ 242 w 351"/>
                <a:gd name="T77" fmla="*/ 384 h 398"/>
                <a:gd name="T78" fmla="*/ 223 w 351"/>
                <a:gd name="T79" fmla="*/ 397 h 398"/>
                <a:gd name="T80" fmla="*/ 218 w 351"/>
                <a:gd name="T81" fmla="*/ 391 h 398"/>
                <a:gd name="T82" fmla="*/ 204 w 351"/>
                <a:gd name="T83" fmla="*/ 381 h 398"/>
                <a:gd name="T84" fmla="*/ 196 w 351"/>
                <a:gd name="T85" fmla="*/ 382 h 398"/>
                <a:gd name="T86" fmla="*/ 191 w 351"/>
                <a:gd name="T87" fmla="*/ 367 h 398"/>
                <a:gd name="T88" fmla="*/ 173 w 351"/>
                <a:gd name="T89" fmla="*/ 376 h 398"/>
                <a:gd name="T90" fmla="*/ 164 w 351"/>
                <a:gd name="T91" fmla="*/ 384 h 398"/>
                <a:gd name="T92" fmla="*/ 146 w 351"/>
                <a:gd name="T93" fmla="*/ 381 h 398"/>
                <a:gd name="T94" fmla="*/ 143 w 351"/>
                <a:gd name="T95" fmla="*/ 379 h 398"/>
                <a:gd name="T96" fmla="*/ 132 w 351"/>
                <a:gd name="T97" fmla="*/ 382 h 398"/>
                <a:gd name="T98" fmla="*/ 125 w 351"/>
                <a:gd name="T99" fmla="*/ 385 h 398"/>
                <a:gd name="T100" fmla="*/ 83 w 351"/>
                <a:gd name="T101" fmla="*/ 373 h 398"/>
                <a:gd name="T102" fmla="*/ 81 w 351"/>
                <a:gd name="T103" fmla="*/ 366 h 398"/>
                <a:gd name="T104" fmla="*/ 61 w 351"/>
                <a:gd name="T105" fmla="*/ 352 h 398"/>
                <a:gd name="T106" fmla="*/ 47 w 351"/>
                <a:gd name="T107" fmla="*/ 351 h 398"/>
                <a:gd name="T108" fmla="*/ 32 w 351"/>
                <a:gd name="T109" fmla="*/ 351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51" h="398">
                  <a:moveTo>
                    <a:pt x="0" y="81"/>
                  </a:moveTo>
                  <a:lnTo>
                    <a:pt x="98" y="66"/>
                  </a:lnTo>
                  <a:lnTo>
                    <a:pt x="98" y="66"/>
                  </a:lnTo>
                  <a:lnTo>
                    <a:pt x="99" y="66"/>
                  </a:lnTo>
                  <a:lnTo>
                    <a:pt x="102" y="64"/>
                  </a:lnTo>
                  <a:lnTo>
                    <a:pt x="105" y="63"/>
                  </a:lnTo>
                  <a:lnTo>
                    <a:pt x="107" y="61"/>
                  </a:lnTo>
                  <a:lnTo>
                    <a:pt x="107" y="61"/>
                  </a:lnTo>
                  <a:lnTo>
                    <a:pt x="108" y="61"/>
                  </a:lnTo>
                  <a:lnTo>
                    <a:pt x="110" y="61"/>
                  </a:lnTo>
                  <a:lnTo>
                    <a:pt x="114" y="61"/>
                  </a:lnTo>
                  <a:lnTo>
                    <a:pt x="119" y="61"/>
                  </a:lnTo>
                  <a:lnTo>
                    <a:pt x="123" y="63"/>
                  </a:lnTo>
                  <a:lnTo>
                    <a:pt x="128" y="66"/>
                  </a:lnTo>
                  <a:lnTo>
                    <a:pt x="134" y="68"/>
                  </a:lnTo>
                  <a:lnTo>
                    <a:pt x="138" y="72"/>
                  </a:lnTo>
                  <a:lnTo>
                    <a:pt x="147" y="72"/>
                  </a:lnTo>
                  <a:lnTo>
                    <a:pt x="153" y="66"/>
                  </a:lnTo>
                  <a:lnTo>
                    <a:pt x="161" y="71"/>
                  </a:lnTo>
                  <a:lnTo>
                    <a:pt x="150" y="76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44" y="84"/>
                  </a:lnTo>
                  <a:lnTo>
                    <a:pt x="147" y="84"/>
                  </a:lnTo>
                  <a:lnTo>
                    <a:pt x="150" y="84"/>
                  </a:lnTo>
                  <a:lnTo>
                    <a:pt x="155" y="84"/>
                  </a:lnTo>
                  <a:lnTo>
                    <a:pt x="158" y="82"/>
                  </a:lnTo>
                  <a:lnTo>
                    <a:pt x="161" y="79"/>
                  </a:lnTo>
                  <a:lnTo>
                    <a:pt x="165" y="76"/>
                  </a:lnTo>
                  <a:lnTo>
                    <a:pt x="165" y="76"/>
                  </a:lnTo>
                  <a:lnTo>
                    <a:pt x="165" y="78"/>
                  </a:lnTo>
                  <a:lnTo>
                    <a:pt x="167" y="78"/>
                  </a:lnTo>
                  <a:lnTo>
                    <a:pt x="170" y="79"/>
                  </a:lnTo>
                  <a:lnTo>
                    <a:pt x="174" y="81"/>
                  </a:lnTo>
                  <a:lnTo>
                    <a:pt x="177" y="82"/>
                  </a:lnTo>
                  <a:lnTo>
                    <a:pt x="182" y="82"/>
                  </a:lnTo>
                  <a:lnTo>
                    <a:pt x="186" y="81"/>
                  </a:lnTo>
                  <a:lnTo>
                    <a:pt x="191" y="76"/>
                  </a:lnTo>
                  <a:lnTo>
                    <a:pt x="191" y="76"/>
                  </a:lnTo>
                  <a:lnTo>
                    <a:pt x="191" y="76"/>
                  </a:lnTo>
                  <a:lnTo>
                    <a:pt x="194" y="76"/>
                  </a:lnTo>
                  <a:lnTo>
                    <a:pt x="196" y="75"/>
                  </a:lnTo>
                  <a:lnTo>
                    <a:pt x="200" y="74"/>
                  </a:lnTo>
                  <a:lnTo>
                    <a:pt x="203" y="72"/>
                  </a:lnTo>
                  <a:lnTo>
                    <a:pt x="207" y="71"/>
                  </a:lnTo>
                  <a:lnTo>
                    <a:pt x="212" y="68"/>
                  </a:lnTo>
                  <a:lnTo>
                    <a:pt x="215" y="66"/>
                  </a:lnTo>
                  <a:lnTo>
                    <a:pt x="215" y="66"/>
                  </a:lnTo>
                  <a:lnTo>
                    <a:pt x="216" y="66"/>
                  </a:lnTo>
                  <a:lnTo>
                    <a:pt x="219" y="66"/>
                  </a:lnTo>
                  <a:lnTo>
                    <a:pt x="222" y="66"/>
                  </a:lnTo>
                  <a:lnTo>
                    <a:pt x="224" y="64"/>
                  </a:lnTo>
                  <a:lnTo>
                    <a:pt x="229" y="64"/>
                  </a:lnTo>
                  <a:lnTo>
                    <a:pt x="232" y="64"/>
                  </a:lnTo>
                  <a:lnTo>
                    <a:pt x="233" y="64"/>
                  </a:lnTo>
                  <a:lnTo>
                    <a:pt x="234" y="64"/>
                  </a:lnTo>
                  <a:lnTo>
                    <a:pt x="234" y="64"/>
                  </a:lnTo>
                  <a:lnTo>
                    <a:pt x="234" y="64"/>
                  </a:lnTo>
                  <a:lnTo>
                    <a:pt x="236" y="63"/>
                  </a:lnTo>
                  <a:lnTo>
                    <a:pt x="239" y="60"/>
                  </a:lnTo>
                  <a:lnTo>
                    <a:pt x="242" y="57"/>
                  </a:lnTo>
                  <a:lnTo>
                    <a:pt x="246" y="52"/>
                  </a:lnTo>
                  <a:lnTo>
                    <a:pt x="252" y="46"/>
                  </a:lnTo>
                  <a:lnTo>
                    <a:pt x="256" y="42"/>
                  </a:lnTo>
                  <a:lnTo>
                    <a:pt x="263" y="36"/>
                  </a:lnTo>
                  <a:lnTo>
                    <a:pt x="269" y="31"/>
                  </a:lnTo>
                  <a:lnTo>
                    <a:pt x="276" y="27"/>
                  </a:lnTo>
                  <a:lnTo>
                    <a:pt x="284" y="21"/>
                  </a:lnTo>
                  <a:lnTo>
                    <a:pt x="292" y="15"/>
                  </a:lnTo>
                  <a:lnTo>
                    <a:pt x="299" y="9"/>
                  </a:lnTo>
                  <a:lnTo>
                    <a:pt x="308" y="5"/>
                  </a:lnTo>
                  <a:lnTo>
                    <a:pt x="315" y="2"/>
                  </a:lnTo>
                  <a:lnTo>
                    <a:pt x="323" y="0"/>
                  </a:lnTo>
                  <a:lnTo>
                    <a:pt x="322" y="0"/>
                  </a:lnTo>
                  <a:lnTo>
                    <a:pt x="350" y="139"/>
                  </a:lnTo>
                  <a:lnTo>
                    <a:pt x="339" y="142"/>
                  </a:lnTo>
                  <a:lnTo>
                    <a:pt x="339" y="142"/>
                  </a:lnTo>
                  <a:lnTo>
                    <a:pt x="341" y="144"/>
                  </a:lnTo>
                  <a:lnTo>
                    <a:pt x="342" y="148"/>
                  </a:lnTo>
                  <a:lnTo>
                    <a:pt x="344" y="153"/>
                  </a:lnTo>
                  <a:lnTo>
                    <a:pt x="345" y="160"/>
                  </a:lnTo>
                  <a:lnTo>
                    <a:pt x="347" y="167"/>
                  </a:lnTo>
                  <a:lnTo>
                    <a:pt x="347" y="174"/>
                  </a:lnTo>
                  <a:lnTo>
                    <a:pt x="347" y="180"/>
                  </a:lnTo>
                  <a:lnTo>
                    <a:pt x="344" y="184"/>
                  </a:lnTo>
                  <a:lnTo>
                    <a:pt x="344" y="184"/>
                  </a:lnTo>
                  <a:lnTo>
                    <a:pt x="342" y="187"/>
                  </a:lnTo>
                  <a:lnTo>
                    <a:pt x="342" y="192"/>
                  </a:lnTo>
                  <a:lnTo>
                    <a:pt x="341" y="198"/>
                  </a:lnTo>
                  <a:lnTo>
                    <a:pt x="339" y="207"/>
                  </a:lnTo>
                  <a:lnTo>
                    <a:pt x="339" y="216"/>
                  </a:lnTo>
                  <a:lnTo>
                    <a:pt x="338" y="222"/>
                  </a:lnTo>
                  <a:lnTo>
                    <a:pt x="338" y="228"/>
                  </a:lnTo>
                  <a:lnTo>
                    <a:pt x="338" y="229"/>
                  </a:lnTo>
                  <a:lnTo>
                    <a:pt x="338" y="229"/>
                  </a:lnTo>
                  <a:lnTo>
                    <a:pt x="338" y="231"/>
                  </a:lnTo>
                  <a:lnTo>
                    <a:pt x="338" y="231"/>
                  </a:lnTo>
                  <a:lnTo>
                    <a:pt x="339" y="234"/>
                  </a:lnTo>
                  <a:lnTo>
                    <a:pt x="339" y="237"/>
                  </a:lnTo>
                  <a:lnTo>
                    <a:pt x="339" y="241"/>
                  </a:lnTo>
                  <a:lnTo>
                    <a:pt x="338" y="246"/>
                  </a:lnTo>
                  <a:lnTo>
                    <a:pt x="335" y="250"/>
                  </a:lnTo>
                  <a:lnTo>
                    <a:pt x="331" y="256"/>
                  </a:lnTo>
                  <a:lnTo>
                    <a:pt x="331" y="256"/>
                  </a:lnTo>
                  <a:lnTo>
                    <a:pt x="329" y="258"/>
                  </a:lnTo>
                  <a:lnTo>
                    <a:pt x="328" y="261"/>
                  </a:lnTo>
                  <a:lnTo>
                    <a:pt x="323" y="264"/>
                  </a:lnTo>
                  <a:lnTo>
                    <a:pt x="320" y="267"/>
                  </a:lnTo>
                  <a:lnTo>
                    <a:pt x="318" y="271"/>
                  </a:lnTo>
                  <a:lnTo>
                    <a:pt x="314" y="276"/>
                  </a:lnTo>
                  <a:lnTo>
                    <a:pt x="312" y="279"/>
                  </a:lnTo>
                  <a:lnTo>
                    <a:pt x="311" y="279"/>
                  </a:lnTo>
                  <a:lnTo>
                    <a:pt x="311" y="279"/>
                  </a:lnTo>
                  <a:lnTo>
                    <a:pt x="311" y="280"/>
                  </a:lnTo>
                  <a:lnTo>
                    <a:pt x="309" y="282"/>
                  </a:lnTo>
                  <a:lnTo>
                    <a:pt x="306" y="283"/>
                  </a:lnTo>
                  <a:lnTo>
                    <a:pt x="303" y="283"/>
                  </a:lnTo>
                  <a:lnTo>
                    <a:pt x="300" y="285"/>
                  </a:lnTo>
                  <a:lnTo>
                    <a:pt x="298" y="285"/>
                  </a:lnTo>
                  <a:lnTo>
                    <a:pt x="296" y="283"/>
                  </a:lnTo>
                  <a:lnTo>
                    <a:pt x="296" y="282"/>
                  </a:lnTo>
                  <a:lnTo>
                    <a:pt x="278" y="300"/>
                  </a:lnTo>
                  <a:lnTo>
                    <a:pt x="276" y="324"/>
                  </a:lnTo>
                  <a:lnTo>
                    <a:pt x="276" y="324"/>
                  </a:lnTo>
                  <a:lnTo>
                    <a:pt x="275" y="324"/>
                  </a:lnTo>
                  <a:lnTo>
                    <a:pt x="275" y="328"/>
                  </a:lnTo>
                  <a:lnTo>
                    <a:pt x="275" y="330"/>
                  </a:lnTo>
                  <a:lnTo>
                    <a:pt x="273" y="334"/>
                  </a:lnTo>
                  <a:lnTo>
                    <a:pt x="270" y="337"/>
                  </a:lnTo>
                  <a:lnTo>
                    <a:pt x="269" y="339"/>
                  </a:lnTo>
                  <a:lnTo>
                    <a:pt x="266" y="337"/>
                  </a:lnTo>
                  <a:lnTo>
                    <a:pt x="263" y="330"/>
                  </a:lnTo>
                  <a:lnTo>
                    <a:pt x="263" y="330"/>
                  </a:lnTo>
                  <a:lnTo>
                    <a:pt x="262" y="329"/>
                  </a:lnTo>
                  <a:lnTo>
                    <a:pt x="260" y="328"/>
                  </a:lnTo>
                  <a:lnTo>
                    <a:pt x="259" y="328"/>
                  </a:lnTo>
                  <a:lnTo>
                    <a:pt x="256" y="328"/>
                  </a:lnTo>
                  <a:lnTo>
                    <a:pt x="254" y="328"/>
                  </a:lnTo>
                  <a:lnTo>
                    <a:pt x="252" y="330"/>
                  </a:lnTo>
                  <a:lnTo>
                    <a:pt x="252" y="334"/>
                  </a:lnTo>
                  <a:lnTo>
                    <a:pt x="251" y="342"/>
                  </a:lnTo>
                  <a:lnTo>
                    <a:pt x="251" y="342"/>
                  </a:lnTo>
                  <a:lnTo>
                    <a:pt x="251" y="342"/>
                  </a:lnTo>
                  <a:lnTo>
                    <a:pt x="251" y="345"/>
                  </a:lnTo>
                  <a:lnTo>
                    <a:pt x="249" y="346"/>
                  </a:lnTo>
                  <a:lnTo>
                    <a:pt x="248" y="349"/>
                  </a:lnTo>
                  <a:lnTo>
                    <a:pt x="246" y="352"/>
                  </a:lnTo>
                  <a:lnTo>
                    <a:pt x="246" y="354"/>
                  </a:lnTo>
                  <a:lnTo>
                    <a:pt x="245" y="355"/>
                  </a:lnTo>
                  <a:lnTo>
                    <a:pt x="245" y="355"/>
                  </a:lnTo>
                  <a:lnTo>
                    <a:pt x="248" y="373"/>
                  </a:lnTo>
                  <a:lnTo>
                    <a:pt x="248" y="373"/>
                  </a:lnTo>
                  <a:lnTo>
                    <a:pt x="246" y="375"/>
                  </a:lnTo>
                  <a:lnTo>
                    <a:pt x="245" y="378"/>
                  </a:lnTo>
                  <a:lnTo>
                    <a:pt x="242" y="384"/>
                  </a:lnTo>
                  <a:lnTo>
                    <a:pt x="237" y="388"/>
                  </a:lnTo>
                  <a:lnTo>
                    <a:pt x="233" y="392"/>
                  </a:lnTo>
                  <a:lnTo>
                    <a:pt x="229" y="395"/>
                  </a:lnTo>
                  <a:lnTo>
                    <a:pt x="223" y="397"/>
                  </a:lnTo>
                  <a:lnTo>
                    <a:pt x="221" y="394"/>
                  </a:lnTo>
                  <a:lnTo>
                    <a:pt x="221" y="394"/>
                  </a:lnTo>
                  <a:lnTo>
                    <a:pt x="219" y="392"/>
                  </a:lnTo>
                  <a:lnTo>
                    <a:pt x="218" y="391"/>
                  </a:lnTo>
                  <a:lnTo>
                    <a:pt x="215" y="388"/>
                  </a:lnTo>
                  <a:lnTo>
                    <a:pt x="212" y="385"/>
                  </a:lnTo>
                  <a:lnTo>
                    <a:pt x="207" y="382"/>
                  </a:lnTo>
                  <a:lnTo>
                    <a:pt x="204" y="381"/>
                  </a:lnTo>
                  <a:lnTo>
                    <a:pt x="200" y="381"/>
                  </a:lnTo>
                  <a:lnTo>
                    <a:pt x="197" y="384"/>
                  </a:lnTo>
                  <a:lnTo>
                    <a:pt x="197" y="384"/>
                  </a:lnTo>
                  <a:lnTo>
                    <a:pt x="196" y="382"/>
                  </a:lnTo>
                  <a:lnTo>
                    <a:pt x="196" y="379"/>
                  </a:lnTo>
                  <a:lnTo>
                    <a:pt x="196" y="375"/>
                  </a:lnTo>
                  <a:lnTo>
                    <a:pt x="194" y="370"/>
                  </a:lnTo>
                  <a:lnTo>
                    <a:pt x="191" y="367"/>
                  </a:lnTo>
                  <a:lnTo>
                    <a:pt x="188" y="366"/>
                  </a:lnTo>
                  <a:lnTo>
                    <a:pt x="182" y="369"/>
                  </a:lnTo>
                  <a:lnTo>
                    <a:pt x="173" y="376"/>
                  </a:lnTo>
                  <a:lnTo>
                    <a:pt x="173" y="376"/>
                  </a:lnTo>
                  <a:lnTo>
                    <a:pt x="171" y="378"/>
                  </a:lnTo>
                  <a:lnTo>
                    <a:pt x="170" y="379"/>
                  </a:lnTo>
                  <a:lnTo>
                    <a:pt x="167" y="382"/>
                  </a:lnTo>
                  <a:lnTo>
                    <a:pt x="164" y="384"/>
                  </a:lnTo>
                  <a:lnTo>
                    <a:pt x="160" y="385"/>
                  </a:lnTo>
                  <a:lnTo>
                    <a:pt x="156" y="387"/>
                  </a:lnTo>
                  <a:lnTo>
                    <a:pt x="150" y="384"/>
                  </a:lnTo>
                  <a:lnTo>
                    <a:pt x="146" y="381"/>
                  </a:lnTo>
                  <a:lnTo>
                    <a:pt x="146" y="381"/>
                  </a:lnTo>
                  <a:lnTo>
                    <a:pt x="144" y="379"/>
                  </a:lnTo>
                  <a:lnTo>
                    <a:pt x="144" y="379"/>
                  </a:lnTo>
                  <a:lnTo>
                    <a:pt x="143" y="379"/>
                  </a:lnTo>
                  <a:lnTo>
                    <a:pt x="141" y="378"/>
                  </a:lnTo>
                  <a:lnTo>
                    <a:pt x="138" y="379"/>
                  </a:lnTo>
                  <a:lnTo>
                    <a:pt x="135" y="379"/>
                  </a:lnTo>
                  <a:lnTo>
                    <a:pt x="132" y="382"/>
                  </a:lnTo>
                  <a:lnTo>
                    <a:pt x="128" y="387"/>
                  </a:lnTo>
                  <a:lnTo>
                    <a:pt x="128" y="387"/>
                  </a:lnTo>
                  <a:lnTo>
                    <a:pt x="127" y="387"/>
                  </a:lnTo>
                  <a:lnTo>
                    <a:pt x="125" y="385"/>
                  </a:lnTo>
                  <a:lnTo>
                    <a:pt x="122" y="385"/>
                  </a:lnTo>
                  <a:lnTo>
                    <a:pt x="120" y="385"/>
                  </a:lnTo>
                  <a:lnTo>
                    <a:pt x="108" y="375"/>
                  </a:lnTo>
                  <a:lnTo>
                    <a:pt x="83" y="373"/>
                  </a:lnTo>
                  <a:lnTo>
                    <a:pt x="83" y="373"/>
                  </a:lnTo>
                  <a:lnTo>
                    <a:pt x="83" y="372"/>
                  </a:lnTo>
                  <a:lnTo>
                    <a:pt x="83" y="369"/>
                  </a:lnTo>
                  <a:lnTo>
                    <a:pt x="81" y="366"/>
                  </a:lnTo>
                  <a:lnTo>
                    <a:pt x="80" y="362"/>
                  </a:lnTo>
                  <a:lnTo>
                    <a:pt x="75" y="358"/>
                  </a:lnTo>
                  <a:lnTo>
                    <a:pt x="69" y="354"/>
                  </a:lnTo>
                  <a:lnTo>
                    <a:pt x="61" y="352"/>
                  </a:lnTo>
                  <a:lnTo>
                    <a:pt x="51" y="351"/>
                  </a:lnTo>
                  <a:lnTo>
                    <a:pt x="51" y="351"/>
                  </a:lnTo>
                  <a:lnTo>
                    <a:pt x="50" y="351"/>
                  </a:lnTo>
                  <a:lnTo>
                    <a:pt x="47" y="351"/>
                  </a:lnTo>
                  <a:lnTo>
                    <a:pt x="44" y="351"/>
                  </a:lnTo>
                  <a:lnTo>
                    <a:pt x="39" y="351"/>
                  </a:lnTo>
                  <a:lnTo>
                    <a:pt x="35" y="351"/>
                  </a:lnTo>
                  <a:lnTo>
                    <a:pt x="32" y="351"/>
                  </a:lnTo>
                  <a:lnTo>
                    <a:pt x="31" y="351"/>
                  </a:lnTo>
                  <a:lnTo>
                    <a:pt x="30" y="351"/>
                  </a:lnTo>
                  <a:lnTo>
                    <a:pt x="0" y="81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" name="Freeform 57"/>
            <p:cNvSpPr>
              <a:spLocks/>
            </p:cNvSpPr>
            <p:nvPr/>
          </p:nvSpPr>
          <p:spPr bwMode="auto">
            <a:xfrm>
              <a:off x="3076367" y="4221941"/>
              <a:ext cx="336973" cy="304271"/>
            </a:xfrm>
            <a:custGeom>
              <a:avLst/>
              <a:gdLst>
                <a:gd name="T0" fmla="*/ 14 w 502"/>
                <a:gd name="T1" fmla="*/ 411 h 453"/>
                <a:gd name="T2" fmla="*/ 46 w 502"/>
                <a:gd name="T3" fmla="*/ 404 h 453"/>
                <a:gd name="T4" fmla="*/ 94 w 502"/>
                <a:gd name="T5" fmla="*/ 395 h 453"/>
                <a:gd name="T6" fmla="*/ 154 w 502"/>
                <a:gd name="T7" fmla="*/ 384 h 453"/>
                <a:gd name="T8" fmla="*/ 214 w 502"/>
                <a:gd name="T9" fmla="*/ 373 h 453"/>
                <a:gd name="T10" fmla="*/ 268 w 502"/>
                <a:gd name="T11" fmla="*/ 361 h 453"/>
                <a:gd name="T12" fmla="*/ 310 w 502"/>
                <a:gd name="T13" fmla="*/ 353 h 453"/>
                <a:gd name="T14" fmla="*/ 331 w 502"/>
                <a:gd name="T15" fmla="*/ 348 h 453"/>
                <a:gd name="T16" fmla="*/ 346 w 502"/>
                <a:gd name="T17" fmla="*/ 350 h 453"/>
                <a:gd name="T18" fmla="*/ 354 w 502"/>
                <a:gd name="T19" fmla="*/ 359 h 453"/>
                <a:gd name="T20" fmla="*/ 367 w 502"/>
                <a:gd name="T21" fmla="*/ 365 h 453"/>
                <a:gd name="T22" fmla="*/ 370 w 502"/>
                <a:gd name="T23" fmla="*/ 374 h 453"/>
                <a:gd name="T24" fmla="*/ 379 w 502"/>
                <a:gd name="T25" fmla="*/ 388 h 453"/>
                <a:gd name="T26" fmla="*/ 388 w 502"/>
                <a:gd name="T27" fmla="*/ 395 h 453"/>
                <a:gd name="T28" fmla="*/ 477 w 502"/>
                <a:gd name="T29" fmla="*/ 452 h 453"/>
                <a:gd name="T30" fmla="*/ 501 w 502"/>
                <a:gd name="T31" fmla="*/ 395 h 453"/>
                <a:gd name="T32" fmla="*/ 480 w 502"/>
                <a:gd name="T33" fmla="*/ 235 h 453"/>
                <a:gd name="T34" fmla="*/ 477 w 502"/>
                <a:gd name="T35" fmla="*/ 222 h 453"/>
                <a:gd name="T36" fmla="*/ 471 w 502"/>
                <a:gd name="T37" fmla="*/ 196 h 453"/>
                <a:gd name="T38" fmla="*/ 468 w 502"/>
                <a:gd name="T39" fmla="*/ 170 h 453"/>
                <a:gd name="T40" fmla="*/ 463 w 502"/>
                <a:gd name="T41" fmla="*/ 156 h 453"/>
                <a:gd name="T42" fmla="*/ 454 w 502"/>
                <a:gd name="T43" fmla="*/ 143 h 453"/>
                <a:gd name="T44" fmla="*/ 450 w 502"/>
                <a:gd name="T45" fmla="*/ 149 h 453"/>
                <a:gd name="T46" fmla="*/ 432 w 502"/>
                <a:gd name="T47" fmla="*/ 62 h 453"/>
                <a:gd name="T48" fmla="*/ 409 w 502"/>
                <a:gd name="T49" fmla="*/ 2 h 453"/>
                <a:gd name="T50" fmla="*/ 382 w 502"/>
                <a:gd name="T51" fmla="*/ 10 h 453"/>
                <a:gd name="T52" fmla="*/ 349 w 502"/>
                <a:gd name="T53" fmla="*/ 17 h 453"/>
                <a:gd name="T54" fmla="*/ 330 w 502"/>
                <a:gd name="T55" fmla="*/ 23 h 453"/>
                <a:gd name="T56" fmla="*/ 308 w 502"/>
                <a:gd name="T57" fmla="*/ 32 h 453"/>
                <a:gd name="T58" fmla="*/ 283 w 502"/>
                <a:gd name="T59" fmla="*/ 56 h 453"/>
                <a:gd name="T60" fmla="*/ 265 w 502"/>
                <a:gd name="T61" fmla="*/ 83 h 453"/>
                <a:gd name="T62" fmla="*/ 258 w 502"/>
                <a:gd name="T63" fmla="*/ 98 h 453"/>
                <a:gd name="T64" fmla="*/ 220 w 502"/>
                <a:gd name="T65" fmla="*/ 146 h 453"/>
                <a:gd name="T66" fmla="*/ 235 w 502"/>
                <a:gd name="T67" fmla="*/ 167 h 453"/>
                <a:gd name="T68" fmla="*/ 235 w 502"/>
                <a:gd name="T69" fmla="*/ 176 h 453"/>
                <a:gd name="T70" fmla="*/ 241 w 502"/>
                <a:gd name="T71" fmla="*/ 194 h 453"/>
                <a:gd name="T72" fmla="*/ 233 w 502"/>
                <a:gd name="T73" fmla="*/ 203 h 453"/>
                <a:gd name="T74" fmla="*/ 214 w 502"/>
                <a:gd name="T75" fmla="*/ 222 h 453"/>
                <a:gd name="T76" fmla="*/ 206 w 502"/>
                <a:gd name="T77" fmla="*/ 232 h 453"/>
                <a:gd name="T78" fmla="*/ 195 w 502"/>
                <a:gd name="T79" fmla="*/ 239 h 453"/>
                <a:gd name="T80" fmla="*/ 182 w 502"/>
                <a:gd name="T81" fmla="*/ 241 h 453"/>
                <a:gd name="T82" fmla="*/ 162 w 502"/>
                <a:gd name="T83" fmla="*/ 247 h 453"/>
                <a:gd name="T84" fmla="*/ 154 w 502"/>
                <a:gd name="T85" fmla="*/ 252 h 453"/>
                <a:gd name="T86" fmla="*/ 133 w 502"/>
                <a:gd name="T87" fmla="*/ 248 h 453"/>
                <a:gd name="T88" fmla="*/ 92 w 502"/>
                <a:gd name="T89" fmla="*/ 251 h 453"/>
                <a:gd name="T90" fmla="*/ 59 w 502"/>
                <a:gd name="T91" fmla="*/ 259 h 453"/>
                <a:gd name="T92" fmla="*/ 43 w 502"/>
                <a:gd name="T93" fmla="*/ 269 h 453"/>
                <a:gd name="T94" fmla="*/ 37 w 502"/>
                <a:gd name="T95" fmla="*/ 277 h 453"/>
                <a:gd name="T96" fmla="*/ 41 w 502"/>
                <a:gd name="T97" fmla="*/ 290 h 453"/>
                <a:gd name="T98" fmla="*/ 50 w 502"/>
                <a:gd name="T99" fmla="*/ 299 h 453"/>
                <a:gd name="T100" fmla="*/ 56 w 502"/>
                <a:gd name="T101" fmla="*/ 307 h 453"/>
                <a:gd name="T102" fmla="*/ 56 w 502"/>
                <a:gd name="T103" fmla="*/ 321 h 453"/>
                <a:gd name="T104" fmla="*/ 50 w 502"/>
                <a:gd name="T105" fmla="*/ 328 h 453"/>
                <a:gd name="T106" fmla="*/ 26 w 502"/>
                <a:gd name="T107" fmla="*/ 361 h 453"/>
                <a:gd name="T108" fmla="*/ 26 w 502"/>
                <a:gd name="T109" fmla="*/ 359 h 453"/>
                <a:gd name="T110" fmla="*/ 7 w 502"/>
                <a:gd name="T111" fmla="*/ 381 h 453"/>
                <a:gd name="T112" fmla="*/ 0 w 502"/>
                <a:gd name="T113" fmla="*/ 386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02" h="453">
                  <a:moveTo>
                    <a:pt x="7" y="413"/>
                  </a:moveTo>
                  <a:lnTo>
                    <a:pt x="7" y="411"/>
                  </a:lnTo>
                  <a:lnTo>
                    <a:pt x="10" y="411"/>
                  </a:lnTo>
                  <a:lnTo>
                    <a:pt x="14" y="411"/>
                  </a:lnTo>
                  <a:lnTo>
                    <a:pt x="20" y="410"/>
                  </a:lnTo>
                  <a:lnTo>
                    <a:pt x="27" y="408"/>
                  </a:lnTo>
                  <a:lnTo>
                    <a:pt x="35" y="407"/>
                  </a:lnTo>
                  <a:lnTo>
                    <a:pt x="46" y="404"/>
                  </a:lnTo>
                  <a:lnTo>
                    <a:pt x="58" y="403"/>
                  </a:lnTo>
                  <a:lnTo>
                    <a:pt x="68" y="400"/>
                  </a:lnTo>
                  <a:lnTo>
                    <a:pt x="82" y="398"/>
                  </a:lnTo>
                  <a:lnTo>
                    <a:pt x="94" y="395"/>
                  </a:lnTo>
                  <a:lnTo>
                    <a:pt x="109" y="392"/>
                  </a:lnTo>
                  <a:lnTo>
                    <a:pt x="124" y="389"/>
                  </a:lnTo>
                  <a:lnTo>
                    <a:pt x="139" y="387"/>
                  </a:lnTo>
                  <a:lnTo>
                    <a:pt x="154" y="384"/>
                  </a:lnTo>
                  <a:lnTo>
                    <a:pt x="169" y="381"/>
                  </a:lnTo>
                  <a:lnTo>
                    <a:pt x="184" y="378"/>
                  </a:lnTo>
                  <a:lnTo>
                    <a:pt x="199" y="376"/>
                  </a:lnTo>
                  <a:lnTo>
                    <a:pt x="214" y="373"/>
                  </a:lnTo>
                  <a:lnTo>
                    <a:pt x="228" y="370"/>
                  </a:lnTo>
                  <a:lnTo>
                    <a:pt x="242" y="367"/>
                  </a:lnTo>
                  <a:lnTo>
                    <a:pt x="255" y="364"/>
                  </a:lnTo>
                  <a:lnTo>
                    <a:pt x="268" y="361"/>
                  </a:lnTo>
                  <a:lnTo>
                    <a:pt x="281" y="358"/>
                  </a:lnTo>
                  <a:lnTo>
                    <a:pt x="291" y="356"/>
                  </a:lnTo>
                  <a:lnTo>
                    <a:pt x="301" y="355"/>
                  </a:lnTo>
                  <a:lnTo>
                    <a:pt x="310" y="353"/>
                  </a:lnTo>
                  <a:lnTo>
                    <a:pt x="318" y="351"/>
                  </a:lnTo>
                  <a:lnTo>
                    <a:pt x="324" y="351"/>
                  </a:lnTo>
                  <a:lnTo>
                    <a:pt x="328" y="350"/>
                  </a:lnTo>
                  <a:lnTo>
                    <a:pt x="331" y="348"/>
                  </a:lnTo>
                  <a:lnTo>
                    <a:pt x="333" y="348"/>
                  </a:lnTo>
                  <a:lnTo>
                    <a:pt x="338" y="348"/>
                  </a:lnTo>
                  <a:lnTo>
                    <a:pt x="343" y="348"/>
                  </a:lnTo>
                  <a:lnTo>
                    <a:pt x="346" y="350"/>
                  </a:lnTo>
                  <a:lnTo>
                    <a:pt x="349" y="353"/>
                  </a:lnTo>
                  <a:lnTo>
                    <a:pt x="351" y="355"/>
                  </a:lnTo>
                  <a:lnTo>
                    <a:pt x="352" y="358"/>
                  </a:lnTo>
                  <a:lnTo>
                    <a:pt x="354" y="359"/>
                  </a:lnTo>
                  <a:lnTo>
                    <a:pt x="355" y="361"/>
                  </a:lnTo>
                  <a:lnTo>
                    <a:pt x="361" y="361"/>
                  </a:lnTo>
                  <a:lnTo>
                    <a:pt x="364" y="362"/>
                  </a:lnTo>
                  <a:lnTo>
                    <a:pt x="367" y="365"/>
                  </a:lnTo>
                  <a:lnTo>
                    <a:pt x="368" y="367"/>
                  </a:lnTo>
                  <a:lnTo>
                    <a:pt x="370" y="370"/>
                  </a:lnTo>
                  <a:lnTo>
                    <a:pt x="370" y="373"/>
                  </a:lnTo>
                  <a:lnTo>
                    <a:pt x="370" y="374"/>
                  </a:lnTo>
                  <a:lnTo>
                    <a:pt x="371" y="376"/>
                  </a:lnTo>
                  <a:lnTo>
                    <a:pt x="374" y="381"/>
                  </a:lnTo>
                  <a:lnTo>
                    <a:pt x="376" y="386"/>
                  </a:lnTo>
                  <a:lnTo>
                    <a:pt x="379" y="388"/>
                  </a:lnTo>
                  <a:lnTo>
                    <a:pt x="382" y="391"/>
                  </a:lnTo>
                  <a:lnTo>
                    <a:pt x="384" y="394"/>
                  </a:lnTo>
                  <a:lnTo>
                    <a:pt x="387" y="395"/>
                  </a:lnTo>
                  <a:lnTo>
                    <a:pt x="388" y="395"/>
                  </a:lnTo>
                  <a:lnTo>
                    <a:pt x="388" y="395"/>
                  </a:lnTo>
                  <a:lnTo>
                    <a:pt x="404" y="401"/>
                  </a:lnTo>
                  <a:lnTo>
                    <a:pt x="475" y="424"/>
                  </a:lnTo>
                  <a:lnTo>
                    <a:pt x="477" y="452"/>
                  </a:lnTo>
                  <a:lnTo>
                    <a:pt x="486" y="440"/>
                  </a:lnTo>
                  <a:lnTo>
                    <a:pt x="495" y="419"/>
                  </a:lnTo>
                  <a:lnTo>
                    <a:pt x="489" y="410"/>
                  </a:lnTo>
                  <a:lnTo>
                    <a:pt x="501" y="395"/>
                  </a:lnTo>
                  <a:lnTo>
                    <a:pt x="495" y="388"/>
                  </a:lnTo>
                  <a:lnTo>
                    <a:pt x="483" y="308"/>
                  </a:lnTo>
                  <a:lnTo>
                    <a:pt x="478" y="308"/>
                  </a:lnTo>
                  <a:lnTo>
                    <a:pt x="480" y="235"/>
                  </a:lnTo>
                  <a:lnTo>
                    <a:pt x="480" y="233"/>
                  </a:lnTo>
                  <a:lnTo>
                    <a:pt x="480" y="232"/>
                  </a:lnTo>
                  <a:lnTo>
                    <a:pt x="478" y="227"/>
                  </a:lnTo>
                  <a:lnTo>
                    <a:pt x="477" y="222"/>
                  </a:lnTo>
                  <a:lnTo>
                    <a:pt x="475" y="217"/>
                  </a:lnTo>
                  <a:lnTo>
                    <a:pt x="475" y="211"/>
                  </a:lnTo>
                  <a:lnTo>
                    <a:pt x="474" y="203"/>
                  </a:lnTo>
                  <a:lnTo>
                    <a:pt x="471" y="196"/>
                  </a:lnTo>
                  <a:lnTo>
                    <a:pt x="470" y="189"/>
                  </a:lnTo>
                  <a:lnTo>
                    <a:pt x="469" y="182"/>
                  </a:lnTo>
                  <a:lnTo>
                    <a:pt x="468" y="176"/>
                  </a:lnTo>
                  <a:lnTo>
                    <a:pt x="468" y="170"/>
                  </a:lnTo>
                  <a:lnTo>
                    <a:pt x="466" y="164"/>
                  </a:lnTo>
                  <a:lnTo>
                    <a:pt x="465" y="161"/>
                  </a:lnTo>
                  <a:lnTo>
                    <a:pt x="465" y="158"/>
                  </a:lnTo>
                  <a:lnTo>
                    <a:pt x="463" y="156"/>
                  </a:lnTo>
                  <a:lnTo>
                    <a:pt x="460" y="149"/>
                  </a:lnTo>
                  <a:lnTo>
                    <a:pt x="457" y="145"/>
                  </a:lnTo>
                  <a:lnTo>
                    <a:pt x="456" y="143"/>
                  </a:lnTo>
                  <a:lnTo>
                    <a:pt x="454" y="143"/>
                  </a:lnTo>
                  <a:lnTo>
                    <a:pt x="453" y="145"/>
                  </a:lnTo>
                  <a:lnTo>
                    <a:pt x="451" y="148"/>
                  </a:lnTo>
                  <a:lnTo>
                    <a:pt x="450" y="149"/>
                  </a:lnTo>
                  <a:lnTo>
                    <a:pt x="450" y="149"/>
                  </a:lnTo>
                  <a:lnTo>
                    <a:pt x="447" y="146"/>
                  </a:lnTo>
                  <a:lnTo>
                    <a:pt x="439" y="104"/>
                  </a:lnTo>
                  <a:lnTo>
                    <a:pt x="437" y="74"/>
                  </a:lnTo>
                  <a:lnTo>
                    <a:pt x="432" y="62"/>
                  </a:lnTo>
                  <a:lnTo>
                    <a:pt x="418" y="0"/>
                  </a:lnTo>
                  <a:lnTo>
                    <a:pt x="417" y="1"/>
                  </a:lnTo>
                  <a:lnTo>
                    <a:pt x="414" y="1"/>
                  </a:lnTo>
                  <a:lnTo>
                    <a:pt x="409" y="2"/>
                  </a:lnTo>
                  <a:lnTo>
                    <a:pt x="404" y="4"/>
                  </a:lnTo>
                  <a:lnTo>
                    <a:pt x="399" y="5"/>
                  </a:lnTo>
                  <a:lnTo>
                    <a:pt x="390" y="7"/>
                  </a:lnTo>
                  <a:lnTo>
                    <a:pt x="382" y="10"/>
                  </a:lnTo>
                  <a:lnTo>
                    <a:pt x="374" y="11"/>
                  </a:lnTo>
                  <a:lnTo>
                    <a:pt x="366" y="14"/>
                  </a:lnTo>
                  <a:lnTo>
                    <a:pt x="358" y="16"/>
                  </a:lnTo>
                  <a:lnTo>
                    <a:pt x="349" y="17"/>
                  </a:lnTo>
                  <a:lnTo>
                    <a:pt x="344" y="19"/>
                  </a:lnTo>
                  <a:lnTo>
                    <a:pt x="338" y="22"/>
                  </a:lnTo>
                  <a:lnTo>
                    <a:pt x="333" y="22"/>
                  </a:lnTo>
                  <a:lnTo>
                    <a:pt x="330" y="23"/>
                  </a:lnTo>
                  <a:lnTo>
                    <a:pt x="328" y="23"/>
                  </a:lnTo>
                  <a:lnTo>
                    <a:pt x="321" y="25"/>
                  </a:lnTo>
                  <a:lnTo>
                    <a:pt x="313" y="28"/>
                  </a:lnTo>
                  <a:lnTo>
                    <a:pt x="308" y="32"/>
                  </a:lnTo>
                  <a:lnTo>
                    <a:pt x="301" y="35"/>
                  </a:lnTo>
                  <a:lnTo>
                    <a:pt x="295" y="41"/>
                  </a:lnTo>
                  <a:lnTo>
                    <a:pt x="289" y="49"/>
                  </a:lnTo>
                  <a:lnTo>
                    <a:pt x="283" y="56"/>
                  </a:lnTo>
                  <a:lnTo>
                    <a:pt x="278" y="63"/>
                  </a:lnTo>
                  <a:lnTo>
                    <a:pt x="274" y="70"/>
                  </a:lnTo>
                  <a:lnTo>
                    <a:pt x="269" y="76"/>
                  </a:lnTo>
                  <a:lnTo>
                    <a:pt x="265" y="83"/>
                  </a:lnTo>
                  <a:lnTo>
                    <a:pt x="262" y="89"/>
                  </a:lnTo>
                  <a:lnTo>
                    <a:pt x="261" y="94"/>
                  </a:lnTo>
                  <a:lnTo>
                    <a:pt x="258" y="97"/>
                  </a:lnTo>
                  <a:lnTo>
                    <a:pt x="258" y="98"/>
                  </a:lnTo>
                  <a:lnTo>
                    <a:pt x="256" y="100"/>
                  </a:lnTo>
                  <a:lnTo>
                    <a:pt x="244" y="118"/>
                  </a:lnTo>
                  <a:lnTo>
                    <a:pt x="245" y="118"/>
                  </a:lnTo>
                  <a:lnTo>
                    <a:pt x="220" y="146"/>
                  </a:lnTo>
                  <a:lnTo>
                    <a:pt x="232" y="146"/>
                  </a:lnTo>
                  <a:lnTo>
                    <a:pt x="241" y="154"/>
                  </a:lnTo>
                  <a:lnTo>
                    <a:pt x="236" y="166"/>
                  </a:lnTo>
                  <a:lnTo>
                    <a:pt x="235" y="167"/>
                  </a:lnTo>
                  <a:lnTo>
                    <a:pt x="232" y="169"/>
                  </a:lnTo>
                  <a:lnTo>
                    <a:pt x="229" y="170"/>
                  </a:lnTo>
                  <a:lnTo>
                    <a:pt x="229" y="172"/>
                  </a:lnTo>
                  <a:lnTo>
                    <a:pt x="235" y="176"/>
                  </a:lnTo>
                  <a:lnTo>
                    <a:pt x="238" y="181"/>
                  </a:lnTo>
                  <a:lnTo>
                    <a:pt x="241" y="185"/>
                  </a:lnTo>
                  <a:lnTo>
                    <a:pt x="241" y="191"/>
                  </a:lnTo>
                  <a:lnTo>
                    <a:pt x="241" y="194"/>
                  </a:lnTo>
                  <a:lnTo>
                    <a:pt x="241" y="199"/>
                  </a:lnTo>
                  <a:lnTo>
                    <a:pt x="241" y="202"/>
                  </a:lnTo>
                  <a:lnTo>
                    <a:pt x="241" y="202"/>
                  </a:lnTo>
                  <a:lnTo>
                    <a:pt x="233" y="203"/>
                  </a:lnTo>
                  <a:lnTo>
                    <a:pt x="228" y="206"/>
                  </a:lnTo>
                  <a:lnTo>
                    <a:pt x="222" y="212"/>
                  </a:lnTo>
                  <a:lnTo>
                    <a:pt x="218" y="217"/>
                  </a:lnTo>
                  <a:lnTo>
                    <a:pt x="214" y="222"/>
                  </a:lnTo>
                  <a:lnTo>
                    <a:pt x="211" y="226"/>
                  </a:lnTo>
                  <a:lnTo>
                    <a:pt x="208" y="229"/>
                  </a:lnTo>
                  <a:lnTo>
                    <a:pt x="208" y="230"/>
                  </a:lnTo>
                  <a:lnTo>
                    <a:pt x="206" y="232"/>
                  </a:lnTo>
                  <a:lnTo>
                    <a:pt x="205" y="233"/>
                  </a:lnTo>
                  <a:lnTo>
                    <a:pt x="202" y="235"/>
                  </a:lnTo>
                  <a:lnTo>
                    <a:pt x="199" y="238"/>
                  </a:lnTo>
                  <a:lnTo>
                    <a:pt x="195" y="239"/>
                  </a:lnTo>
                  <a:lnTo>
                    <a:pt x="192" y="242"/>
                  </a:lnTo>
                  <a:lnTo>
                    <a:pt x="189" y="244"/>
                  </a:lnTo>
                  <a:lnTo>
                    <a:pt x="187" y="244"/>
                  </a:lnTo>
                  <a:lnTo>
                    <a:pt x="182" y="241"/>
                  </a:lnTo>
                  <a:lnTo>
                    <a:pt x="176" y="241"/>
                  </a:lnTo>
                  <a:lnTo>
                    <a:pt x="170" y="242"/>
                  </a:lnTo>
                  <a:lnTo>
                    <a:pt x="166" y="244"/>
                  </a:lnTo>
                  <a:lnTo>
                    <a:pt x="162" y="247"/>
                  </a:lnTo>
                  <a:lnTo>
                    <a:pt x="157" y="248"/>
                  </a:lnTo>
                  <a:lnTo>
                    <a:pt x="155" y="250"/>
                  </a:lnTo>
                  <a:lnTo>
                    <a:pt x="155" y="251"/>
                  </a:lnTo>
                  <a:lnTo>
                    <a:pt x="154" y="252"/>
                  </a:lnTo>
                  <a:lnTo>
                    <a:pt x="137" y="251"/>
                  </a:lnTo>
                  <a:lnTo>
                    <a:pt x="137" y="251"/>
                  </a:lnTo>
                  <a:lnTo>
                    <a:pt x="136" y="250"/>
                  </a:lnTo>
                  <a:lnTo>
                    <a:pt x="133" y="248"/>
                  </a:lnTo>
                  <a:lnTo>
                    <a:pt x="131" y="248"/>
                  </a:lnTo>
                  <a:lnTo>
                    <a:pt x="118" y="248"/>
                  </a:lnTo>
                  <a:lnTo>
                    <a:pt x="103" y="250"/>
                  </a:lnTo>
                  <a:lnTo>
                    <a:pt x="92" y="251"/>
                  </a:lnTo>
                  <a:lnTo>
                    <a:pt x="82" y="252"/>
                  </a:lnTo>
                  <a:lnTo>
                    <a:pt x="73" y="254"/>
                  </a:lnTo>
                  <a:lnTo>
                    <a:pt x="64" y="257"/>
                  </a:lnTo>
                  <a:lnTo>
                    <a:pt x="59" y="259"/>
                  </a:lnTo>
                  <a:lnTo>
                    <a:pt x="53" y="262"/>
                  </a:lnTo>
                  <a:lnTo>
                    <a:pt x="49" y="263"/>
                  </a:lnTo>
                  <a:lnTo>
                    <a:pt x="46" y="266"/>
                  </a:lnTo>
                  <a:lnTo>
                    <a:pt x="43" y="269"/>
                  </a:lnTo>
                  <a:lnTo>
                    <a:pt x="40" y="271"/>
                  </a:lnTo>
                  <a:lnTo>
                    <a:pt x="40" y="274"/>
                  </a:lnTo>
                  <a:lnTo>
                    <a:pt x="38" y="275"/>
                  </a:lnTo>
                  <a:lnTo>
                    <a:pt x="37" y="277"/>
                  </a:lnTo>
                  <a:lnTo>
                    <a:pt x="37" y="277"/>
                  </a:lnTo>
                  <a:lnTo>
                    <a:pt x="38" y="281"/>
                  </a:lnTo>
                  <a:lnTo>
                    <a:pt x="40" y="285"/>
                  </a:lnTo>
                  <a:lnTo>
                    <a:pt x="41" y="290"/>
                  </a:lnTo>
                  <a:lnTo>
                    <a:pt x="44" y="293"/>
                  </a:lnTo>
                  <a:lnTo>
                    <a:pt x="46" y="296"/>
                  </a:lnTo>
                  <a:lnTo>
                    <a:pt x="49" y="299"/>
                  </a:lnTo>
                  <a:lnTo>
                    <a:pt x="50" y="299"/>
                  </a:lnTo>
                  <a:lnTo>
                    <a:pt x="50" y="301"/>
                  </a:lnTo>
                  <a:lnTo>
                    <a:pt x="52" y="302"/>
                  </a:lnTo>
                  <a:lnTo>
                    <a:pt x="55" y="304"/>
                  </a:lnTo>
                  <a:lnTo>
                    <a:pt x="56" y="307"/>
                  </a:lnTo>
                  <a:lnTo>
                    <a:pt x="58" y="308"/>
                  </a:lnTo>
                  <a:lnTo>
                    <a:pt x="58" y="314"/>
                  </a:lnTo>
                  <a:lnTo>
                    <a:pt x="56" y="318"/>
                  </a:lnTo>
                  <a:lnTo>
                    <a:pt x="56" y="321"/>
                  </a:lnTo>
                  <a:lnTo>
                    <a:pt x="55" y="323"/>
                  </a:lnTo>
                  <a:lnTo>
                    <a:pt x="53" y="325"/>
                  </a:lnTo>
                  <a:lnTo>
                    <a:pt x="52" y="326"/>
                  </a:lnTo>
                  <a:lnTo>
                    <a:pt x="50" y="328"/>
                  </a:lnTo>
                  <a:lnTo>
                    <a:pt x="50" y="328"/>
                  </a:lnTo>
                  <a:lnTo>
                    <a:pt x="46" y="334"/>
                  </a:lnTo>
                  <a:lnTo>
                    <a:pt x="38" y="348"/>
                  </a:lnTo>
                  <a:lnTo>
                    <a:pt x="26" y="361"/>
                  </a:lnTo>
                  <a:lnTo>
                    <a:pt x="26" y="361"/>
                  </a:lnTo>
                  <a:lnTo>
                    <a:pt x="27" y="359"/>
                  </a:lnTo>
                  <a:lnTo>
                    <a:pt x="27" y="359"/>
                  </a:lnTo>
                  <a:lnTo>
                    <a:pt x="26" y="359"/>
                  </a:lnTo>
                  <a:lnTo>
                    <a:pt x="20" y="368"/>
                  </a:lnTo>
                  <a:lnTo>
                    <a:pt x="14" y="374"/>
                  </a:lnTo>
                  <a:lnTo>
                    <a:pt x="10" y="378"/>
                  </a:lnTo>
                  <a:lnTo>
                    <a:pt x="7" y="381"/>
                  </a:lnTo>
                  <a:lnTo>
                    <a:pt x="4" y="383"/>
                  </a:lnTo>
                  <a:lnTo>
                    <a:pt x="1" y="384"/>
                  </a:lnTo>
                  <a:lnTo>
                    <a:pt x="0" y="386"/>
                  </a:lnTo>
                  <a:lnTo>
                    <a:pt x="0" y="386"/>
                  </a:lnTo>
                  <a:lnTo>
                    <a:pt x="7" y="413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4" name="Freeform 58"/>
            <p:cNvSpPr>
              <a:spLocks/>
            </p:cNvSpPr>
            <p:nvPr/>
          </p:nvSpPr>
          <p:spPr bwMode="auto">
            <a:xfrm>
              <a:off x="3076367" y="4221941"/>
              <a:ext cx="336973" cy="304271"/>
            </a:xfrm>
            <a:custGeom>
              <a:avLst/>
              <a:gdLst>
                <a:gd name="T0" fmla="*/ 10 w 502"/>
                <a:gd name="T1" fmla="*/ 411 h 453"/>
                <a:gd name="T2" fmla="*/ 35 w 502"/>
                <a:gd name="T3" fmla="*/ 407 h 453"/>
                <a:gd name="T4" fmla="*/ 82 w 502"/>
                <a:gd name="T5" fmla="*/ 398 h 453"/>
                <a:gd name="T6" fmla="*/ 139 w 502"/>
                <a:gd name="T7" fmla="*/ 387 h 453"/>
                <a:gd name="T8" fmla="*/ 199 w 502"/>
                <a:gd name="T9" fmla="*/ 376 h 453"/>
                <a:gd name="T10" fmla="*/ 255 w 502"/>
                <a:gd name="T11" fmla="*/ 364 h 453"/>
                <a:gd name="T12" fmla="*/ 301 w 502"/>
                <a:gd name="T13" fmla="*/ 355 h 453"/>
                <a:gd name="T14" fmla="*/ 328 w 502"/>
                <a:gd name="T15" fmla="*/ 350 h 453"/>
                <a:gd name="T16" fmla="*/ 338 w 502"/>
                <a:gd name="T17" fmla="*/ 348 h 453"/>
                <a:gd name="T18" fmla="*/ 351 w 502"/>
                <a:gd name="T19" fmla="*/ 355 h 453"/>
                <a:gd name="T20" fmla="*/ 355 w 502"/>
                <a:gd name="T21" fmla="*/ 361 h 453"/>
                <a:gd name="T22" fmla="*/ 368 w 502"/>
                <a:gd name="T23" fmla="*/ 367 h 453"/>
                <a:gd name="T24" fmla="*/ 371 w 502"/>
                <a:gd name="T25" fmla="*/ 376 h 453"/>
                <a:gd name="T26" fmla="*/ 379 w 502"/>
                <a:gd name="T27" fmla="*/ 388 h 453"/>
                <a:gd name="T28" fmla="*/ 388 w 502"/>
                <a:gd name="T29" fmla="*/ 395 h 453"/>
                <a:gd name="T30" fmla="*/ 477 w 502"/>
                <a:gd name="T31" fmla="*/ 452 h 453"/>
                <a:gd name="T32" fmla="*/ 501 w 502"/>
                <a:gd name="T33" fmla="*/ 395 h 453"/>
                <a:gd name="T34" fmla="*/ 480 w 502"/>
                <a:gd name="T35" fmla="*/ 235 h 453"/>
                <a:gd name="T36" fmla="*/ 478 w 502"/>
                <a:gd name="T37" fmla="*/ 227 h 453"/>
                <a:gd name="T38" fmla="*/ 474 w 502"/>
                <a:gd name="T39" fmla="*/ 203 h 453"/>
                <a:gd name="T40" fmla="*/ 468 w 502"/>
                <a:gd name="T41" fmla="*/ 176 h 453"/>
                <a:gd name="T42" fmla="*/ 465 w 502"/>
                <a:gd name="T43" fmla="*/ 158 h 453"/>
                <a:gd name="T44" fmla="*/ 457 w 502"/>
                <a:gd name="T45" fmla="*/ 145 h 453"/>
                <a:gd name="T46" fmla="*/ 451 w 502"/>
                <a:gd name="T47" fmla="*/ 148 h 453"/>
                <a:gd name="T48" fmla="*/ 439 w 502"/>
                <a:gd name="T49" fmla="*/ 104 h 453"/>
                <a:gd name="T50" fmla="*/ 418 w 502"/>
                <a:gd name="T51" fmla="*/ 0 h 453"/>
                <a:gd name="T52" fmla="*/ 404 w 502"/>
                <a:gd name="T53" fmla="*/ 4 h 453"/>
                <a:gd name="T54" fmla="*/ 374 w 502"/>
                <a:gd name="T55" fmla="*/ 11 h 453"/>
                <a:gd name="T56" fmla="*/ 344 w 502"/>
                <a:gd name="T57" fmla="*/ 19 h 453"/>
                <a:gd name="T58" fmla="*/ 328 w 502"/>
                <a:gd name="T59" fmla="*/ 23 h 453"/>
                <a:gd name="T60" fmla="*/ 308 w 502"/>
                <a:gd name="T61" fmla="*/ 32 h 453"/>
                <a:gd name="T62" fmla="*/ 283 w 502"/>
                <a:gd name="T63" fmla="*/ 56 h 453"/>
                <a:gd name="T64" fmla="*/ 265 w 502"/>
                <a:gd name="T65" fmla="*/ 83 h 453"/>
                <a:gd name="T66" fmla="*/ 258 w 502"/>
                <a:gd name="T67" fmla="*/ 98 h 453"/>
                <a:gd name="T68" fmla="*/ 220 w 502"/>
                <a:gd name="T69" fmla="*/ 146 h 453"/>
                <a:gd name="T70" fmla="*/ 236 w 502"/>
                <a:gd name="T71" fmla="*/ 166 h 453"/>
                <a:gd name="T72" fmla="*/ 229 w 502"/>
                <a:gd name="T73" fmla="*/ 172 h 453"/>
                <a:gd name="T74" fmla="*/ 241 w 502"/>
                <a:gd name="T75" fmla="*/ 185 h 453"/>
                <a:gd name="T76" fmla="*/ 241 w 502"/>
                <a:gd name="T77" fmla="*/ 202 h 453"/>
                <a:gd name="T78" fmla="*/ 228 w 502"/>
                <a:gd name="T79" fmla="*/ 206 h 453"/>
                <a:gd name="T80" fmla="*/ 211 w 502"/>
                <a:gd name="T81" fmla="*/ 226 h 453"/>
                <a:gd name="T82" fmla="*/ 206 w 502"/>
                <a:gd name="T83" fmla="*/ 232 h 453"/>
                <a:gd name="T84" fmla="*/ 195 w 502"/>
                <a:gd name="T85" fmla="*/ 239 h 453"/>
                <a:gd name="T86" fmla="*/ 187 w 502"/>
                <a:gd name="T87" fmla="*/ 244 h 453"/>
                <a:gd name="T88" fmla="*/ 166 w 502"/>
                <a:gd name="T89" fmla="*/ 244 h 453"/>
                <a:gd name="T90" fmla="*/ 155 w 502"/>
                <a:gd name="T91" fmla="*/ 251 h 453"/>
                <a:gd name="T92" fmla="*/ 137 w 502"/>
                <a:gd name="T93" fmla="*/ 251 h 453"/>
                <a:gd name="T94" fmla="*/ 131 w 502"/>
                <a:gd name="T95" fmla="*/ 248 h 453"/>
                <a:gd name="T96" fmla="*/ 82 w 502"/>
                <a:gd name="T97" fmla="*/ 252 h 453"/>
                <a:gd name="T98" fmla="*/ 53 w 502"/>
                <a:gd name="T99" fmla="*/ 262 h 453"/>
                <a:gd name="T100" fmla="*/ 40 w 502"/>
                <a:gd name="T101" fmla="*/ 271 h 453"/>
                <a:gd name="T102" fmla="*/ 37 w 502"/>
                <a:gd name="T103" fmla="*/ 277 h 453"/>
                <a:gd name="T104" fmla="*/ 41 w 502"/>
                <a:gd name="T105" fmla="*/ 290 h 453"/>
                <a:gd name="T106" fmla="*/ 50 w 502"/>
                <a:gd name="T107" fmla="*/ 299 h 453"/>
                <a:gd name="T108" fmla="*/ 55 w 502"/>
                <a:gd name="T109" fmla="*/ 304 h 453"/>
                <a:gd name="T110" fmla="*/ 58 w 502"/>
                <a:gd name="T111" fmla="*/ 314 h 453"/>
                <a:gd name="T112" fmla="*/ 53 w 502"/>
                <a:gd name="T113" fmla="*/ 325 h 453"/>
                <a:gd name="T114" fmla="*/ 46 w 502"/>
                <a:gd name="T115" fmla="*/ 334 h 453"/>
                <a:gd name="T116" fmla="*/ 26 w 502"/>
                <a:gd name="T117" fmla="*/ 361 h 453"/>
                <a:gd name="T118" fmla="*/ 26 w 502"/>
                <a:gd name="T119" fmla="*/ 359 h 453"/>
                <a:gd name="T120" fmla="*/ 7 w 502"/>
                <a:gd name="T121" fmla="*/ 381 h 453"/>
                <a:gd name="T122" fmla="*/ 0 w 502"/>
                <a:gd name="T123" fmla="*/ 386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2" h="453">
                  <a:moveTo>
                    <a:pt x="7" y="413"/>
                  </a:moveTo>
                  <a:lnTo>
                    <a:pt x="7" y="413"/>
                  </a:lnTo>
                  <a:lnTo>
                    <a:pt x="7" y="411"/>
                  </a:lnTo>
                  <a:lnTo>
                    <a:pt x="10" y="411"/>
                  </a:lnTo>
                  <a:lnTo>
                    <a:pt x="14" y="411"/>
                  </a:lnTo>
                  <a:lnTo>
                    <a:pt x="20" y="410"/>
                  </a:lnTo>
                  <a:lnTo>
                    <a:pt x="27" y="408"/>
                  </a:lnTo>
                  <a:lnTo>
                    <a:pt x="35" y="407"/>
                  </a:lnTo>
                  <a:lnTo>
                    <a:pt x="46" y="404"/>
                  </a:lnTo>
                  <a:lnTo>
                    <a:pt x="58" y="403"/>
                  </a:lnTo>
                  <a:lnTo>
                    <a:pt x="68" y="400"/>
                  </a:lnTo>
                  <a:lnTo>
                    <a:pt x="82" y="398"/>
                  </a:lnTo>
                  <a:lnTo>
                    <a:pt x="94" y="395"/>
                  </a:lnTo>
                  <a:lnTo>
                    <a:pt x="109" y="392"/>
                  </a:lnTo>
                  <a:lnTo>
                    <a:pt x="124" y="389"/>
                  </a:lnTo>
                  <a:lnTo>
                    <a:pt x="139" y="387"/>
                  </a:lnTo>
                  <a:lnTo>
                    <a:pt x="154" y="384"/>
                  </a:lnTo>
                  <a:lnTo>
                    <a:pt x="169" y="381"/>
                  </a:lnTo>
                  <a:lnTo>
                    <a:pt x="184" y="378"/>
                  </a:lnTo>
                  <a:lnTo>
                    <a:pt x="199" y="376"/>
                  </a:lnTo>
                  <a:lnTo>
                    <a:pt x="214" y="373"/>
                  </a:lnTo>
                  <a:lnTo>
                    <a:pt x="228" y="370"/>
                  </a:lnTo>
                  <a:lnTo>
                    <a:pt x="242" y="367"/>
                  </a:lnTo>
                  <a:lnTo>
                    <a:pt x="255" y="364"/>
                  </a:lnTo>
                  <a:lnTo>
                    <a:pt x="268" y="361"/>
                  </a:lnTo>
                  <a:lnTo>
                    <a:pt x="281" y="358"/>
                  </a:lnTo>
                  <a:lnTo>
                    <a:pt x="291" y="356"/>
                  </a:lnTo>
                  <a:lnTo>
                    <a:pt x="301" y="355"/>
                  </a:lnTo>
                  <a:lnTo>
                    <a:pt x="310" y="353"/>
                  </a:lnTo>
                  <a:lnTo>
                    <a:pt x="318" y="351"/>
                  </a:lnTo>
                  <a:lnTo>
                    <a:pt x="324" y="351"/>
                  </a:lnTo>
                  <a:lnTo>
                    <a:pt x="328" y="350"/>
                  </a:lnTo>
                  <a:lnTo>
                    <a:pt x="331" y="348"/>
                  </a:lnTo>
                  <a:lnTo>
                    <a:pt x="333" y="348"/>
                  </a:lnTo>
                  <a:lnTo>
                    <a:pt x="333" y="348"/>
                  </a:lnTo>
                  <a:lnTo>
                    <a:pt x="338" y="348"/>
                  </a:lnTo>
                  <a:lnTo>
                    <a:pt x="343" y="348"/>
                  </a:lnTo>
                  <a:lnTo>
                    <a:pt x="346" y="350"/>
                  </a:lnTo>
                  <a:lnTo>
                    <a:pt x="349" y="353"/>
                  </a:lnTo>
                  <a:lnTo>
                    <a:pt x="351" y="355"/>
                  </a:lnTo>
                  <a:lnTo>
                    <a:pt x="352" y="358"/>
                  </a:lnTo>
                  <a:lnTo>
                    <a:pt x="354" y="359"/>
                  </a:lnTo>
                  <a:lnTo>
                    <a:pt x="355" y="361"/>
                  </a:lnTo>
                  <a:lnTo>
                    <a:pt x="355" y="361"/>
                  </a:lnTo>
                  <a:lnTo>
                    <a:pt x="361" y="361"/>
                  </a:lnTo>
                  <a:lnTo>
                    <a:pt x="364" y="362"/>
                  </a:lnTo>
                  <a:lnTo>
                    <a:pt x="367" y="365"/>
                  </a:lnTo>
                  <a:lnTo>
                    <a:pt x="368" y="367"/>
                  </a:lnTo>
                  <a:lnTo>
                    <a:pt x="370" y="370"/>
                  </a:lnTo>
                  <a:lnTo>
                    <a:pt x="370" y="373"/>
                  </a:lnTo>
                  <a:lnTo>
                    <a:pt x="370" y="374"/>
                  </a:lnTo>
                  <a:lnTo>
                    <a:pt x="371" y="376"/>
                  </a:lnTo>
                  <a:lnTo>
                    <a:pt x="371" y="376"/>
                  </a:lnTo>
                  <a:lnTo>
                    <a:pt x="374" y="381"/>
                  </a:lnTo>
                  <a:lnTo>
                    <a:pt x="376" y="386"/>
                  </a:lnTo>
                  <a:lnTo>
                    <a:pt x="379" y="388"/>
                  </a:lnTo>
                  <a:lnTo>
                    <a:pt x="382" y="391"/>
                  </a:lnTo>
                  <a:lnTo>
                    <a:pt x="384" y="394"/>
                  </a:lnTo>
                  <a:lnTo>
                    <a:pt x="387" y="395"/>
                  </a:lnTo>
                  <a:lnTo>
                    <a:pt x="388" y="395"/>
                  </a:lnTo>
                  <a:lnTo>
                    <a:pt x="388" y="395"/>
                  </a:lnTo>
                  <a:lnTo>
                    <a:pt x="404" y="401"/>
                  </a:lnTo>
                  <a:lnTo>
                    <a:pt x="475" y="424"/>
                  </a:lnTo>
                  <a:lnTo>
                    <a:pt x="477" y="452"/>
                  </a:lnTo>
                  <a:lnTo>
                    <a:pt x="486" y="440"/>
                  </a:lnTo>
                  <a:lnTo>
                    <a:pt x="495" y="419"/>
                  </a:lnTo>
                  <a:lnTo>
                    <a:pt x="489" y="410"/>
                  </a:lnTo>
                  <a:lnTo>
                    <a:pt x="501" y="395"/>
                  </a:lnTo>
                  <a:lnTo>
                    <a:pt x="495" y="388"/>
                  </a:lnTo>
                  <a:lnTo>
                    <a:pt x="483" y="308"/>
                  </a:lnTo>
                  <a:lnTo>
                    <a:pt x="478" y="308"/>
                  </a:lnTo>
                  <a:lnTo>
                    <a:pt x="480" y="235"/>
                  </a:lnTo>
                  <a:lnTo>
                    <a:pt x="480" y="235"/>
                  </a:lnTo>
                  <a:lnTo>
                    <a:pt x="480" y="233"/>
                  </a:lnTo>
                  <a:lnTo>
                    <a:pt x="480" y="232"/>
                  </a:lnTo>
                  <a:lnTo>
                    <a:pt x="478" y="227"/>
                  </a:lnTo>
                  <a:lnTo>
                    <a:pt x="477" y="222"/>
                  </a:lnTo>
                  <a:lnTo>
                    <a:pt x="475" y="217"/>
                  </a:lnTo>
                  <a:lnTo>
                    <a:pt x="475" y="211"/>
                  </a:lnTo>
                  <a:lnTo>
                    <a:pt x="474" y="203"/>
                  </a:lnTo>
                  <a:lnTo>
                    <a:pt x="471" y="196"/>
                  </a:lnTo>
                  <a:lnTo>
                    <a:pt x="470" y="189"/>
                  </a:lnTo>
                  <a:lnTo>
                    <a:pt x="469" y="182"/>
                  </a:lnTo>
                  <a:lnTo>
                    <a:pt x="468" y="176"/>
                  </a:lnTo>
                  <a:lnTo>
                    <a:pt x="468" y="170"/>
                  </a:lnTo>
                  <a:lnTo>
                    <a:pt x="466" y="164"/>
                  </a:lnTo>
                  <a:lnTo>
                    <a:pt x="465" y="161"/>
                  </a:lnTo>
                  <a:lnTo>
                    <a:pt x="465" y="158"/>
                  </a:lnTo>
                  <a:lnTo>
                    <a:pt x="463" y="156"/>
                  </a:lnTo>
                  <a:lnTo>
                    <a:pt x="463" y="156"/>
                  </a:lnTo>
                  <a:lnTo>
                    <a:pt x="460" y="149"/>
                  </a:lnTo>
                  <a:lnTo>
                    <a:pt x="457" y="145"/>
                  </a:lnTo>
                  <a:lnTo>
                    <a:pt x="456" y="143"/>
                  </a:lnTo>
                  <a:lnTo>
                    <a:pt x="454" y="143"/>
                  </a:lnTo>
                  <a:lnTo>
                    <a:pt x="453" y="145"/>
                  </a:lnTo>
                  <a:lnTo>
                    <a:pt x="451" y="148"/>
                  </a:lnTo>
                  <a:lnTo>
                    <a:pt x="450" y="149"/>
                  </a:lnTo>
                  <a:lnTo>
                    <a:pt x="450" y="149"/>
                  </a:lnTo>
                  <a:lnTo>
                    <a:pt x="447" y="146"/>
                  </a:lnTo>
                  <a:lnTo>
                    <a:pt x="439" y="104"/>
                  </a:lnTo>
                  <a:lnTo>
                    <a:pt x="437" y="74"/>
                  </a:lnTo>
                  <a:lnTo>
                    <a:pt x="432" y="62"/>
                  </a:lnTo>
                  <a:lnTo>
                    <a:pt x="418" y="0"/>
                  </a:lnTo>
                  <a:lnTo>
                    <a:pt x="418" y="0"/>
                  </a:lnTo>
                  <a:lnTo>
                    <a:pt x="417" y="1"/>
                  </a:lnTo>
                  <a:lnTo>
                    <a:pt x="414" y="1"/>
                  </a:lnTo>
                  <a:lnTo>
                    <a:pt x="409" y="2"/>
                  </a:lnTo>
                  <a:lnTo>
                    <a:pt x="404" y="4"/>
                  </a:lnTo>
                  <a:lnTo>
                    <a:pt x="399" y="5"/>
                  </a:lnTo>
                  <a:lnTo>
                    <a:pt x="390" y="7"/>
                  </a:lnTo>
                  <a:lnTo>
                    <a:pt x="382" y="10"/>
                  </a:lnTo>
                  <a:lnTo>
                    <a:pt x="374" y="11"/>
                  </a:lnTo>
                  <a:lnTo>
                    <a:pt x="366" y="14"/>
                  </a:lnTo>
                  <a:lnTo>
                    <a:pt x="358" y="16"/>
                  </a:lnTo>
                  <a:lnTo>
                    <a:pt x="349" y="17"/>
                  </a:lnTo>
                  <a:lnTo>
                    <a:pt x="344" y="19"/>
                  </a:lnTo>
                  <a:lnTo>
                    <a:pt x="338" y="22"/>
                  </a:lnTo>
                  <a:lnTo>
                    <a:pt x="333" y="22"/>
                  </a:lnTo>
                  <a:lnTo>
                    <a:pt x="330" y="23"/>
                  </a:lnTo>
                  <a:lnTo>
                    <a:pt x="328" y="23"/>
                  </a:lnTo>
                  <a:lnTo>
                    <a:pt x="328" y="23"/>
                  </a:lnTo>
                  <a:lnTo>
                    <a:pt x="321" y="25"/>
                  </a:lnTo>
                  <a:lnTo>
                    <a:pt x="313" y="28"/>
                  </a:lnTo>
                  <a:lnTo>
                    <a:pt x="308" y="32"/>
                  </a:lnTo>
                  <a:lnTo>
                    <a:pt x="301" y="35"/>
                  </a:lnTo>
                  <a:lnTo>
                    <a:pt x="295" y="41"/>
                  </a:lnTo>
                  <a:lnTo>
                    <a:pt x="289" y="49"/>
                  </a:lnTo>
                  <a:lnTo>
                    <a:pt x="283" y="56"/>
                  </a:lnTo>
                  <a:lnTo>
                    <a:pt x="278" y="63"/>
                  </a:lnTo>
                  <a:lnTo>
                    <a:pt x="274" y="70"/>
                  </a:lnTo>
                  <a:lnTo>
                    <a:pt x="269" y="76"/>
                  </a:lnTo>
                  <a:lnTo>
                    <a:pt x="265" y="83"/>
                  </a:lnTo>
                  <a:lnTo>
                    <a:pt x="262" y="89"/>
                  </a:lnTo>
                  <a:lnTo>
                    <a:pt x="261" y="94"/>
                  </a:lnTo>
                  <a:lnTo>
                    <a:pt x="258" y="97"/>
                  </a:lnTo>
                  <a:lnTo>
                    <a:pt x="258" y="98"/>
                  </a:lnTo>
                  <a:lnTo>
                    <a:pt x="256" y="100"/>
                  </a:lnTo>
                  <a:lnTo>
                    <a:pt x="244" y="118"/>
                  </a:lnTo>
                  <a:lnTo>
                    <a:pt x="245" y="118"/>
                  </a:lnTo>
                  <a:lnTo>
                    <a:pt x="220" y="146"/>
                  </a:lnTo>
                  <a:lnTo>
                    <a:pt x="232" y="146"/>
                  </a:lnTo>
                  <a:lnTo>
                    <a:pt x="241" y="154"/>
                  </a:lnTo>
                  <a:lnTo>
                    <a:pt x="236" y="166"/>
                  </a:lnTo>
                  <a:lnTo>
                    <a:pt x="236" y="166"/>
                  </a:lnTo>
                  <a:lnTo>
                    <a:pt x="235" y="167"/>
                  </a:lnTo>
                  <a:lnTo>
                    <a:pt x="232" y="169"/>
                  </a:lnTo>
                  <a:lnTo>
                    <a:pt x="229" y="170"/>
                  </a:lnTo>
                  <a:lnTo>
                    <a:pt x="229" y="172"/>
                  </a:lnTo>
                  <a:lnTo>
                    <a:pt x="229" y="172"/>
                  </a:lnTo>
                  <a:lnTo>
                    <a:pt x="235" y="176"/>
                  </a:lnTo>
                  <a:lnTo>
                    <a:pt x="238" y="181"/>
                  </a:lnTo>
                  <a:lnTo>
                    <a:pt x="241" y="185"/>
                  </a:lnTo>
                  <a:lnTo>
                    <a:pt x="241" y="191"/>
                  </a:lnTo>
                  <a:lnTo>
                    <a:pt x="241" y="194"/>
                  </a:lnTo>
                  <a:lnTo>
                    <a:pt x="241" y="199"/>
                  </a:lnTo>
                  <a:lnTo>
                    <a:pt x="241" y="202"/>
                  </a:lnTo>
                  <a:lnTo>
                    <a:pt x="241" y="202"/>
                  </a:lnTo>
                  <a:lnTo>
                    <a:pt x="241" y="202"/>
                  </a:lnTo>
                  <a:lnTo>
                    <a:pt x="233" y="203"/>
                  </a:lnTo>
                  <a:lnTo>
                    <a:pt x="228" y="206"/>
                  </a:lnTo>
                  <a:lnTo>
                    <a:pt x="222" y="212"/>
                  </a:lnTo>
                  <a:lnTo>
                    <a:pt x="218" y="217"/>
                  </a:lnTo>
                  <a:lnTo>
                    <a:pt x="214" y="222"/>
                  </a:lnTo>
                  <a:lnTo>
                    <a:pt x="211" y="226"/>
                  </a:lnTo>
                  <a:lnTo>
                    <a:pt x="208" y="229"/>
                  </a:lnTo>
                  <a:lnTo>
                    <a:pt x="208" y="230"/>
                  </a:lnTo>
                  <a:lnTo>
                    <a:pt x="208" y="230"/>
                  </a:lnTo>
                  <a:lnTo>
                    <a:pt x="206" y="232"/>
                  </a:lnTo>
                  <a:lnTo>
                    <a:pt x="205" y="233"/>
                  </a:lnTo>
                  <a:lnTo>
                    <a:pt x="202" y="235"/>
                  </a:lnTo>
                  <a:lnTo>
                    <a:pt x="199" y="238"/>
                  </a:lnTo>
                  <a:lnTo>
                    <a:pt x="195" y="239"/>
                  </a:lnTo>
                  <a:lnTo>
                    <a:pt x="192" y="242"/>
                  </a:lnTo>
                  <a:lnTo>
                    <a:pt x="189" y="244"/>
                  </a:lnTo>
                  <a:lnTo>
                    <a:pt x="187" y="244"/>
                  </a:lnTo>
                  <a:lnTo>
                    <a:pt x="187" y="244"/>
                  </a:lnTo>
                  <a:lnTo>
                    <a:pt x="182" y="241"/>
                  </a:lnTo>
                  <a:lnTo>
                    <a:pt x="176" y="241"/>
                  </a:lnTo>
                  <a:lnTo>
                    <a:pt x="170" y="242"/>
                  </a:lnTo>
                  <a:lnTo>
                    <a:pt x="166" y="244"/>
                  </a:lnTo>
                  <a:lnTo>
                    <a:pt x="162" y="247"/>
                  </a:lnTo>
                  <a:lnTo>
                    <a:pt x="157" y="248"/>
                  </a:lnTo>
                  <a:lnTo>
                    <a:pt x="155" y="250"/>
                  </a:lnTo>
                  <a:lnTo>
                    <a:pt x="155" y="251"/>
                  </a:lnTo>
                  <a:lnTo>
                    <a:pt x="154" y="252"/>
                  </a:lnTo>
                  <a:lnTo>
                    <a:pt x="137" y="251"/>
                  </a:lnTo>
                  <a:lnTo>
                    <a:pt x="137" y="251"/>
                  </a:lnTo>
                  <a:lnTo>
                    <a:pt x="137" y="251"/>
                  </a:lnTo>
                  <a:lnTo>
                    <a:pt x="136" y="250"/>
                  </a:lnTo>
                  <a:lnTo>
                    <a:pt x="133" y="248"/>
                  </a:lnTo>
                  <a:lnTo>
                    <a:pt x="131" y="248"/>
                  </a:lnTo>
                  <a:lnTo>
                    <a:pt x="131" y="248"/>
                  </a:lnTo>
                  <a:lnTo>
                    <a:pt x="118" y="248"/>
                  </a:lnTo>
                  <a:lnTo>
                    <a:pt x="103" y="250"/>
                  </a:lnTo>
                  <a:lnTo>
                    <a:pt x="92" y="251"/>
                  </a:lnTo>
                  <a:lnTo>
                    <a:pt x="82" y="252"/>
                  </a:lnTo>
                  <a:lnTo>
                    <a:pt x="73" y="254"/>
                  </a:lnTo>
                  <a:lnTo>
                    <a:pt x="64" y="257"/>
                  </a:lnTo>
                  <a:lnTo>
                    <a:pt x="59" y="259"/>
                  </a:lnTo>
                  <a:lnTo>
                    <a:pt x="53" y="262"/>
                  </a:lnTo>
                  <a:lnTo>
                    <a:pt x="49" y="263"/>
                  </a:lnTo>
                  <a:lnTo>
                    <a:pt x="46" y="266"/>
                  </a:lnTo>
                  <a:lnTo>
                    <a:pt x="43" y="269"/>
                  </a:lnTo>
                  <a:lnTo>
                    <a:pt x="40" y="271"/>
                  </a:lnTo>
                  <a:lnTo>
                    <a:pt x="40" y="274"/>
                  </a:lnTo>
                  <a:lnTo>
                    <a:pt x="38" y="275"/>
                  </a:lnTo>
                  <a:lnTo>
                    <a:pt x="37" y="277"/>
                  </a:lnTo>
                  <a:lnTo>
                    <a:pt x="37" y="277"/>
                  </a:lnTo>
                  <a:lnTo>
                    <a:pt x="37" y="277"/>
                  </a:lnTo>
                  <a:lnTo>
                    <a:pt x="38" y="281"/>
                  </a:lnTo>
                  <a:lnTo>
                    <a:pt x="40" y="285"/>
                  </a:lnTo>
                  <a:lnTo>
                    <a:pt x="41" y="290"/>
                  </a:lnTo>
                  <a:lnTo>
                    <a:pt x="44" y="293"/>
                  </a:lnTo>
                  <a:lnTo>
                    <a:pt x="46" y="296"/>
                  </a:lnTo>
                  <a:lnTo>
                    <a:pt x="49" y="299"/>
                  </a:lnTo>
                  <a:lnTo>
                    <a:pt x="50" y="299"/>
                  </a:lnTo>
                  <a:lnTo>
                    <a:pt x="50" y="301"/>
                  </a:lnTo>
                  <a:lnTo>
                    <a:pt x="50" y="301"/>
                  </a:lnTo>
                  <a:lnTo>
                    <a:pt x="52" y="302"/>
                  </a:lnTo>
                  <a:lnTo>
                    <a:pt x="55" y="304"/>
                  </a:lnTo>
                  <a:lnTo>
                    <a:pt x="56" y="307"/>
                  </a:lnTo>
                  <a:lnTo>
                    <a:pt x="58" y="308"/>
                  </a:lnTo>
                  <a:lnTo>
                    <a:pt x="58" y="308"/>
                  </a:lnTo>
                  <a:lnTo>
                    <a:pt x="58" y="314"/>
                  </a:lnTo>
                  <a:lnTo>
                    <a:pt x="56" y="318"/>
                  </a:lnTo>
                  <a:lnTo>
                    <a:pt x="56" y="321"/>
                  </a:lnTo>
                  <a:lnTo>
                    <a:pt x="55" y="323"/>
                  </a:lnTo>
                  <a:lnTo>
                    <a:pt x="53" y="325"/>
                  </a:lnTo>
                  <a:lnTo>
                    <a:pt x="52" y="326"/>
                  </a:lnTo>
                  <a:lnTo>
                    <a:pt x="50" y="328"/>
                  </a:lnTo>
                  <a:lnTo>
                    <a:pt x="50" y="328"/>
                  </a:lnTo>
                  <a:lnTo>
                    <a:pt x="46" y="334"/>
                  </a:lnTo>
                  <a:lnTo>
                    <a:pt x="38" y="348"/>
                  </a:lnTo>
                  <a:lnTo>
                    <a:pt x="26" y="361"/>
                  </a:lnTo>
                  <a:lnTo>
                    <a:pt x="26" y="361"/>
                  </a:lnTo>
                  <a:lnTo>
                    <a:pt x="26" y="361"/>
                  </a:lnTo>
                  <a:lnTo>
                    <a:pt x="27" y="359"/>
                  </a:lnTo>
                  <a:lnTo>
                    <a:pt x="27" y="359"/>
                  </a:lnTo>
                  <a:lnTo>
                    <a:pt x="26" y="359"/>
                  </a:lnTo>
                  <a:lnTo>
                    <a:pt x="26" y="359"/>
                  </a:lnTo>
                  <a:lnTo>
                    <a:pt x="20" y="368"/>
                  </a:lnTo>
                  <a:lnTo>
                    <a:pt x="14" y="374"/>
                  </a:lnTo>
                  <a:lnTo>
                    <a:pt x="10" y="378"/>
                  </a:lnTo>
                  <a:lnTo>
                    <a:pt x="7" y="381"/>
                  </a:lnTo>
                  <a:lnTo>
                    <a:pt x="4" y="383"/>
                  </a:lnTo>
                  <a:lnTo>
                    <a:pt x="1" y="384"/>
                  </a:lnTo>
                  <a:lnTo>
                    <a:pt x="0" y="386"/>
                  </a:lnTo>
                  <a:lnTo>
                    <a:pt x="0" y="386"/>
                  </a:lnTo>
                  <a:lnTo>
                    <a:pt x="7" y="413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5" name="Freeform 59"/>
            <p:cNvSpPr>
              <a:spLocks/>
            </p:cNvSpPr>
            <p:nvPr/>
          </p:nvSpPr>
          <p:spPr bwMode="auto">
            <a:xfrm>
              <a:off x="2676098" y="4554155"/>
              <a:ext cx="169391" cy="300545"/>
            </a:xfrm>
            <a:custGeom>
              <a:avLst/>
              <a:gdLst>
                <a:gd name="T0" fmla="*/ 0 w 253"/>
                <a:gd name="T1" fmla="*/ 434 h 448"/>
                <a:gd name="T2" fmla="*/ 4 w 253"/>
                <a:gd name="T3" fmla="*/ 425 h 448"/>
                <a:gd name="T4" fmla="*/ 5 w 253"/>
                <a:gd name="T5" fmla="*/ 414 h 448"/>
                <a:gd name="T6" fmla="*/ 8 w 253"/>
                <a:gd name="T7" fmla="*/ 401 h 448"/>
                <a:gd name="T8" fmla="*/ 18 w 253"/>
                <a:gd name="T9" fmla="*/ 384 h 448"/>
                <a:gd name="T10" fmla="*/ 29 w 253"/>
                <a:gd name="T11" fmla="*/ 360 h 448"/>
                <a:gd name="T12" fmla="*/ 31 w 253"/>
                <a:gd name="T13" fmla="*/ 352 h 448"/>
                <a:gd name="T14" fmla="*/ 35 w 253"/>
                <a:gd name="T15" fmla="*/ 332 h 448"/>
                <a:gd name="T16" fmla="*/ 27 w 253"/>
                <a:gd name="T17" fmla="*/ 309 h 448"/>
                <a:gd name="T18" fmla="*/ 24 w 253"/>
                <a:gd name="T19" fmla="*/ 282 h 448"/>
                <a:gd name="T20" fmla="*/ 27 w 253"/>
                <a:gd name="T21" fmla="*/ 270 h 448"/>
                <a:gd name="T22" fmla="*/ 24 w 253"/>
                <a:gd name="T23" fmla="*/ 246 h 448"/>
                <a:gd name="T24" fmla="*/ 21 w 253"/>
                <a:gd name="T25" fmla="*/ 209 h 448"/>
                <a:gd name="T26" fmla="*/ 17 w 253"/>
                <a:gd name="T27" fmla="*/ 164 h 448"/>
                <a:gd name="T28" fmla="*/ 14 w 253"/>
                <a:gd name="T29" fmla="*/ 117 h 448"/>
                <a:gd name="T30" fmla="*/ 9 w 253"/>
                <a:gd name="T31" fmla="*/ 75 h 448"/>
                <a:gd name="T32" fmla="*/ 6 w 253"/>
                <a:gd name="T33" fmla="*/ 44 h 448"/>
                <a:gd name="T34" fmla="*/ 5 w 253"/>
                <a:gd name="T35" fmla="*/ 29 h 448"/>
                <a:gd name="T36" fmla="*/ 6 w 253"/>
                <a:gd name="T37" fmla="*/ 30 h 448"/>
                <a:gd name="T38" fmla="*/ 12 w 253"/>
                <a:gd name="T39" fmla="*/ 35 h 448"/>
                <a:gd name="T40" fmla="*/ 27 w 253"/>
                <a:gd name="T41" fmla="*/ 37 h 448"/>
                <a:gd name="T42" fmla="*/ 51 w 253"/>
                <a:gd name="T43" fmla="*/ 24 h 448"/>
                <a:gd name="T44" fmla="*/ 218 w 253"/>
                <a:gd name="T45" fmla="*/ 14 h 448"/>
                <a:gd name="T46" fmla="*/ 248 w 253"/>
                <a:gd name="T47" fmla="*/ 284 h 448"/>
                <a:gd name="T48" fmla="*/ 245 w 253"/>
                <a:gd name="T49" fmla="*/ 296 h 448"/>
                <a:gd name="T50" fmla="*/ 249 w 253"/>
                <a:gd name="T51" fmla="*/ 309 h 448"/>
                <a:gd name="T52" fmla="*/ 251 w 253"/>
                <a:gd name="T53" fmla="*/ 318 h 448"/>
                <a:gd name="T54" fmla="*/ 233 w 253"/>
                <a:gd name="T55" fmla="*/ 320 h 448"/>
                <a:gd name="T56" fmla="*/ 220 w 253"/>
                <a:gd name="T57" fmla="*/ 324 h 448"/>
                <a:gd name="T58" fmla="*/ 215 w 253"/>
                <a:gd name="T59" fmla="*/ 324 h 448"/>
                <a:gd name="T60" fmla="*/ 202 w 253"/>
                <a:gd name="T61" fmla="*/ 333 h 448"/>
                <a:gd name="T62" fmla="*/ 206 w 253"/>
                <a:gd name="T63" fmla="*/ 347 h 448"/>
                <a:gd name="T64" fmla="*/ 202 w 253"/>
                <a:gd name="T65" fmla="*/ 353 h 448"/>
                <a:gd name="T66" fmla="*/ 194 w 253"/>
                <a:gd name="T67" fmla="*/ 362 h 448"/>
                <a:gd name="T68" fmla="*/ 190 w 253"/>
                <a:gd name="T69" fmla="*/ 371 h 448"/>
                <a:gd name="T70" fmla="*/ 190 w 253"/>
                <a:gd name="T71" fmla="*/ 374 h 448"/>
                <a:gd name="T72" fmla="*/ 186 w 253"/>
                <a:gd name="T73" fmla="*/ 377 h 448"/>
                <a:gd name="T74" fmla="*/ 177 w 253"/>
                <a:gd name="T75" fmla="*/ 381 h 448"/>
                <a:gd name="T76" fmla="*/ 172 w 253"/>
                <a:gd name="T77" fmla="*/ 398 h 448"/>
                <a:gd name="T78" fmla="*/ 170 w 253"/>
                <a:gd name="T79" fmla="*/ 405 h 448"/>
                <a:gd name="T80" fmla="*/ 158 w 253"/>
                <a:gd name="T81" fmla="*/ 410 h 448"/>
                <a:gd name="T82" fmla="*/ 143 w 253"/>
                <a:gd name="T83" fmla="*/ 399 h 448"/>
                <a:gd name="T84" fmla="*/ 134 w 253"/>
                <a:gd name="T85" fmla="*/ 392 h 448"/>
                <a:gd name="T86" fmla="*/ 126 w 253"/>
                <a:gd name="T87" fmla="*/ 414 h 448"/>
                <a:gd name="T88" fmla="*/ 119 w 253"/>
                <a:gd name="T89" fmla="*/ 431 h 448"/>
                <a:gd name="T90" fmla="*/ 106 w 253"/>
                <a:gd name="T91" fmla="*/ 420 h 448"/>
                <a:gd name="T92" fmla="*/ 98 w 253"/>
                <a:gd name="T93" fmla="*/ 416 h 448"/>
                <a:gd name="T94" fmla="*/ 86 w 253"/>
                <a:gd name="T95" fmla="*/ 431 h 448"/>
                <a:gd name="T96" fmla="*/ 75 w 253"/>
                <a:gd name="T97" fmla="*/ 440 h 448"/>
                <a:gd name="T98" fmla="*/ 64 w 253"/>
                <a:gd name="T99" fmla="*/ 431 h 448"/>
                <a:gd name="T100" fmla="*/ 53 w 253"/>
                <a:gd name="T101" fmla="*/ 426 h 448"/>
                <a:gd name="T102" fmla="*/ 44 w 253"/>
                <a:gd name="T103" fmla="*/ 428 h 448"/>
                <a:gd name="T104" fmla="*/ 38 w 253"/>
                <a:gd name="T105" fmla="*/ 426 h 448"/>
                <a:gd name="T106" fmla="*/ 38 w 253"/>
                <a:gd name="T107" fmla="*/ 437 h 448"/>
                <a:gd name="T108" fmla="*/ 35 w 253"/>
                <a:gd name="T109" fmla="*/ 441 h 448"/>
                <a:gd name="T110" fmla="*/ 24 w 253"/>
                <a:gd name="T111" fmla="*/ 435 h 448"/>
                <a:gd name="T112" fmla="*/ 9 w 253"/>
                <a:gd name="T113" fmla="*/ 434 h 448"/>
                <a:gd name="T114" fmla="*/ 12 w 253"/>
                <a:gd name="T115" fmla="*/ 441 h 448"/>
                <a:gd name="T116" fmla="*/ 8 w 253"/>
                <a:gd name="T117" fmla="*/ 44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3" h="448">
                  <a:moveTo>
                    <a:pt x="5" y="447"/>
                  </a:moveTo>
                  <a:lnTo>
                    <a:pt x="1" y="443"/>
                  </a:lnTo>
                  <a:lnTo>
                    <a:pt x="0" y="438"/>
                  </a:lnTo>
                  <a:lnTo>
                    <a:pt x="0" y="434"/>
                  </a:lnTo>
                  <a:lnTo>
                    <a:pt x="0" y="431"/>
                  </a:lnTo>
                  <a:lnTo>
                    <a:pt x="1" y="428"/>
                  </a:lnTo>
                  <a:lnTo>
                    <a:pt x="2" y="426"/>
                  </a:lnTo>
                  <a:lnTo>
                    <a:pt x="4" y="425"/>
                  </a:lnTo>
                  <a:lnTo>
                    <a:pt x="4" y="425"/>
                  </a:lnTo>
                  <a:lnTo>
                    <a:pt x="5" y="416"/>
                  </a:lnTo>
                  <a:lnTo>
                    <a:pt x="5" y="415"/>
                  </a:lnTo>
                  <a:lnTo>
                    <a:pt x="5" y="414"/>
                  </a:lnTo>
                  <a:lnTo>
                    <a:pt x="5" y="411"/>
                  </a:lnTo>
                  <a:lnTo>
                    <a:pt x="6" y="407"/>
                  </a:lnTo>
                  <a:lnTo>
                    <a:pt x="6" y="404"/>
                  </a:lnTo>
                  <a:lnTo>
                    <a:pt x="8" y="401"/>
                  </a:lnTo>
                  <a:lnTo>
                    <a:pt x="8" y="398"/>
                  </a:lnTo>
                  <a:lnTo>
                    <a:pt x="8" y="396"/>
                  </a:lnTo>
                  <a:lnTo>
                    <a:pt x="14" y="392"/>
                  </a:lnTo>
                  <a:lnTo>
                    <a:pt x="18" y="384"/>
                  </a:lnTo>
                  <a:lnTo>
                    <a:pt x="21" y="378"/>
                  </a:lnTo>
                  <a:lnTo>
                    <a:pt x="24" y="372"/>
                  </a:lnTo>
                  <a:lnTo>
                    <a:pt x="27" y="365"/>
                  </a:lnTo>
                  <a:lnTo>
                    <a:pt x="29" y="360"/>
                  </a:lnTo>
                  <a:lnTo>
                    <a:pt x="30" y="356"/>
                  </a:lnTo>
                  <a:lnTo>
                    <a:pt x="30" y="354"/>
                  </a:lnTo>
                  <a:lnTo>
                    <a:pt x="30" y="354"/>
                  </a:lnTo>
                  <a:lnTo>
                    <a:pt x="31" y="352"/>
                  </a:lnTo>
                  <a:lnTo>
                    <a:pt x="32" y="350"/>
                  </a:lnTo>
                  <a:lnTo>
                    <a:pt x="34" y="348"/>
                  </a:lnTo>
                  <a:lnTo>
                    <a:pt x="35" y="339"/>
                  </a:lnTo>
                  <a:lnTo>
                    <a:pt x="35" y="332"/>
                  </a:lnTo>
                  <a:lnTo>
                    <a:pt x="34" y="324"/>
                  </a:lnTo>
                  <a:lnTo>
                    <a:pt x="31" y="319"/>
                  </a:lnTo>
                  <a:lnTo>
                    <a:pt x="30" y="314"/>
                  </a:lnTo>
                  <a:lnTo>
                    <a:pt x="27" y="309"/>
                  </a:lnTo>
                  <a:lnTo>
                    <a:pt x="26" y="306"/>
                  </a:lnTo>
                  <a:lnTo>
                    <a:pt x="24" y="305"/>
                  </a:lnTo>
                  <a:lnTo>
                    <a:pt x="24" y="302"/>
                  </a:lnTo>
                  <a:lnTo>
                    <a:pt x="24" y="282"/>
                  </a:lnTo>
                  <a:lnTo>
                    <a:pt x="27" y="278"/>
                  </a:lnTo>
                  <a:lnTo>
                    <a:pt x="27" y="276"/>
                  </a:lnTo>
                  <a:lnTo>
                    <a:pt x="27" y="275"/>
                  </a:lnTo>
                  <a:lnTo>
                    <a:pt x="27" y="270"/>
                  </a:lnTo>
                  <a:lnTo>
                    <a:pt x="26" y="266"/>
                  </a:lnTo>
                  <a:lnTo>
                    <a:pt x="26" y="260"/>
                  </a:lnTo>
                  <a:lnTo>
                    <a:pt x="26" y="254"/>
                  </a:lnTo>
                  <a:lnTo>
                    <a:pt x="24" y="246"/>
                  </a:lnTo>
                  <a:lnTo>
                    <a:pt x="24" y="237"/>
                  </a:lnTo>
                  <a:lnTo>
                    <a:pt x="23" y="228"/>
                  </a:lnTo>
                  <a:lnTo>
                    <a:pt x="23" y="219"/>
                  </a:lnTo>
                  <a:lnTo>
                    <a:pt x="21" y="209"/>
                  </a:lnTo>
                  <a:lnTo>
                    <a:pt x="20" y="197"/>
                  </a:lnTo>
                  <a:lnTo>
                    <a:pt x="20" y="188"/>
                  </a:lnTo>
                  <a:lnTo>
                    <a:pt x="18" y="176"/>
                  </a:lnTo>
                  <a:lnTo>
                    <a:pt x="17" y="164"/>
                  </a:lnTo>
                  <a:lnTo>
                    <a:pt x="17" y="153"/>
                  </a:lnTo>
                  <a:lnTo>
                    <a:pt x="15" y="140"/>
                  </a:lnTo>
                  <a:lnTo>
                    <a:pt x="14" y="128"/>
                  </a:lnTo>
                  <a:lnTo>
                    <a:pt x="14" y="117"/>
                  </a:lnTo>
                  <a:lnTo>
                    <a:pt x="12" y="107"/>
                  </a:lnTo>
                  <a:lnTo>
                    <a:pt x="11" y="95"/>
                  </a:lnTo>
                  <a:lnTo>
                    <a:pt x="11" y="86"/>
                  </a:lnTo>
                  <a:lnTo>
                    <a:pt x="9" y="75"/>
                  </a:lnTo>
                  <a:lnTo>
                    <a:pt x="9" y="67"/>
                  </a:lnTo>
                  <a:lnTo>
                    <a:pt x="8" y="59"/>
                  </a:lnTo>
                  <a:lnTo>
                    <a:pt x="8" y="50"/>
                  </a:lnTo>
                  <a:lnTo>
                    <a:pt x="6" y="44"/>
                  </a:lnTo>
                  <a:lnTo>
                    <a:pt x="6" y="38"/>
                  </a:lnTo>
                  <a:lnTo>
                    <a:pt x="6" y="34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9"/>
                  </a:lnTo>
                  <a:lnTo>
                    <a:pt x="6" y="30"/>
                  </a:lnTo>
                  <a:lnTo>
                    <a:pt x="8" y="31"/>
                  </a:lnTo>
                  <a:lnTo>
                    <a:pt x="9" y="32"/>
                  </a:lnTo>
                  <a:lnTo>
                    <a:pt x="11" y="34"/>
                  </a:lnTo>
                  <a:lnTo>
                    <a:pt x="12" y="35"/>
                  </a:lnTo>
                  <a:lnTo>
                    <a:pt x="15" y="37"/>
                  </a:lnTo>
                  <a:lnTo>
                    <a:pt x="18" y="37"/>
                  </a:lnTo>
                  <a:lnTo>
                    <a:pt x="23" y="37"/>
                  </a:lnTo>
                  <a:lnTo>
                    <a:pt x="27" y="37"/>
                  </a:lnTo>
                  <a:lnTo>
                    <a:pt x="31" y="35"/>
                  </a:lnTo>
                  <a:lnTo>
                    <a:pt x="38" y="32"/>
                  </a:lnTo>
                  <a:lnTo>
                    <a:pt x="44" y="30"/>
                  </a:lnTo>
                  <a:lnTo>
                    <a:pt x="51" y="24"/>
                  </a:lnTo>
                  <a:lnTo>
                    <a:pt x="60" y="18"/>
                  </a:lnTo>
                  <a:lnTo>
                    <a:pt x="59" y="18"/>
                  </a:lnTo>
                  <a:lnTo>
                    <a:pt x="215" y="0"/>
                  </a:lnTo>
                  <a:lnTo>
                    <a:pt x="218" y="14"/>
                  </a:lnTo>
                  <a:lnTo>
                    <a:pt x="248" y="284"/>
                  </a:lnTo>
                  <a:lnTo>
                    <a:pt x="249" y="282"/>
                  </a:lnTo>
                  <a:lnTo>
                    <a:pt x="248" y="282"/>
                  </a:lnTo>
                  <a:lnTo>
                    <a:pt x="248" y="284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5" y="291"/>
                  </a:lnTo>
                  <a:lnTo>
                    <a:pt x="245" y="296"/>
                  </a:lnTo>
                  <a:lnTo>
                    <a:pt x="245" y="300"/>
                  </a:lnTo>
                  <a:lnTo>
                    <a:pt x="246" y="306"/>
                  </a:lnTo>
                  <a:lnTo>
                    <a:pt x="248" y="308"/>
                  </a:lnTo>
                  <a:lnTo>
                    <a:pt x="249" y="309"/>
                  </a:lnTo>
                  <a:lnTo>
                    <a:pt x="251" y="312"/>
                  </a:lnTo>
                  <a:lnTo>
                    <a:pt x="252" y="314"/>
                  </a:lnTo>
                  <a:lnTo>
                    <a:pt x="252" y="317"/>
                  </a:lnTo>
                  <a:lnTo>
                    <a:pt x="251" y="318"/>
                  </a:lnTo>
                  <a:lnTo>
                    <a:pt x="245" y="319"/>
                  </a:lnTo>
                  <a:lnTo>
                    <a:pt x="238" y="320"/>
                  </a:lnTo>
                  <a:lnTo>
                    <a:pt x="236" y="320"/>
                  </a:lnTo>
                  <a:lnTo>
                    <a:pt x="233" y="320"/>
                  </a:lnTo>
                  <a:lnTo>
                    <a:pt x="230" y="321"/>
                  </a:lnTo>
                  <a:lnTo>
                    <a:pt x="226" y="323"/>
                  </a:lnTo>
                  <a:lnTo>
                    <a:pt x="223" y="323"/>
                  </a:lnTo>
                  <a:lnTo>
                    <a:pt x="220" y="324"/>
                  </a:lnTo>
                  <a:lnTo>
                    <a:pt x="219" y="324"/>
                  </a:lnTo>
                  <a:lnTo>
                    <a:pt x="219" y="324"/>
                  </a:lnTo>
                  <a:lnTo>
                    <a:pt x="218" y="324"/>
                  </a:lnTo>
                  <a:lnTo>
                    <a:pt x="215" y="324"/>
                  </a:lnTo>
                  <a:lnTo>
                    <a:pt x="212" y="326"/>
                  </a:lnTo>
                  <a:lnTo>
                    <a:pt x="208" y="327"/>
                  </a:lnTo>
                  <a:lnTo>
                    <a:pt x="205" y="329"/>
                  </a:lnTo>
                  <a:lnTo>
                    <a:pt x="202" y="333"/>
                  </a:lnTo>
                  <a:lnTo>
                    <a:pt x="203" y="338"/>
                  </a:lnTo>
                  <a:lnTo>
                    <a:pt x="206" y="345"/>
                  </a:lnTo>
                  <a:lnTo>
                    <a:pt x="206" y="347"/>
                  </a:lnTo>
                  <a:lnTo>
                    <a:pt x="206" y="347"/>
                  </a:lnTo>
                  <a:lnTo>
                    <a:pt x="206" y="348"/>
                  </a:lnTo>
                  <a:lnTo>
                    <a:pt x="205" y="350"/>
                  </a:lnTo>
                  <a:lnTo>
                    <a:pt x="203" y="352"/>
                  </a:lnTo>
                  <a:lnTo>
                    <a:pt x="202" y="353"/>
                  </a:lnTo>
                  <a:lnTo>
                    <a:pt x="199" y="356"/>
                  </a:lnTo>
                  <a:lnTo>
                    <a:pt x="196" y="359"/>
                  </a:lnTo>
                  <a:lnTo>
                    <a:pt x="196" y="360"/>
                  </a:lnTo>
                  <a:lnTo>
                    <a:pt x="194" y="362"/>
                  </a:lnTo>
                  <a:lnTo>
                    <a:pt x="193" y="363"/>
                  </a:lnTo>
                  <a:lnTo>
                    <a:pt x="193" y="366"/>
                  </a:lnTo>
                  <a:lnTo>
                    <a:pt x="191" y="368"/>
                  </a:lnTo>
                  <a:lnTo>
                    <a:pt x="190" y="371"/>
                  </a:lnTo>
                  <a:lnTo>
                    <a:pt x="190" y="372"/>
                  </a:lnTo>
                  <a:lnTo>
                    <a:pt x="190" y="372"/>
                  </a:lnTo>
                  <a:lnTo>
                    <a:pt x="190" y="372"/>
                  </a:lnTo>
                  <a:lnTo>
                    <a:pt x="190" y="374"/>
                  </a:lnTo>
                  <a:lnTo>
                    <a:pt x="189" y="374"/>
                  </a:lnTo>
                  <a:lnTo>
                    <a:pt x="189" y="375"/>
                  </a:lnTo>
                  <a:lnTo>
                    <a:pt x="188" y="377"/>
                  </a:lnTo>
                  <a:lnTo>
                    <a:pt x="186" y="377"/>
                  </a:lnTo>
                  <a:lnTo>
                    <a:pt x="183" y="378"/>
                  </a:lnTo>
                  <a:lnTo>
                    <a:pt x="179" y="378"/>
                  </a:lnTo>
                  <a:lnTo>
                    <a:pt x="179" y="378"/>
                  </a:lnTo>
                  <a:lnTo>
                    <a:pt x="177" y="381"/>
                  </a:lnTo>
                  <a:lnTo>
                    <a:pt x="176" y="384"/>
                  </a:lnTo>
                  <a:lnTo>
                    <a:pt x="175" y="389"/>
                  </a:lnTo>
                  <a:lnTo>
                    <a:pt x="173" y="395"/>
                  </a:lnTo>
                  <a:lnTo>
                    <a:pt x="172" y="398"/>
                  </a:lnTo>
                  <a:lnTo>
                    <a:pt x="172" y="401"/>
                  </a:lnTo>
                  <a:lnTo>
                    <a:pt x="172" y="402"/>
                  </a:lnTo>
                  <a:lnTo>
                    <a:pt x="172" y="404"/>
                  </a:lnTo>
                  <a:lnTo>
                    <a:pt x="170" y="405"/>
                  </a:lnTo>
                  <a:lnTo>
                    <a:pt x="169" y="407"/>
                  </a:lnTo>
                  <a:lnTo>
                    <a:pt x="167" y="408"/>
                  </a:lnTo>
                  <a:lnTo>
                    <a:pt x="163" y="410"/>
                  </a:lnTo>
                  <a:lnTo>
                    <a:pt x="158" y="410"/>
                  </a:lnTo>
                  <a:lnTo>
                    <a:pt x="152" y="408"/>
                  </a:lnTo>
                  <a:lnTo>
                    <a:pt x="143" y="404"/>
                  </a:lnTo>
                  <a:lnTo>
                    <a:pt x="143" y="402"/>
                  </a:lnTo>
                  <a:lnTo>
                    <a:pt x="143" y="399"/>
                  </a:lnTo>
                  <a:lnTo>
                    <a:pt x="141" y="396"/>
                  </a:lnTo>
                  <a:lnTo>
                    <a:pt x="140" y="393"/>
                  </a:lnTo>
                  <a:lnTo>
                    <a:pt x="137" y="392"/>
                  </a:lnTo>
                  <a:lnTo>
                    <a:pt x="134" y="392"/>
                  </a:lnTo>
                  <a:lnTo>
                    <a:pt x="131" y="398"/>
                  </a:lnTo>
                  <a:lnTo>
                    <a:pt x="127" y="407"/>
                  </a:lnTo>
                  <a:lnTo>
                    <a:pt x="127" y="410"/>
                  </a:lnTo>
                  <a:lnTo>
                    <a:pt x="126" y="414"/>
                  </a:lnTo>
                  <a:lnTo>
                    <a:pt x="126" y="419"/>
                  </a:lnTo>
                  <a:lnTo>
                    <a:pt x="125" y="425"/>
                  </a:lnTo>
                  <a:lnTo>
                    <a:pt x="122" y="428"/>
                  </a:lnTo>
                  <a:lnTo>
                    <a:pt x="119" y="431"/>
                  </a:lnTo>
                  <a:lnTo>
                    <a:pt x="113" y="429"/>
                  </a:lnTo>
                  <a:lnTo>
                    <a:pt x="107" y="423"/>
                  </a:lnTo>
                  <a:lnTo>
                    <a:pt x="106" y="422"/>
                  </a:lnTo>
                  <a:lnTo>
                    <a:pt x="106" y="420"/>
                  </a:lnTo>
                  <a:lnTo>
                    <a:pt x="106" y="419"/>
                  </a:lnTo>
                  <a:lnTo>
                    <a:pt x="104" y="416"/>
                  </a:lnTo>
                  <a:lnTo>
                    <a:pt x="103" y="416"/>
                  </a:lnTo>
                  <a:lnTo>
                    <a:pt x="98" y="416"/>
                  </a:lnTo>
                  <a:lnTo>
                    <a:pt x="94" y="420"/>
                  </a:lnTo>
                  <a:lnTo>
                    <a:pt x="87" y="426"/>
                  </a:lnTo>
                  <a:lnTo>
                    <a:pt x="87" y="428"/>
                  </a:lnTo>
                  <a:lnTo>
                    <a:pt x="86" y="431"/>
                  </a:lnTo>
                  <a:lnTo>
                    <a:pt x="84" y="434"/>
                  </a:lnTo>
                  <a:lnTo>
                    <a:pt x="83" y="437"/>
                  </a:lnTo>
                  <a:lnTo>
                    <a:pt x="80" y="440"/>
                  </a:lnTo>
                  <a:lnTo>
                    <a:pt x="75" y="440"/>
                  </a:lnTo>
                  <a:lnTo>
                    <a:pt x="71" y="438"/>
                  </a:lnTo>
                  <a:lnTo>
                    <a:pt x="65" y="434"/>
                  </a:lnTo>
                  <a:lnTo>
                    <a:pt x="65" y="432"/>
                  </a:lnTo>
                  <a:lnTo>
                    <a:pt x="64" y="431"/>
                  </a:lnTo>
                  <a:lnTo>
                    <a:pt x="62" y="429"/>
                  </a:lnTo>
                  <a:lnTo>
                    <a:pt x="59" y="428"/>
                  </a:lnTo>
                  <a:lnTo>
                    <a:pt x="56" y="426"/>
                  </a:lnTo>
                  <a:lnTo>
                    <a:pt x="53" y="426"/>
                  </a:lnTo>
                  <a:lnTo>
                    <a:pt x="48" y="426"/>
                  </a:lnTo>
                  <a:lnTo>
                    <a:pt x="45" y="429"/>
                  </a:lnTo>
                  <a:lnTo>
                    <a:pt x="45" y="429"/>
                  </a:lnTo>
                  <a:lnTo>
                    <a:pt x="44" y="428"/>
                  </a:lnTo>
                  <a:lnTo>
                    <a:pt x="42" y="426"/>
                  </a:lnTo>
                  <a:lnTo>
                    <a:pt x="41" y="426"/>
                  </a:lnTo>
                  <a:lnTo>
                    <a:pt x="39" y="426"/>
                  </a:lnTo>
                  <a:lnTo>
                    <a:pt x="38" y="426"/>
                  </a:lnTo>
                  <a:lnTo>
                    <a:pt x="38" y="431"/>
                  </a:lnTo>
                  <a:lnTo>
                    <a:pt x="38" y="435"/>
                  </a:lnTo>
                  <a:lnTo>
                    <a:pt x="38" y="437"/>
                  </a:lnTo>
                  <a:lnTo>
                    <a:pt x="38" y="437"/>
                  </a:lnTo>
                  <a:lnTo>
                    <a:pt x="38" y="438"/>
                  </a:lnTo>
                  <a:lnTo>
                    <a:pt x="37" y="440"/>
                  </a:lnTo>
                  <a:lnTo>
                    <a:pt x="37" y="441"/>
                  </a:lnTo>
                  <a:lnTo>
                    <a:pt x="35" y="441"/>
                  </a:lnTo>
                  <a:lnTo>
                    <a:pt x="32" y="440"/>
                  </a:lnTo>
                  <a:lnTo>
                    <a:pt x="30" y="437"/>
                  </a:lnTo>
                  <a:lnTo>
                    <a:pt x="29" y="437"/>
                  </a:lnTo>
                  <a:lnTo>
                    <a:pt x="24" y="435"/>
                  </a:lnTo>
                  <a:lnTo>
                    <a:pt x="20" y="434"/>
                  </a:lnTo>
                  <a:lnTo>
                    <a:pt x="15" y="434"/>
                  </a:lnTo>
                  <a:lnTo>
                    <a:pt x="12" y="434"/>
                  </a:lnTo>
                  <a:lnTo>
                    <a:pt x="9" y="434"/>
                  </a:lnTo>
                  <a:lnTo>
                    <a:pt x="9" y="437"/>
                  </a:lnTo>
                  <a:lnTo>
                    <a:pt x="12" y="440"/>
                  </a:lnTo>
                  <a:lnTo>
                    <a:pt x="12" y="441"/>
                  </a:lnTo>
                  <a:lnTo>
                    <a:pt x="12" y="441"/>
                  </a:lnTo>
                  <a:lnTo>
                    <a:pt x="11" y="444"/>
                  </a:lnTo>
                  <a:lnTo>
                    <a:pt x="11" y="446"/>
                  </a:lnTo>
                  <a:lnTo>
                    <a:pt x="9" y="446"/>
                  </a:lnTo>
                  <a:lnTo>
                    <a:pt x="8" y="447"/>
                  </a:lnTo>
                  <a:lnTo>
                    <a:pt x="6" y="447"/>
                  </a:lnTo>
                  <a:lnTo>
                    <a:pt x="5" y="44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" name="Freeform 60"/>
            <p:cNvSpPr>
              <a:spLocks/>
            </p:cNvSpPr>
            <p:nvPr/>
          </p:nvSpPr>
          <p:spPr bwMode="auto">
            <a:xfrm>
              <a:off x="2676098" y="4554155"/>
              <a:ext cx="169391" cy="300545"/>
            </a:xfrm>
            <a:custGeom>
              <a:avLst/>
              <a:gdLst>
                <a:gd name="T0" fmla="*/ 0 w 253"/>
                <a:gd name="T1" fmla="*/ 434 h 448"/>
                <a:gd name="T2" fmla="*/ 4 w 253"/>
                <a:gd name="T3" fmla="*/ 425 h 448"/>
                <a:gd name="T4" fmla="*/ 5 w 253"/>
                <a:gd name="T5" fmla="*/ 411 h 448"/>
                <a:gd name="T6" fmla="*/ 8 w 253"/>
                <a:gd name="T7" fmla="*/ 396 h 448"/>
                <a:gd name="T8" fmla="*/ 24 w 253"/>
                <a:gd name="T9" fmla="*/ 372 h 448"/>
                <a:gd name="T10" fmla="*/ 30 w 253"/>
                <a:gd name="T11" fmla="*/ 354 h 448"/>
                <a:gd name="T12" fmla="*/ 34 w 253"/>
                <a:gd name="T13" fmla="*/ 348 h 448"/>
                <a:gd name="T14" fmla="*/ 30 w 253"/>
                <a:gd name="T15" fmla="*/ 314 h 448"/>
                <a:gd name="T16" fmla="*/ 24 w 253"/>
                <a:gd name="T17" fmla="*/ 282 h 448"/>
                <a:gd name="T18" fmla="*/ 27 w 253"/>
                <a:gd name="T19" fmla="*/ 270 h 448"/>
                <a:gd name="T20" fmla="*/ 24 w 253"/>
                <a:gd name="T21" fmla="*/ 237 h 448"/>
                <a:gd name="T22" fmla="*/ 20 w 253"/>
                <a:gd name="T23" fmla="*/ 188 h 448"/>
                <a:gd name="T24" fmla="*/ 14 w 253"/>
                <a:gd name="T25" fmla="*/ 128 h 448"/>
                <a:gd name="T26" fmla="*/ 9 w 253"/>
                <a:gd name="T27" fmla="*/ 75 h 448"/>
                <a:gd name="T28" fmla="*/ 6 w 253"/>
                <a:gd name="T29" fmla="*/ 38 h 448"/>
                <a:gd name="T30" fmla="*/ 5 w 253"/>
                <a:gd name="T31" fmla="*/ 27 h 448"/>
                <a:gd name="T32" fmla="*/ 9 w 253"/>
                <a:gd name="T33" fmla="*/ 32 h 448"/>
                <a:gd name="T34" fmla="*/ 23 w 253"/>
                <a:gd name="T35" fmla="*/ 37 h 448"/>
                <a:gd name="T36" fmla="*/ 51 w 253"/>
                <a:gd name="T37" fmla="*/ 24 h 448"/>
                <a:gd name="T38" fmla="*/ 248 w 253"/>
                <a:gd name="T39" fmla="*/ 284 h 448"/>
                <a:gd name="T40" fmla="*/ 246 w 253"/>
                <a:gd name="T41" fmla="*/ 285 h 448"/>
                <a:gd name="T42" fmla="*/ 246 w 253"/>
                <a:gd name="T43" fmla="*/ 306 h 448"/>
                <a:gd name="T44" fmla="*/ 252 w 253"/>
                <a:gd name="T45" fmla="*/ 314 h 448"/>
                <a:gd name="T46" fmla="*/ 238 w 253"/>
                <a:gd name="T47" fmla="*/ 320 h 448"/>
                <a:gd name="T48" fmla="*/ 223 w 253"/>
                <a:gd name="T49" fmla="*/ 323 h 448"/>
                <a:gd name="T50" fmla="*/ 218 w 253"/>
                <a:gd name="T51" fmla="*/ 324 h 448"/>
                <a:gd name="T52" fmla="*/ 202 w 253"/>
                <a:gd name="T53" fmla="*/ 333 h 448"/>
                <a:gd name="T54" fmla="*/ 206 w 253"/>
                <a:gd name="T55" fmla="*/ 347 h 448"/>
                <a:gd name="T56" fmla="*/ 199 w 253"/>
                <a:gd name="T57" fmla="*/ 356 h 448"/>
                <a:gd name="T58" fmla="*/ 193 w 253"/>
                <a:gd name="T59" fmla="*/ 363 h 448"/>
                <a:gd name="T60" fmla="*/ 190 w 253"/>
                <a:gd name="T61" fmla="*/ 372 h 448"/>
                <a:gd name="T62" fmla="*/ 189 w 253"/>
                <a:gd name="T63" fmla="*/ 375 h 448"/>
                <a:gd name="T64" fmla="*/ 179 w 253"/>
                <a:gd name="T65" fmla="*/ 378 h 448"/>
                <a:gd name="T66" fmla="*/ 173 w 253"/>
                <a:gd name="T67" fmla="*/ 395 h 448"/>
                <a:gd name="T68" fmla="*/ 172 w 253"/>
                <a:gd name="T69" fmla="*/ 404 h 448"/>
                <a:gd name="T70" fmla="*/ 158 w 253"/>
                <a:gd name="T71" fmla="*/ 410 h 448"/>
                <a:gd name="T72" fmla="*/ 143 w 253"/>
                <a:gd name="T73" fmla="*/ 399 h 448"/>
                <a:gd name="T74" fmla="*/ 131 w 253"/>
                <a:gd name="T75" fmla="*/ 398 h 448"/>
                <a:gd name="T76" fmla="*/ 126 w 253"/>
                <a:gd name="T77" fmla="*/ 419 h 448"/>
                <a:gd name="T78" fmla="*/ 107 w 253"/>
                <a:gd name="T79" fmla="*/ 423 h 448"/>
                <a:gd name="T80" fmla="*/ 104 w 253"/>
                <a:gd name="T81" fmla="*/ 416 h 448"/>
                <a:gd name="T82" fmla="*/ 87 w 253"/>
                <a:gd name="T83" fmla="*/ 426 h 448"/>
                <a:gd name="T84" fmla="*/ 80 w 253"/>
                <a:gd name="T85" fmla="*/ 440 h 448"/>
                <a:gd name="T86" fmla="*/ 65 w 253"/>
                <a:gd name="T87" fmla="*/ 432 h 448"/>
                <a:gd name="T88" fmla="*/ 53 w 253"/>
                <a:gd name="T89" fmla="*/ 426 h 448"/>
                <a:gd name="T90" fmla="*/ 44 w 253"/>
                <a:gd name="T91" fmla="*/ 428 h 448"/>
                <a:gd name="T92" fmla="*/ 38 w 253"/>
                <a:gd name="T93" fmla="*/ 431 h 448"/>
                <a:gd name="T94" fmla="*/ 38 w 253"/>
                <a:gd name="T95" fmla="*/ 438 h 448"/>
                <a:gd name="T96" fmla="*/ 30 w 253"/>
                <a:gd name="T97" fmla="*/ 437 h 448"/>
                <a:gd name="T98" fmla="*/ 15 w 253"/>
                <a:gd name="T99" fmla="*/ 434 h 448"/>
                <a:gd name="T100" fmla="*/ 12 w 253"/>
                <a:gd name="T101" fmla="*/ 440 h 448"/>
                <a:gd name="T102" fmla="*/ 9 w 253"/>
                <a:gd name="T103" fmla="*/ 446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3" h="448">
                  <a:moveTo>
                    <a:pt x="5" y="447"/>
                  </a:moveTo>
                  <a:lnTo>
                    <a:pt x="5" y="447"/>
                  </a:lnTo>
                  <a:lnTo>
                    <a:pt x="1" y="443"/>
                  </a:lnTo>
                  <a:lnTo>
                    <a:pt x="0" y="438"/>
                  </a:lnTo>
                  <a:lnTo>
                    <a:pt x="0" y="434"/>
                  </a:lnTo>
                  <a:lnTo>
                    <a:pt x="0" y="431"/>
                  </a:lnTo>
                  <a:lnTo>
                    <a:pt x="1" y="428"/>
                  </a:lnTo>
                  <a:lnTo>
                    <a:pt x="2" y="426"/>
                  </a:lnTo>
                  <a:lnTo>
                    <a:pt x="4" y="425"/>
                  </a:lnTo>
                  <a:lnTo>
                    <a:pt x="4" y="425"/>
                  </a:lnTo>
                  <a:lnTo>
                    <a:pt x="5" y="416"/>
                  </a:lnTo>
                  <a:lnTo>
                    <a:pt x="5" y="416"/>
                  </a:lnTo>
                  <a:lnTo>
                    <a:pt x="5" y="415"/>
                  </a:lnTo>
                  <a:lnTo>
                    <a:pt x="5" y="414"/>
                  </a:lnTo>
                  <a:lnTo>
                    <a:pt x="5" y="411"/>
                  </a:lnTo>
                  <a:lnTo>
                    <a:pt x="6" y="407"/>
                  </a:lnTo>
                  <a:lnTo>
                    <a:pt x="6" y="404"/>
                  </a:lnTo>
                  <a:lnTo>
                    <a:pt x="8" y="401"/>
                  </a:lnTo>
                  <a:lnTo>
                    <a:pt x="8" y="398"/>
                  </a:lnTo>
                  <a:lnTo>
                    <a:pt x="8" y="396"/>
                  </a:lnTo>
                  <a:lnTo>
                    <a:pt x="8" y="396"/>
                  </a:lnTo>
                  <a:lnTo>
                    <a:pt x="14" y="392"/>
                  </a:lnTo>
                  <a:lnTo>
                    <a:pt x="18" y="384"/>
                  </a:lnTo>
                  <a:lnTo>
                    <a:pt x="21" y="378"/>
                  </a:lnTo>
                  <a:lnTo>
                    <a:pt x="24" y="372"/>
                  </a:lnTo>
                  <a:lnTo>
                    <a:pt x="27" y="365"/>
                  </a:lnTo>
                  <a:lnTo>
                    <a:pt x="29" y="360"/>
                  </a:lnTo>
                  <a:lnTo>
                    <a:pt x="30" y="356"/>
                  </a:lnTo>
                  <a:lnTo>
                    <a:pt x="30" y="354"/>
                  </a:lnTo>
                  <a:lnTo>
                    <a:pt x="30" y="354"/>
                  </a:lnTo>
                  <a:lnTo>
                    <a:pt x="30" y="354"/>
                  </a:lnTo>
                  <a:lnTo>
                    <a:pt x="31" y="352"/>
                  </a:lnTo>
                  <a:lnTo>
                    <a:pt x="32" y="350"/>
                  </a:lnTo>
                  <a:lnTo>
                    <a:pt x="34" y="348"/>
                  </a:lnTo>
                  <a:lnTo>
                    <a:pt x="34" y="348"/>
                  </a:lnTo>
                  <a:lnTo>
                    <a:pt x="35" y="339"/>
                  </a:lnTo>
                  <a:lnTo>
                    <a:pt x="35" y="332"/>
                  </a:lnTo>
                  <a:lnTo>
                    <a:pt x="34" y="324"/>
                  </a:lnTo>
                  <a:lnTo>
                    <a:pt x="31" y="319"/>
                  </a:lnTo>
                  <a:lnTo>
                    <a:pt x="30" y="314"/>
                  </a:lnTo>
                  <a:lnTo>
                    <a:pt x="27" y="309"/>
                  </a:lnTo>
                  <a:lnTo>
                    <a:pt x="26" y="306"/>
                  </a:lnTo>
                  <a:lnTo>
                    <a:pt x="24" y="305"/>
                  </a:lnTo>
                  <a:lnTo>
                    <a:pt x="24" y="302"/>
                  </a:lnTo>
                  <a:lnTo>
                    <a:pt x="24" y="282"/>
                  </a:lnTo>
                  <a:lnTo>
                    <a:pt x="27" y="278"/>
                  </a:lnTo>
                  <a:lnTo>
                    <a:pt x="27" y="278"/>
                  </a:lnTo>
                  <a:lnTo>
                    <a:pt x="27" y="276"/>
                  </a:lnTo>
                  <a:lnTo>
                    <a:pt x="27" y="275"/>
                  </a:lnTo>
                  <a:lnTo>
                    <a:pt x="27" y="270"/>
                  </a:lnTo>
                  <a:lnTo>
                    <a:pt x="26" y="266"/>
                  </a:lnTo>
                  <a:lnTo>
                    <a:pt x="26" y="260"/>
                  </a:lnTo>
                  <a:lnTo>
                    <a:pt x="26" y="254"/>
                  </a:lnTo>
                  <a:lnTo>
                    <a:pt x="24" y="246"/>
                  </a:lnTo>
                  <a:lnTo>
                    <a:pt x="24" y="237"/>
                  </a:lnTo>
                  <a:lnTo>
                    <a:pt x="23" y="228"/>
                  </a:lnTo>
                  <a:lnTo>
                    <a:pt x="23" y="219"/>
                  </a:lnTo>
                  <a:lnTo>
                    <a:pt x="21" y="209"/>
                  </a:lnTo>
                  <a:lnTo>
                    <a:pt x="20" y="197"/>
                  </a:lnTo>
                  <a:lnTo>
                    <a:pt x="20" y="188"/>
                  </a:lnTo>
                  <a:lnTo>
                    <a:pt x="18" y="176"/>
                  </a:lnTo>
                  <a:lnTo>
                    <a:pt x="17" y="164"/>
                  </a:lnTo>
                  <a:lnTo>
                    <a:pt x="17" y="153"/>
                  </a:lnTo>
                  <a:lnTo>
                    <a:pt x="15" y="140"/>
                  </a:lnTo>
                  <a:lnTo>
                    <a:pt x="14" y="128"/>
                  </a:lnTo>
                  <a:lnTo>
                    <a:pt x="14" y="117"/>
                  </a:lnTo>
                  <a:lnTo>
                    <a:pt x="12" y="107"/>
                  </a:lnTo>
                  <a:lnTo>
                    <a:pt x="11" y="95"/>
                  </a:lnTo>
                  <a:lnTo>
                    <a:pt x="11" y="86"/>
                  </a:lnTo>
                  <a:lnTo>
                    <a:pt x="9" y="75"/>
                  </a:lnTo>
                  <a:lnTo>
                    <a:pt x="9" y="67"/>
                  </a:lnTo>
                  <a:lnTo>
                    <a:pt x="8" y="59"/>
                  </a:lnTo>
                  <a:lnTo>
                    <a:pt x="8" y="50"/>
                  </a:lnTo>
                  <a:lnTo>
                    <a:pt x="6" y="44"/>
                  </a:lnTo>
                  <a:lnTo>
                    <a:pt x="6" y="38"/>
                  </a:lnTo>
                  <a:lnTo>
                    <a:pt x="6" y="34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9"/>
                  </a:lnTo>
                  <a:lnTo>
                    <a:pt x="6" y="30"/>
                  </a:lnTo>
                  <a:lnTo>
                    <a:pt x="8" y="31"/>
                  </a:lnTo>
                  <a:lnTo>
                    <a:pt x="9" y="32"/>
                  </a:lnTo>
                  <a:lnTo>
                    <a:pt x="11" y="34"/>
                  </a:lnTo>
                  <a:lnTo>
                    <a:pt x="12" y="35"/>
                  </a:lnTo>
                  <a:lnTo>
                    <a:pt x="15" y="37"/>
                  </a:lnTo>
                  <a:lnTo>
                    <a:pt x="18" y="37"/>
                  </a:lnTo>
                  <a:lnTo>
                    <a:pt x="23" y="37"/>
                  </a:lnTo>
                  <a:lnTo>
                    <a:pt x="27" y="37"/>
                  </a:lnTo>
                  <a:lnTo>
                    <a:pt x="31" y="35"/>
                  </a:lnTo>
                  <a:lnTo>
                    <a:pt x="38" y="32"/>
                  </a:lnTo>
                  <a:lnTo>
                    <a:pt x="44" y="30"/>
                  </a:lnTo>
                  <a:lnTo>
                    <a:pt x="51" y="24"/>
                  </a:lnTo>
                  <a:lnTo>
                    <a:pt x="60" y="18"/>
                  </a:lnTo>
                  <a:lnTo>
                    <a:pt x="59" y="18"/>
                  </a:lnTo>
                  <a:lnTo>
                    <a:pt x="215" y="0"/>
                  </a:lnTo>
                  <a:lnTo>
                    <a:pt x="218" y="14"/>
                  </a:lnTo>
                  <a:lnTo>
                    <a:pt x="248" y="284"/>
                  </a:lnTo>
                  <a:lnTo>
                    <a:pt x="249" y="282"/>
                  </a:lnTo>
                  <a:lnTo>
                    <a:pt x="249" y="282"/>
                  </a:lnTo>
                  <a:lnTo>
                    <a:pt x="248" y="282"/>
                  </a:lnTo>
                  <a:lnTo>
                    <a:pt x="248" y="284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5" y="291"/>
                  </a:lnTo>
                  <a:lnTo>
                    <a:pt x="245" y="296"/>
                  </a:lnTo>
                  <a:lnTo>
                    <a:pt x="245" y="300"/>
                  </a:lnTo>
                  <a:lnTo>
                    <a:pt x="246" y="306"/>
                  </a:lnTo>
                  <a:lnTo>
                    <a:pt x="246" y="306"/>
                  </a:lnTo>
                  <a:lnTo>
                    <a:pt x="248" y="308"/>
                  </a:lnTo>
                  <a:lnTo>
                    <a:pt x="249" y="309"/>
                  </a:lnTo>
                  <a:lnTo>
                    <a:pt x="251" y="312"/>
                  </a:lnTo>
                  <a:lnTo>
                    <a:pt x="252" y="314"/>
                  </a:lnTo>
                  <a:lnTo>
                    <a:pt x="252" y="317"/>
                  </a:lnTo>
                  <a:lnTo>
                    <a:pt x="251" y="318"/>
                  </a:lnTo>
                  <a:lnTo>
                    <a:pt x="245" y="319"/>
                  </a:lnTo>
                  <a:lnTo>
                    <a:pt x="238" y="320"/>
                  </a:lnTo>
                  <a:lnTo>
                    <a:pt x="238" y="320"/>
                  </a:lnTo>
                  <a:lnTo>
                    <a:pt x="236" y="320"/>
                  </a:lnTo>
                  <a:lnTo>
                    <a:pt x="233" y="320"/>
                  </a:lnTo>
                  <a:lnTo>
                    <a:pt x="230" y="321"/>
                  </a:lnTo>
                  <a:lnTo>
                    <a:pt x="226" y="323"/>
                  </a:lnTo>
                  <a:lnTo>
                    <a:pt x="223" y="323"/>
                  </a:lnTo>
                  <a:lnTo>
                    <a:pt x="220" y="324"/>
                  </a:lnTo>
                  <a:lnTo>
                    <a:pt x="219" y="324"/>
                  </a:lnTo>
                  <a:lnTo>
                    <a:pt x="219" y="324"/>
                  </a:lnTo>
                  <a:lnTo>
                    <a:pt x="219" y="324"/>
                  </a:lnTo>
                  <a:lnTo>
                    <a:pt x="218" y="324"/>
                  </a:lnTo>
                  <a:lnTo>
                    <a:pt x="215" y="324"/>
                  </a:lnTo>
                  <a:lnTo>
                    <a:pt x="212" y="326"/>
                  </a:lnTo>
                  <a:lnTo>
                    <a:pt x="208" y="327"/>
                  </a:lnTo>
                  <a:lnTo>
                    <a:pt x="205" y="329"/>
                  </a:lnTo>
                  <a:lnTo>
                    <a:pt x="202" y="333"/>
                  </a:lnTo>
                  <a:lnTo>
                    <a:pt x="203" y="338"/>
                  </a:lnTo>
                  <a:lnTo>
                    <a:pt x="206" y="345"/>
                  </a:lnTo>
                  <a:lnTo>
                    <a:pt x="206" y="345"/>
                  </a:lnTo>
                  <a:lnTo>
                    <a:pt x="206" y="347"/>
                  </a:lnTo>
                  <a:lnTo>
                    <a:pt x="206" y="347"/>
                  </a:lnTo>
                  <a:lnTo>
                    <a:pt x="206" y="348"/>
                  </a:lnTo>
                  <a:lnTo>
                    <a:pt x="205" y="350"/>
                  </a:lnTo>
                  <a:lnTo>
                    <a:pt x="203" y="352"/>
                  </a:lnTo>
                  <a:lnTo>
                    <a:pt x="202" y="353"/>
                  </a:lnTo>
                  <a:lnTo>
                    <a:pt x="199" y="356"/>
                  </a:lnTo>
                  <a:lnTo>
                    <a:pt x="196" y="359"/>
                  </a:lnTo>
                  <a:lnTo>
                    <a:pt x="196" y="359"/>
                  </a:lnTo>
                  <a:lnTo>
                    <a:pt x="196" y="360"/>
                  </a:lnTo>
                  <a:lnTo>
                    <a:pt x="194" y="362"/>
                  </a:lnTo>
                  <a:lnTo>
                    <a:pt x="193" y="363"/>
                  </a:lnTo>
                  <a:lnTo>
                    <a:pt x="193" y="366"/>
                  </a:lnTo>
                  <a:lnTo>
                    <a:pt x="191" y="368"/>
                  </a:lnTo>
                  <a:lnTo>
                    <a:pt x="190" y="371"/>
                  </a:lnTo>
                  <a:lnTo>
                    <a:pt x="190" y="372"/>
                  </a:lnTo>
                  <a:lnTo>
                    <a:pt x="190" y="372"/>
                  </a:lnTo>
                  <a:lnTo>
                    <a:pt x="190" y="372"/>
                  </a:lnTo>
                  <a:lnTo>
                    <a:pt x="190" y="372"/>
                  </a:lnTo>
                  <a:lnTo>
                    <a:pt x="190" y="374"/>
                  </a:lnTo>
                  <a:lnTo>
                    <a:pt x="189" y="374"/>
                  </a:lnTo>
                  <a:lnTo>
                    <a:pt x="189" y="375"/>
                  </a:lnTo>
                  <a:lnTo>
                    <a:pt x="188" y="377"/>
                  </a:lnTo>
                  <a:lnTo>
                    <a:pt x="186" y="377"/>
                  </a:lnTo>
                  <a:lnTo>
                    <a:pt x="183" y="378"/>
                  </a:lnTo>
                  <a:lnTo>
                    <a:pt x="179" y="378"/>
                  </a:lnTo>
                  <a:lnTo>
                    <a:pt x="179" y="378"/>
                  </a:lnTo>
                  <a:lnTo>
                    <a:pt x="179" y="378"/>
                  </a:lnTo>
                  <a:lnTo>
                    <a:pt x="177" y="381"/>
                  </a:lnTo>
                  <a:lnTo>
                    <a:pt x="176" y="384"/>
                  </a:lnTo>
                  <a:lnTo>
                    <a:pt x="175" y="389"/>
                  </a:lnTo>
                  <a:lnTo>
                    <a:pt x="173" y="395"/>
                  </a:lnTo>
                  <a:lnTo>
                    <a:pt x="172" y="398"/>
                  </a:lnTo>
                  <a:lnTo>
                    <a:pt x="172" y="401"/>
                  </a:lnTo>
                  <a:lnTo>
                    <a:pt x="172" y="402"/>
                  </a:lnTo>
                  <a:lnTo>
                    <a:pt x="172" y="402"/>
                  </a:lnTo>
                  <a:lnTo>
                    <a:pt x="172" y="404"/>
                  </a:lnTo>
                  <a:lnTo>
                    <a:pt x="170" y="405"/>
                  </a:lnTo>
                  <a:lnTo>
                    <a:pt x="169" y="407"/>
                  </a:lnTo>
                  <a:lnTo>
                    <a:pt x="167" y="408"/>
                  </a:lnTo>
                  <a:lnTo>
                    <a:pt x="163" y="410"/>
                  </a:lnTo>
                  <a:lnTo>
                    <a:pt x="158" y="410"/>
                  </a:lnTo>
                  <a:lnTo>
                    <a:pt x="152" y="408"/>
                  </a:lnTo>
                  <a:lnTo>
                    <a:pt x="143" y="404"/>
                  </a:lnTo>
                  <a:lnTo>
                    <a:pt x="143" y="404"/>
                  </a:lnTo>
                  <a:lnTo>
                    <a:pt x="143" y="402"/>
                  </a:lnTo>
                  <a:lnTo>
                    <a:pt x="143" y="399"/>
                  </a:lnTo>
                  <a:lnTo>
                    <a:pt x="141" y="396"/>
                  </a:lnTo>
                  <a:lnTo>
                    <a:pt x="140" y="393"/>
                  </a:lnTo>
                  <a:lnTo>
                    <a:pt x="137" y="392"/>
                  </a:lnTo>
                  <a:lnTo>
                    <a:pt x="134" y="392"/>
                  </a:lnTo>
                  <a:lnTo>
                    <a:pt x="131" y="398"/>
                  </a:lnTo>
                  <a:lnTo>
                    <a:pt x="127" y="407"/>
                  </a:lnTo>
                  <a:lnTo>
                    <a:pt x="127" y="407"/>
                  </a:lnTo>
                  <a:lnTo>
                    <a:pt x="127" y="410"/>
                  </a:lnTo>
                  <a:lnTo>
                    <a:pt x="126" y="414"/>
                  </a:lnTo>
                  <a:lnTo>
                    <a:pt x="126" y="419"/>
                  </a:lnTo>
                  <a:lnTo>
                    <a:pt x="125" y="425"/>
                  </a:lnTo>
                  <a:lnTo>
                    <a:pt x="122" y="428"/>
                  </a:lnTo>
                  <a:lnTo>
                    <a:pt x="119" y="431"/>
                  </a:lnTo>
                  <a:lnTo>
                    <a:pt x="113" y="429"/>
                  </a:lnTo>
                  <a:lnTo>
                    <a:pt x="107" y="423"/>
                  </a:lnTo>
                  <a:lnTo>
                    <a:pt x="107" y="423"/>
                  </a:lnTo>
                  <a:lnTo>
                    <a:pt x="106" y="422"/>
                  </a:lnTo>
                  <a:lnTo>
                    <a:pt x="106" y="420"/>
                  </a:lnTo>
                  <a:lnTo>
                    <a:pt x="106" y="419"/>
                  </a:lnTo>
                  <a:lnTo>
                    <a:pt x="104" y="416"/>
                  </a:lnTo>
                  <a:lnTo>
                    <a:pt x="103" y="416"/>
                  </a:lnTo>
                  <a:lnTo>
                    <a:pt x="98" y="416"/>
                  </a:lnTo>
                  <a:lnTo>
                    <a:pt x="94" y="420"/>
                  </a:lnTo>
                  <a:lnTo>
                    <a:pt x="87" y="426"/>
                  </a:lnTo>
                  <a:lnTo>
                    <a:pt x="87" y="426"/>
                  </a:lnTo>
                  <a:lnTo>
                    <a:pt x="87" y="428"/>
                  </a:lnTo>
                  <a:lnTo>
                    <a:pt x="86" y="431"/>
                  </a:lnTo>
                  <a:lnTo>
                    <a:pt x="84" y="434"/>
                  </a:lnTo>
                  <a:lnTo>
                    <a:pt x="83" y="437"/>
                  </a:lnTo>
                  <a:lnTo>
                    <a:pt x="80" y="440"/>
                  </a:lnTo>
                  <a:lnTo>
                    <a:pt x="75" y="440"/>
                  </a:lnTo>
                  <a:lnTo>
                    <a:pt x="71" y="438"/>
                  </a:lnTo>
                  <a:lnTo>
                    <a:pt x="65" y="434"/>
                  </a:lnTo>
                  <a:lnTo>
                    <a:pt x="65" y="434"/>
                  </a:lnTo>
                  <a:lnTo>
                    <a:pt x="65" y="432"/>
                  </a:lnTo>
                  <a:lnTo>
                    <a:pt x="64" y="431"/>
                  </a:lnTo>
                  <a:lnTo>
                    <a:pt x="62" y="429"/>
                  </a:lnTo>
                  <a:lnTo>
                    <a:pt x="59" y="428"/>
                  </a:lnTo>
                  <a:lnTo>
                    <a:pt x="56" y="426"/>
                  </a:lnTo>
                  <a:lnTo>
                    <a:pt x="53" y="426"/>
                  </a:lnTo>
                  <a:lnTo>
                    <a:pt x="48" y="426"/>
                  </a:lnTo>
                  <a:lnTo>
                    <a:pt x="45" y="429"/>
                  </a:lnTo>
                  <a:lnTo>
                    <a:pt x="45" y="429"/>
                  </a:lnTo>
                  <a:lnTo>
                    <a:pt x="45" y="429"/>
                  </a:lnTo>
                  <a:lnTo>
                    <a:pt x="44" y="428"/>
                  </a:lnTo>
                  <a:lnTo>
                    <a:pt x="42" y="426"/>
                  </a:lnTo>
                  <a:lnTo>
                    <a:pt x="41" y="426"/>
                  </a:lnTo>
                  <a:lnTo>
                    <a:pt x="39" y="426"/>
                  </a:lnTo>
                  <a:lnTo>
                    <a:pt x="38" y="426"/>
                  </a:lnTo>
                  <a:lnTo>
                    <a:pt x="38" y="431"/>
                  </a:lnTo>
                  <a:lnTo>
                    <a:pt x="38" y="435"/>
                  </a:lnTo>
                  <a:lnTo>
                    <a:pt x="38" y="435"/>
                  </a:lnTo>
                  <a:lnTo>
                    <a:pt x="38" y="437"/>
                  </a:lnTo>
                  <a:lnTo>
                    <a:pt x="38" y="437"/>
                  </a:lnTo>
                  <a:lnTo>
                    <a:pt x="38" y="438"/>
                  </a:lnTo>
                  <a:lnTo>
                    <a:pt x="37" y="440"/>
                  </a:lnTo>
                  <a:lnTo>
                    <a:pt x="37" y="441"/>
                  </a:lnTo>
                  <a:lnTo>
                    <a:pt x="35" y="441"/>
                  </a:lnTo>
                  <a:lnTo>
                    <a:pt x="32" y="440"/>
                  </a:lnTo>
                  <a:lnTo>
                    <a:pt x="30" y="437"/>
                  </a:lnTo>
                  <a:lnTo>
                    <a:pt x="30" y="437"/>
                  </a:lnTo>
                  <a:lnTo>
                    <a:pt x="29" y="437"/>
                  </a:lnTo>
                  <a:lnTo>
                    <a:pt x="24" y="435"/>
                  </a:lnTo>
                  <a:lnTo>
                    <a:pt x="20" y="434"/>
                  </a:lnTo>
                  <a:lnTo>
                    <a:pt x="15" y="434"/>
                  </a:lnTo>
                  <a:lnTo>
                    <a:pt x="12" y="434"/>
                  </a:lnTo>
                  <a:lnTo>
                    <a:pt x="9" y="434"/>
                  </a:lnTo>
                  <a:lnTo>
                    <a:pt x="9" y="437"/>
                  </a:lnTo>
                  <a:lnTo>
                    <a:pt x="12" y="440"/>
                  </a:lnTo>
                  <a:lnTo>
                    <a:pt x="12" y="440"/>
                  </a:lnTo>
                  <a:lnTo>
                    <a:pt x="12" y="441"/>
                  </a:lnTo>
                  <a:lnTo>
                    <a:pt x="12" y="441"/>
                  </a:lnTo>
                  <a:lnTo>
                    <a:pt x="11" y="444"/>
                  </a:lnTo>
                  <a:lnTo>
                    <a:pt x="11" y="446"/>
                  </a:lnTo>
                  <a:lnTo>
                    <a:pt x="9" y="446"/>
                  </a:lnTo>
                  <a:lnTo>
                    <a:pt x="8" y="447"/>
                  </a:lnTo>
                  <a:lnTo>
                    <a:pt x="6" y="447"/>
                  </a:lnTo>
                  <a:lnTo>
                    <a:pt x="5" y="44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" name="Freeform 61"/>
            <p:cNvSpPr>
              <a:spLocks/>
            </p:cNvSpPr>
            <p:nvPr/>
          </p:nvSpPr>
          <p:spPr bwMode="auto">
            <a:xfrm>
              <a:off x="3038992" y="4455422"/>
              <a:ext cx="326725" cy="212368"/>
            </a:xfrm>
            <a:custGeom>
              <a:avLst/>
              <a:gdLst>
                <a:gd name="T0" fmla="*/ 415 w 486"/>
                <a:gd name="T1" fmla="*/ 245 h 316"/>
                <a:gd name="T2" fmla="*/ 423 w 486"/>
                <a:gd name="T3" fmla="*/ 228 h 316"/>
                <a:gd name="T4" fmla="*/ 437 w 486"/>
                <a:gd name="T5" fmla="*/ 225 h 316"/>
                <a:gd name="T6" fmla="*/ 442 w 486"/>
                <a:gd name="T7" fmla="*/ 225 h 316"/>
                <a:gd name="T8" fmla="*/ 452 w 486"/>
                <a:gd name="T9" fmla="*/ 218 h 316"/>
                <a:gd name="T10" fmla="*/ 460 w 486"/>
                <a:gd name="T11" fmla="*/ 211 h 316"/>
                <a:gd name="T12" fmla="*/ 464 w 486"/>
                <a:gd name="T13" fmla="*/ 203 h 316"/>
                <a:gd name="T14" fmla="*/ 473 w 486"/>
                <a:gd name="T15" fmla="*/ 191 h 316"/>
                <a:gd name="T16" fmla="*/ 481 w 486"/>
                <a:gd name="T17" fmla="*/ 185 h 316"/>
                <a:gd name="T18" fmla="*/ 485 w 486"/>
                <a:gd name="T19" fmla="*/ 179 h 316"/>
                <a:gd name="T20" fmla="*/ 482 w 486"/>
                <a:gd name="T21" fmla="*/ 174 h 316"/>
                <a:gd name="T22" fmla="*/ 479 w 486"/>
                <a:gd name="T23" fmla="*/ 171 h 316"/>
                <a:gd name="T24" fmla="*/ 467 w 486"/>
                <a:gd name="T25" fmla="*/ 161 h 316"/>
                <a:gd name="T26" fmla="*/ 454 w 486"/>
                <a:gd name="T27" fmla="*/ 149 h 316"/>
                <a:gd name="T28" fmla="*/ 439 w 486"/>
                <a:gd name="T29" fmla="*/ 138 h 316"/>
                <a:gd name="T30" fmla="*/ 439 w 486"/>
                <a:gd name="T31" fmla="*/ 122 h 316"/>
                <a:gd name="T32" fmla="*/ 443 w 486"/>
                <a:gd name="T33" fmla="*/ 115 h 316"/>
                <a:gd name="T34" fmla="*/ 454 w 486"/>
                <a:gd name="T35" fmla="*/ 60 h 316"/>
                <a:gd name="T36" fmla="*/ 443 w 486"/>
                <a:gd name="T37" fmla="*/ 47 h 316"/>
                <a:gd name="T38" fmla="*/ 439 w 486"/>
                <a:gd name="T39" fmla="*/ 46 h 316"/>
                <a:gd name="T40" fmla="*/ 431 w 486"/>
                <a:gd name="T41" fmla="*/ 37 h 316"/>
                <a:gd name="T42" fmla="*/ 424 w 486"/>
                <a:gd name="T43" fmla="*/ 26 h 316"/>
                <a:gd name="T44" fmla="*/ 423 w 486"/>
                <a:gd name="T45" fmla="*/ 19 h 316"/>
                <a:gd name="T46" fmla="*/ 416 w 486"/>
                <a:gd name="T47" fmla="*/ 13 h 316"/>
                <a:gd name="T48" fmla="*/ 407 w 486"/>
                <a:gd name="T49" fmla="*/ 10 h 316"/>
                <a:gd name="T50" fmla="*/ 401 w 486"/>
                <a:gd name="T51" fmla="*/ 1 h 316"/>
                <a:gd name="T52" fmla="*/ 388 w 486"/>
                <a:gd name="T53" fmla="*/ 0 h 316"/>
                <a:gd name="T54" fmla="*/ 379 w 486"/>
                <a:gd name="T55" fmla="*/ 2 h 316"/>
                <a:gd name="T56" fmla="*/ 356 w 486"/>
                <a:gd name="T57" fmla="*/ 7 h 316"/>
                <a:gd name="T58" fmla="*/ 323 w 486"/>
                <a:gd name="T59" fmla="*/ 13 h 316"/>
                <a:gd name="T60" fmla="*/ 283 w 486"/>
                <a:gd name="T61" fmla="*/ 22 h 316"/>
                <a:gd name="T62" fmla="*/ 239 w 486"/>
                <a:gd name="T63" fmla="*/ 30 h 316"/>
                <a:gd name="T64" fmla="*/ 194 w 486"/>
                <a:gd name="T65" fmla="*/ 38 h 316"/>
                <a:gd name="T66" fmla="*/ 150 w 486"/>
                <a:gd name="T67" fmla="*/ 47 h 316"/>
                <a:gd name="T68" fmla="*/ 113 w 486"/>
                <a:gd name="T69" fmla="*/ 55 h 316"/>
                <a:gd name="T70" fmla="*/ 82 w 486"/>
                <a:gd name="T71" fmla="*/ 60 h 316"/>
                <a:gd name="T72" fmla="*/ 65 w 486"/>
                <a:gd name="T73" fmla="*/ 63 h 316"/>
                <a:gd name="T74" fmla="*/ 55 w 486"/>
                <a:gd name="T75" fmla="*/ 37 h 316"/>
                <a:gd name="T76" fmla="*/ 41 w 486"/>
                <a:gd name="T77" fmla="*/ 47 h 316"/>
                <a:gd name="T78" fmla="*/ 28 w 486"/>
                <a:gd name="T79" fmla="*/ 58 h 316"/>
                <a:gd name="T80" fmla="*/ 16 w 486"/>
                <a:gd name="T81" fmla="*/ 66 h 316"/>
                <a:gd name="T82" fmla="*/ 6 w 486"/>
                <a:gd name="T83" fmla="*/ 73 h 316"/>
                <a:gd name="T84" fmla="*/ 0 w 486"/>
                <a:gd name="T85" fmla="*/ 77 h 316"/>
                <a:gd name="T86" fmla="*/ 27 w 486"/>
                <a:gd name="T87" fmla="*/ 21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86" h="316">
                  <a:moveTo>
                    <a:pt x="42" y="315"/>
                  </a:moveTo>
                  <a:lnTo>
                    <a:pt x="122" y="299"/>
                  </a:lnTo>
                  <a:lnTo>
                    <a:pt x="415" y="245"/>
                  </a:lnTo>
                  <a:lnTo>
                    <a:pt x="416" y="236"/>
                  </a:lnTo>
                  <a:lnTo>
                    <a:pt x="419" y="231"/>
                  </a:lnTo>
                  <a:lnTo>
                    <a:pt x="423" y="228"/>
                  </a:lnTo>
                  <a:lnTo>
                    <a:pt x="427" y="225"/>
                  </a:lnTo>
                  <a:lnTo>
                    <a:pt x="433" y="225"/>
                  </a:lnTo>
                  <a:lnTo>
                    <a:pt x="437" y="225"/>
                  </a:lnTo>
                  <a:lnTo>
                    <a:pt x="440" y="225"/>
                  </a:lnTo>
                  <a:lnTo>
                    <a:pt x="442" y="227"/>
                  </a:lnTo>
                  <a:lnTo>
                    <a:pt x="442" y="225"/>
                  </a:lnTo>
                  <a:lnTo>
                    <a:pt x="445" y="224"/>
                  </a:lnTo>
                  <a:lnTo>
                    <a:pt x="448" y="221"/>
                  </a:lnTo>
                  <a:lnTo>
                    <a:pt x="452" y="218"/>
                  </a:lnTo>
                  <a:lnTo>
                    <a:pt x="454" y="215"/>
                  </a:lnTo>
                  <a:lnTo>
                    <a:pt x="458" y="214"/>
                  </a:lnTo>
                  <a:lnTo>
                    <a:pt x="460" y="211"/>
                  </a:lnTo>
                  <a:lnTo>
                    <a:pt x="461" y="211"/>
                  </a:lnTo>
                  <a:lnTo>
                    <a:pt x="461" y="207"/>
                  </a:lnTo>
                  <a:lnTo>
                    <a:pt x="464" y="203"/>
                  </a:lnTo>
                  <a:lnTo>
                    <a:pt x="467" y="198"/>
                  </a:lnTo>
                  <a:lnTo>
                    <a:pt x="470" y="194"/>
                  </a:lnTo>
                  <a:lnTo>
                    <a:pt x="473" y="191"/>
                  </a:lnTo>
                  <a:lnTo>
                    <a:pt x="476" y="188"/>
                  </a:lnTo>
                  <a:lnTo>
                    <a:pt x="479" y="186"/>
                  </a:lnTo>
                  <a:lnTo>
                    <a:pt x="481" y="185"/>
                  </a:lnTo>
                  <a:lnTo>
                    <a:pt x="484" y="184"/>
                  </a:lnTo>
                  <a:lnTo>
                    <a:pt x="485" y="181"/>
                  </a:lnTo>
                  <a:lnTo>
                    <a:pt x="485" y="179"/>
                  </a:lnTo>
                  <a:lnTo>
                    <a:pt x="485" y="176"/>
                  </a:lnTo>
                  <a:lnTo>
                    <a:pt x="484" y="175"/>
                  </a:lnTo>
                  <a:lnTo>
                    <a:pt x="482" y="174"/>
                  </a:lnTo>
                  <a:lnTo>
                    <a:pt x="482" y="173"/>
                  </a:lnTo>
                  <a:lnTo>
                    <a:pt x="481" y="173"/>
                  </a:lnTo>
                  <a:lnTo>
                    <a:pt x="479" y="171"/>
                  </a:lnTo>
                  <a:lnTo>
                    <a:pt x="476" y="170"/>
                  </a:lnTo>
                  <a:lnTo>
                    <a:pt x="472" y="165"/>
                  </a:lnTo>
                  <a:lnTo>
                    <a:pt x="467" y="161"/>
                  </a:lnTo>
                  <a:lnTo>
                    <a:pt x="461" y="156"/>
                  </a:lnTo>
                  <a:lnTo>
                    <a:pt x="457" y="152"/>
                  </a:lnTo>
                  <a:lnTo>
                    <a:pt x="454" y="149"/>
                  </a:lnTo>
                  <a:lnTo>
                    <a:pt x="452" y="148"/>
                  </a:lnTo>
                  <a:lnTo>
                    <a:pt x="443" y="143"/>
                  </a:lnTo>
                  <a:lnTo>
                    <a:pt x="439" y="138"/>
                  </a:lnTo>
                  <a:lnTo>
                    <a:pt x="437" y="132"/>
                  </a:lnTo>
                  <a:lnTo>
                    <a:pt x="437" y="126"/>
                  </a:lnTo>
                  <a:lnTo>
                    <a:pt x="439" y="122"/>
                  </a:lnTo>
                  <a:lnTo>
                    <a:pt x="440" y="118"/>
                  </a:lnTo>
                  <a:lnTo>
                    <a:pt x="442" y="115"/>
                  </a:lnTo>
                  <a:lnTo>
                    <a:pt x="443" y="115"/>
                  </a:lnTo>
                  <a:lnTo>
                    <a:pt x="434" y="101"/>
                  </a:lnTo>
                  <a:lnTo>
                    <a:pt x="449" y="79"/>
                  </a:lnTo>
                  <a:lnTo>
                    <a:pt x="454" y="60"/>
                  </a:lnTo>
                  <a:lnTo>
                    <a:pt x="458" y="53"/>
                  </a:lnTo>
                  <a:lnTo>
                    <a:pt x="458" y="53"/>
                  </a:lnTo>
                  <a:lnTo>
                    <a:pt x="443" y="47"/>
                  </a:lnTo>
                  <a:lnTo>
                    <a:pt x="443" y="47"/>
                  </a:lnTo>
                  <a:lnTo>
                    <a:pt x="442" y="47"/>
                  </a:lnTo>
                  <a:lnTo>
                    <a:pt x="439" y="46"/>
                  </a:lnTo>
                  <a:lnTo>
                    <a:pt x="437" y="43"/>
                  </a:lnTo>
                  <a:lnTo>
                    <a:pt x="434" y="40"/>
                  </a:lnTo>
                  <a:lnTo>
                    <a:pt x="431" y="37"/>
                  </a:lnTo>
                  <a:lnTo>
                    <a:pt x="428" y="33"/>
                  </a:lnTo>
                  <a:lnTo>
                    <a:pt x="425" y="28"/>
                  </a:lnTo>
                  <a:lnTo>
                    <a:pt x="424" y="26"/>
                  </a:lnTo>
                  <a:lnTo>
                    <a:pt x="424" y="25"/>
                  </a:lnTo>
                  <a:lnTo>
                    <a:pt x="424" y="22"/>
                  </a:lnTo>
                  <a:lnTo>
                    <a:pt x="423" y="19"/>
                  </a:lnTo>
                  <a:lnTo>
                    <a:pt x="422" y="17"/>
                  </a:lnTo>
                  <a:lnTo>
                    <a:pt x="419" y="14"/>
                  </a:lnTo>
                  <a:lnTo>
                    <a:pt x="416" y="13"/>
                  </a:lnTo>
                  <a:lnTo>
                    <a:pt x="410" y="13"/>
                  </a:lnTo>
                  <a:lnTo>
                    <a:pt x="409" y="11"/>
                  </a:lnTo>
                  <a:lnTo>
                    <a:pt x="407" y="10"/>
                  </a:lnTo>
                  <a:lnTo>
                    <a:pt x="406" y="7"/>
                  </a:lnTo>
                  <a:lnTo>
                    <a:pt x="404" y="4"/>
                  </a:lnTo>
                  <a:lnTo>
                    <a:pt x="401" y="1"/>
                  </a:lnTo>
                  <a:lnTo>
                    <a:pt x="397" y="0"/>
                  </a:lnTo>
                  <a:lnTo>
                    <a:pt x="393" y="0"/>
                  </a:lnTo>
                  <a:lnTo>
                    <a:pt x="388" y="0"/>
                  </a:lnTo>
                  <a:lnTo>
                    <a:pt x="386" y="0"/>
                  </a:lnTo>
                  <a:lnTo>
                    <a:pt x="383" y="1"/>
                  </a:lnTo>
                  <a:lnTo>
                    <a:pt x="379" y="2"/>
                  </a:lnTo>
                  <a:lnTo>
                    <a:pt x="373" y="2"/>
                  </a:lnTo>
                  <a:lnTo>
                    <a:pt x="364" y="4"/>
                  </a:lnTo>
                  <a:lnTo>
                    <a:pt x="356" y="7"/>
                  </a:lnTo>
                  <a:lnTo>
                    <a:pt x="346" y="8"/>
                  </a:lnTo>
                  <a:lnTo>
                    <a:pt x="335" y="10"/>
                  </a:lnTo>
                  <a:lnTo>
                    <a:pt x="323" y="13"/>
                  </a:lnTo>
                  <a:lnTo>
                    <a:pt x="310" y="16"/>
                  </a:lnTo>
                  <a:lnTo>
                    <a:pt x="297" y="19"/>
                  </a:lnTo>
                  <a:lnTo>
                    <a:pt x="283" y="22"/>
                  </a:lnTo>
                  <a:lnTo>
                    <a:pt x="269" y="25"/>
                  </a:lnTo>
                  <a:lnTo>
                    <a:pt x="254" y="28"/>
                  </a:lnTo>
                  <a:lnTo>
                    <a:pt x="239" y="30"/>
                  </a:lnTo>
                  <a:lnTo>
                    <a:pt x="224" y="33"/>
                  </a:lnTo>
                  <a:lnTo>
                    <a:pt x="209" y="35"/>
                  </a:lnTo>
                  <a:lnTo>
                    <a:pt x="194" y="38"/>
                  </a:lnTo>
                  <a:lnTo>
                    <a:pt x="179" y="41"/>
                  </a:lnTo>
                  <a:lnTo>
                    <a:pt x="164" y="44"/>
                  </a:lnTo>
                  <a:lnTo>
                    <a:pt x="150" y="47"/>
                  </a:lnTo>
                  <a:lnTo>
                    <a:pt x="137" y="50"/>
                  </a:lnTo>
                  <a:lnTo>
                    <a:pt x="123" y="52"/>
                  </a:lnTo>
                  <a:lnTo>
                    <a:pt x="113" y="55"/>
                  </a:lnTo>
                  <a:lnTo>
                    <a:pt x="101" y="56"/>
                  </a:lnTo>
                  <a:lnTo>
                    <a:pt x="90" y="59"/>
                  </a:lnTo>
                  <a:lnTo>
                    <a:pt x="82" y="60"/>
                  </a:lnTo>
                  <a:lnTo>
                    <a:pt x="75" y="62"/>
                  </a:lnTo>
                  <a:lnTo>
                    <a:pt x="69" y="63"/>
                  </a:lnTo>
                  <a:lnTo>
                    <a:pt x="65" y="63"/>
                  </a:lnTo>
                  <a:lnTo>
                    <a:pt x="62" y="63"/>
                  </a:lnTo>
                  <a:lnTo>
                    <a:pt x="62" y="65"/>
                  </a:lnTo>
                  <a:lnTo>
                    <a:pt x="55" y="37"/>
                  </a:lnTo>
                  <a:lnTo>
                    <a:pt x="51" y="40"/>
                  </a:lnTo>
                  <a:lnTo>
                    <a:pt x="46" y="44"/>
                  </a:lnTo>
                  <a:lnTo>
                    <a:pt x="41" y="47"/>
                  </a:lnTo>
                  <a:lnTo>
                    <a:pt x="36" y="50"/>
                  </a:lnTo>
                  <a:lnTo>
                    <a:pt x="32" y="55"/>
                  </a:lnTo>
                  <a:lnTo>
                    <a:pt x="28" y="58"/>
                  </a:lnTo>
                  <a:lnTo>
                    <a:pt x="24" y="60"/>
                  </a:lnTo>
                  <a:lnTo>
                    <a:pt x="21" y="63"/>
                  </a:lnTo>
                  <a:lnTo>
                    <a:pt x="16" y="66"/>
                  </a:lnTo>
                  <a:lnTo>
                    <a:pt x="12" y="69"/>
                  </a:lnTo>
                  <a:lnTo>
                    <a:pt x="9" y="71"/>
                  </a:lnTo>
                  <a:lnTo>
                    <a:pt x="6" y="73"/>
                  </a:lnTo>
                  <a:lnTo>
                    <a:pt x="5" y="76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27" y="219"/>
                  </a:lnTo>
                  <a:lnTo>
                    <a:pt x="42" y="31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" name="Freeform 62"/>
            <p:cNvSpPr>
              <a:spLocks/>
            </p:cNvSpPr>
            <p:nvPr/>
          </p:nvSpPr>
          <p:spPr bwMode="auto">
            <a:xfrm>
              <a:off x="3038992" y="4455422"/>
              <a:ext cx="326725" cy="212368"/>
            </a:xfrm>
            <a:custGeom>
              <a:avLst/>
              <a:gdLst>
                <a:gd name="T0" fmla="*/ 415 w 486"/>
                <a:gd name="T1" fmla="*/ 245 h 316"/>
                <a:gd name="T2" fmla="*/ 419 w 486"/>
                <a:gd name="T3" fmla="*/ 231 h 316"/>
                <a:gd name="T4" fmla="*/ 433 w 486"/>
                <a:gd name="T5" fmla="*/ 225 h 316"/>
                <a:gd name="T6" fmla="*/ 442 w 486"/>
                <a:gd name="T7" fmla="*/ 227 h 316"/>
                <a:gd name="T8" fmla="*/ 445 w 486"/>
                <a:gd name="T9" fmla="*/ 224 h 316"/>
                <a:gd name="T10" fmla="*/ 454 w 486"/>
                <a:gd name="T11" fmla="*/ 215 h 316"/>
                <a:gd name="T12" fmla="*/ 461 w 486"/>
                <a:gd name="T13" fmla="*/ 211 h 316"/>
                <a:gd name="T14" fmla="*/ 464 w 486"/>
                <a:gd name="T15" fmla="*/ 203 h 316"/>
                <a:gd name="T16" fmla="*/ 473 w 486"/>
                <a:gd name="T17" fmla="*/ 191 h 316"/>
                <a:gd name="T18" fmla="*/ 481 w 486"/>
                <a:gd name="T19" fmla="*/ 185 h 316"/>
                <a:gd name="T20" fmla="*/ 485 w 486"/>
                <a:gd name="T21" fmla="*/ 181 h 316"/>
                <a:gd name="T22" fmla="*/ 484 w 486"/>
                <a:gd name="T23" fmla="*/ 175 h 316"/>
                <a:gd name="T24" fmla="*/ 481 w 486"/>
                <a:gd name="T25" fmla="*/ 173 h 316"/>
                <a:gd name="T26" fmla="*/ 476 w 486"/>
                <a:gd name="T27" fmla="*/ 170 h 316"/>
                <a:gd name="T28" fmla="*/ 461 w 486"/>
                <a:gd name="T29" fmla="*/ 156 h 316"/>
                <a:gd name="T30" fmla="*/ 452 w 486"/>
                <a:gd name="T31" fmla="*/ 148 h 316"/>
                <a:gd name="T32" fmla="*/ 439 w 486"/>
                <a:gd name="T33" fmla="*/ 138 h 316"/>
                <a:gd name="T34" fmla="*/ 439 w 486"/>
                <a:gd name="T35" fmla="*/ 122 h 316"/>
                <a:gd name="T36" fmla="*/ 443 w 486"/>
                <a:gd name="T37" fmla="*/ 115 h 316"/>
                <a:gd name="T38" fmla="*/ 454 w 486"/>
                <a:gd name="T39" fmla="*/ 60 h 316"/>
                <a:gd name="T40" fmla="*/ 443 w 486"/>
                <a:gd name="T41" fmla="*/ 47 h 316"/>
                <a:gd name="T42" fmla="*/ 442 w 486"/>
                <a:gd name="T43" fmla="*/ 47 h 316"/>
                <a:gd name="T44" fmla="*/ 434 w 486"/>
                <a:gd name="T45" fmla="*/ 40 h 316"/>
                <a:gd name="T46" fmla="*/ 425 w 486"/>
                <a:gd name="T47" fmla="*/ 28 h 316"/>
                <a:gd name="T48" fmla="*/ 424 w 486"/>
                <a:gd name="T49" fmla="*/ 25 h 316"/>
                <a:gd name="T50" fmla="*/ 422 w 486"/>
                <a:gd name="T51" fmla="*/ 17 h 316"/>
                <a:gd name="T52" fmla="*/ 410 w 486"/>
                <a:gd name="T53" fmla="*/ 13 h 316"/>
                <a:gd name="T54" fmla="*/ 407 w 486"/>
                <a:gd name="T55" fmla="*/ 10 h 316"/>
                <a:gd name="T56" fmla="*/ 401 w 486"/>
                <a:gd name="T57" fmla="*/ 1 h 316"/>
                <a:gd name="T58" fmla="*/ 388 w 486"/>
                <a:gd name="T59" fmla="*/ 0 h 316"/>
                <a:gd name="T60" fmla="*/ 383 w 486"/>
                <a:gd name="T61" fmla="*/ 1 h 316"/>
                <a:gd name="T62" fmla="*/ 364 w 486"/>
                <a:gd name="T63" fmla="*/ 4 h 316"/>
                <a:gd name="T64" fmla="*/ 335 w 486"/>
                <a:gd name="T65" fmla="*/ 10 h 316"/>
                <a:gd name="T66" fmla="*/ 297 w 486"/>
                <a:gd name="T67" fmla="*/ 19 h 316"/>
                <a:gd name="T68" fmla="*/ 254 w 486"/>
                <a:gd name="T69" fmla="*/ 28 h 316"/>
                <a:gd name="T70" fmla="*/ 209 w 486"/>
                <a:gd name="T71" fmla="*/ 35 h 316"/>
                <a:gd name="T72" fmla="*/ 164 w 486"/>
                <a:gd name="T73" fmla="*/ 44 h 316"/>
                <a:gd name="T74" fmla="*/ 123 w 486"/>
                <a:gd name="T75" fmla="*/ 52 h 316"/>
                <a:gd name="T76" fmla="*/ 90 w 486"/>
                <a:gd name="T77" fmla="*/ 59 h 316"/>
                <a:gd name="T78" fmla="*/ 69 w 486"/>
                <a:gd name="T79" fmla="*/ 63 h 316"/>
                <a:gd name="T80" fmla="*/ 62 w 486"/>
                <a:gd name="T81" fmla="*/ 65 h 316"/>
                <a:gd name="T82" fmla="*/ 51 w 486"/>
                <a:gd name="T83" fmla="*/ 40 h 316"/>
                <a:gd name="T84" fmla="*/ 36 w 486"/>
                <a:gd name="T85" fmla="*/ 50 h 316"/>
                <a:gd name="T86" fmla="*/ 24 w 486"/>
                <a:gd name="T87" fmla="*/ 60 h 316"/>
                <a:gd name="T88" fmla="*/ 12 w 486"/>
                <a:gd name="T89" fmla="*/ 69 h 316"/>
                <a:gd name="T90" fmla="*/ 5 w 486"/>
                <a:gd name="T91" fmla="*/ 76 h 316"/>
                <a:gd name="T92" fmla="*/ 0 w 486"/>
                <a:gd name="T93" fmla="*/ 79 h 316"/>
                <a:gd name="T94" fmla="*/ 42 w 486"/>
                <a:gd name="T95" fmla="*/ 315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6" h="316">
                  <a:moveTo>
                    <a:pt x="42" y="315"/>
                  </a:moveTo>
                  <a:lnTo>
                    <a:pt x="122" y="299"/>
                  </a:lnTo>
                  <a:lnTo>
                    <a:pt x="415" y="245"/>
                  </a:lnTo>
                  <a:lnTo>
                    <a:pt x="415" y="245"/>
                  </a:lnTo>
                  <a:lnTo>
                    <a:pt x="416" y="236"/>
                  </a:lnTo>
                  <a:lnTo>
                    <a:pt x="419" y="231"/>
                  </a:lnTo>
                  <a:lnTo>
                    <a:pt x="423" y="228"/>
                  </a:lnTo>
                  <a:lnTo>
                    <a:pt x="427" y="225"/>
                  </a:lnTo>
                  <a:lnTo>
                    <a:pt x="433" y="225"/>
                  </a:lnTo>
                  <a:lnTo>
                    <a:pt x="437" y="225"/>
                  </a:lnTo>
                  <a:lnTo>
                    <a:pt x="440" y="225"/>
                  </a:lnTo>
                  <a:lnTo>
                    <a:pt x="442" y="227"/>
                  </a:lnTo>
                  <a:lnTo>
                    <a:pt x="442" y="227"/>
                  </a:lnTo>
                  <a:lnTo>
                    <a:pt x="442" y="225"/>
                  </a:lnTo>
                  <a:lnTo>
                    <a:pt x="445" y="224"/>
                  </a:lnTo>
                  <a:lnTo>
                    <a:pt x="448" y="221"/>
                  </a:lnTo>
                  <a:lnTo>
                    <a:pt x="452" y="218"/>
                  </a:lnTo>
                  <a:lnTo>
                    <a:pt x="454" y="215"/>
                  </a:lnTo>
                  <a:lnTo>
                    <a:pt x="458" y="214"/>
                  </a:lnTo>
                  <a:lnTo>
                    <a:pt x="460" y="211"/>
                  </a:lnTo>
                  <a:lnTo>
                    <a:pt x="461" y="211"/>
                  </a:lnTo>
                  <a:lnTo>
                    <a:pt x="461" y="211"/>
                  </a:lnTo>
                  <a:lnTo>
                    <a:pt x="461" y="207"/>
                  </a:lnTo>
                  <a:lnTo>
                    <a:pt x="464" y="203"/>
                  </a:lnTo>
                  <a:lnTo>
                    <a:pt x="467" y="198"/>
                  </a:lnTo>
                  <a:lnTo>
                    <a:pt x="470" y="194"/>
                  </a:lnTo>
                  <a:lnTo>
                    <a:pt x="473" y="191"/>
                  </a:lnTo>
                  <a:lnTo>
                    <a:pt x="476" y="188"/>
                  </a:lnTo>
                  <a:lnTo>
                    <a:pt x="479" y="186"/>
                  </a:lnTo>
                  <a:lnTo>
                    <a:pt x="481" y="185"/>
                  </a:lnTo>
                  <a:lnTo>
                    <a:pt x="481" y="185"/>
                  </a:lnTo>
                  <a:lnTo>
                    <a:pt x="484" y="184"/>
                  </a:lnTo>
                  <a:lnTo>
                    <a:pt x="485" y="181"/>
                  </a:lnTo>
                  <a:lnTo>
                    <a:pt x="485" y="179"/>
                  </a:lnTo>
                  <a:lnTo>
                    <a:pt x="485" y="176"/>
                  </a:lnTo>
                  <a:lnTo>
                    <a:pt x="484" y="175"/>
                  </a:lnTo>
                  <a:lnTo>
                    <a:pt x="482" y="174"/>
                  </a:lnTo>
                  <a:lnTo>
                    <a:pt x="482" y="173"/>
                  </a:lnTo>
                  <a:lnTo>
                    <a:pt x="481" y="173"/>
                  </a:lnTo>
                  <a:lnTo>
                    <a:pt x="481" y="173"/>
                  </a:lnTo>
                  <a:lnTo>
                    <a:pt x="479" y="171"/>
                  </a:lnTo>
                  <a:lnTo>
                    <a:pt x="476" y="170"/>
                  </a:lnTo>
                  <a:lnTo>
                    <a:pt x="472" y="165"/>
                  </a:lnTo>
                  <a:lnTo>
                    <a:pt x="467" y="161"/>
                  </a:lnTo>
                  <a:lnTo>
                    <a:pt x="461" y="156"/>
                  </a:lnTo>
                  <a:lnTo>
                    <a:pt x="457" y="152"/>
                  </a:lnTo>
                  <a:lnTo>
                    <a:pt x="454" y="149"/>
                  </a:lnTo>
                  <a:lnTo>
                    <a:pt x="452" y="148"/>
                  </a:lnTo>
                  <a:lnTo>
                    <a:pt x="452" y="148"/>
                  </a:lnTo>
                  <a:lnTo>
                    <a:pt x="443" y="143"/>
                  </a:lnTo>
                  <a:lnTo>
                    <a:pt x="439" y="138"/>
                  </a:lnTo>
                  <a:lnTo>
                    <a:pt x="437" y="132"/>
                  </a:lnTo>
                  <a:lnTo>
                    <a:pt x="437" y="126"/>
                  </a:lnTo>
                  <a:lnTo>
                    <a:pt x="439" y="122"/>
                  </a:lnTo>
                  <a:lnTo>
                    <a:pt x="440" y="118"/>
                  </a:lnTo>
                  <a:lnTo>
                    <a:pt x="442" y="115"/>
                  </a:lnTo>
                  <a:lnTo>
                    <a:pt x="443" y="115"/>
                  </a:lnTo>
                  <a:lnTo>
                    <a:pt x="434" y="101"/>
                  </a:lnTo>
                  <a:lnTo>
                    <a:pt x="449" y="79"/>
                  </a:lnTo>
                  <a:lnTo>
                    <a:pt x="454" y="60"/>
                  </a:lnTo>
                  <a:lnTo>
                    <a:pt x="458" y="53"/>
                  </a:lnTo>
                  <a:lnTo>
                    <a:pt x="458" y="53"/>
                  </a:lnTo>
                  <a:lnTo>
                    <a:pt x="443" y="47"/>
                  </a:lnTo>
                  <a:lnTo>
                    <a:pt x="443" y="47"/>
                  </a:lnTo>
                  <a:lnTo>
                    <a:pt x="443" y="47"/>
                  </a:lnTo>
                  <a:lnTo>
                    <a:pt x="442" y="47"/>
                  </a:lnTo>
                  <a:lnTo>
                    <a:pt x="439" y="46"/>
                  </a:lnTo>
                  <a:lnTo>
                    <a:pt x="437" y="43"/>
                  </a:lnTo>
                  <a:lnTo>
                    <a:pt x="434" y="40"/>
                  </a:lnTo>
                  <a:lnTo>
                    <a:pt x="431" y="37"/>
                  </a:lnTo>
                  <a:lnTo>
                    <a:pt x="428" y="33"/>
                  </a:lnTo>
                  <a:lnTo>
                    <a:pt x="425" y="28"/>
                  </a:lnTo>
                  <a:lnTo>
                    <a:pt x="425" y="28"/>
                  </a:lnTo>
                  <a:lnTo>
                    <a:pt x="424" y="26"/>
                  </a:lnTo>
                  <a:lnTo>
                    <a:pt x="424" y="25"/>
                  </a:lnTo>
                  <a:lnTo>
                    <a:pt x="424" y="22"/>
                  </a:lnTo>
                  <a:lnTo>
                    <a:pt x="423" y="19"/>
                  </a:lnTo>
                  <a:lnTo>
                    <a:pt x="422" y="17"/>
                  </a:lnTo>
                  <a:lnTo>
                    <a:pt x="419" y="14"/>
                  </a:lnTo>
                  <a:lnTo>
                    <a:pt x="416" y="13"/>
                  </a:lnTo>
                  <a:lnTo>
                    <a:pt x="410" y="13"/>
                  </a:lnTo>
                  <a:lnTo>
                    <a:pt x="410" y="13"/>
                  </a:lnTo>
                  <a:lnTo>
                    <a:pt x="409" y="11"/>
                  </a:lnTo>
                  <a:lnTo>
                    <a:pt x="407" y="10"/>
                  </a:lnTo>
                  <a:lnTo>
                    <a:pt x="406" y="7"/>
                  </a:lnTo>
                  <a:lnTo>
                    <a:pt x="404" y="4"/>
                  </a:lnTo>
                  <a:lnTo>
                    <a:pt x="401" y="1"/>
                  </a:lnTo>
                  <a:lnTo>
                    <a:pt x="397" y="0"/>
                  </a:lnTo>
                  <a:lnTo>
                    <a:pt x="393" y="0"/>
                  </a:lnTo>
                  <a:lnTo>
                    <a:pt x="388" y="0"/>
                  </a:lnTo>
                  <a:lnTo>
                    <a:pt x="388" y="0"/>
                  </a:lnTo>
                  <a:lnTo>
                    <a:pt x="386" y="0"/>
                  </a:lnTo>
                  <a:lnTo>
                    <a:pt x="383" y="1"/>
                  </a:lnTo>
                  <a:lnTo>
                    <a:pt x="379" y="2"/>
                  </a:lnTo>
                  <a:lnTo>
                    <a:pt x="373" y="2"/>
                  </a:lnTo>
                  <a:lnTo>
                    <a:pt x="364" y="4"/>
                  </a:lnTo>
                  <a:lnTo>
                    <a:pt x="356" y="7"/>
                  </a:lnTo>
                  <a:lnTo>
                    <a:pt x="346" y="8"/>
                  </a:lnTo>
                  <a:lnTo>
                    <a:pt x="335" y="10"/>
                  </a:lnTo>
                  <a:lnTo>
                    <a:pt x="323" y="13"/>
                  </a:lnTo>
                  <a:lnTo>
                    <a:pt x="310" y="16"/>
                  </a:lnTo>
                  <a:lnTo>
                    <a:pt x="297" y="19"/>
                  </a:lnTo>
                  <a:lnTo>
                    <a:pt x="283" y="22"/>
                  </a:lnTo>
                  <a:lnTo>
                    <a:pt x="269" y="25"/>
                  </a:lnTo>
                  <a:lnTo>
                    <a:pt x="254" y="28"/>
                  </a:lnTo>
                  <a:lnTo>
                    <a:pt x="239" y="30"/>
                  </a:lnTo>
                  <a:lnTo>
                    <a:pt x="224" y="33"/>
                  </a:lnTo>
                  <a:lnTo>
                    <a:pt x="209" y="35"/>
                  </a:lnTo>
                  <a:lnTo>
                    <a:pt x="194" y="38"/>
                  </a:lnTo>
                  <a:lnTo>
                    <a:pt x="179" y="41"/>
                  </a:lnTo>
                  <a:lnTo>
                    <a:pt x="164" y="44"/>
                  </a:lnTo>
                  <a:lnTo>
                    <a:pt x="150" y="47"/>
                  </a:lnTo>
                  <a:lnTo>
                    <a:pt x="137" y="50"/>
                  </a:lnTo>
                  <a:lnTo>
                    <a:pt x="123" y="52"/>
                  </a:lnTo>
                  <a:lnTo>
                    <a:pt x="113" y="55"/>
                  </a:lnTo>
                  <a:lnTo>
                    <a:pt x="101" y="56"/>
                  </a:lnTo>
                  <a:lnTo>
                    <a:pt x="90" y="59"/>
                  </a:lnTo>
                  <a:lnTo>
                    <a:pt x="82" y="60"/>
                  </a:lnTo>
                  <a:lnTo>
                    <a:pt x="75" y="62"/>
                  </a:lnTo>
                  <a:lnTo>
                    <a:pt x="69" y="63"/>
                  </a:lnTo>
                  <a:lnTo>
                    <a:pt x="65" y="63"/>
                  </a:lnTo>
                  <a:lnTo>
                    <a:pt x="62" y="63"/>
                  </a:lnTo>
                  <a:lnTo>
                    <a:pt x="62" y="65"/>
                  </a:lnTo>
                  <a:lnTo>
                    <a:pt x="55" y="37"/>
                  </a:lnTo>
                  <a:lnTo>
                    <a:pt x="55" y="37"/>
                  </a:lnTo>
                  <a:lnTo>
                    <a:pt x="51" y="40"/>
                  </a:lnTo>
                  <a:lnTo>
                    <a:pt x="46" y="44"/>
                  </a:lnTo>
                  <a:lnTo>
                    <a:pt x="41" y="47"/>
                  </a:lnTo>
                  <a:lnTo>
                    <a:pt x="36" y="50"/>
                  </a:lnTo>
                  <a:lnTo>
                    <a:pt x="32" y="55"/>
                  </a:lnTo>
                  <a:lnTo>
                    <a:pt x="28" y="58"/>
                  </a:lnTo>
                  <a:lnTo>
                    <a:pt x="24" y="60"/>
                  </a:lnTo>
                  <a:lnTo>
                    <a:pt x="21" y="63"/>
                  </a:lnTo>
                  <a:lnTo>
                    <a:pt x="16" y="66"/>
                  </a:lnTo>
                  <a:lnTo>
                    <a:pt x="12" y="69"/>
                  </a:lnTo>
                  <a:lnTo>
                    <a:pt x="9" y="71"/>
                  </a:lnTo>
                  <a:lnTo>
                    <a:pt x="6" y="73"/>
                  </a:lnTo>
                  <a:lnTo>
                    <a:pt x="5" y="76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27" y="219"/>
                  </a:lnTo>
                  <a:lnTo>
                    <a:pt x="42" y="315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" name="Freeform 63"/>
            <p:cNvSpPr>
              <a:spLocks/>
            </p:cNvSpPr>
            <p:nvPr/>
          </p:nvSpPr>
          <p:spPr bwMode="auto">
            <a:xfrm>
              <a:off x="3357278" y="4198966"/>
              <a:ext cx="94039" cy="181941"/>
            </a:xfrm>
            <a:custGeom>
              <a:avLst/>
              <a:gdLst>
                <a:gd name="T0" fmla="*/ 61 w 140"/>
                <a:gd name="T1" fmla="*/ 267 h 271"/>
                <a:gd name="T2" fmla="*/ 56 w 140"/>
                <a:gd name="T3" fmla="*/ 251 h 271"/>
                <a:gd name="T4" fmla="*/ 53 w 140"/>
                <a:gd name="T5" fmla="*/ 231 h 271"/>
                <a:gd name="T6" fmla="*/ 49 w 140"/>
                <a:gd name="T7" fmla="*/ 210 h 271"/>
                <a:gd name="T8" fmla="*/ 46 w 140"/>
                <a:gd name="T9" fmla="*/ 195 h 271"/>
                <a:gd name="T10" fmla="*/ 41 w 140"/>
                <a:gd name="T11" fmla="*/ 183 h 271"/>
                <a:gd name="T12" fmla="*/ 35 w 140"/>
                <a:gd name="T13" fmla="*/ 177 h 271"/>
                <a:gd name="T14" fmla="*/ 31 w 140"/>
                <a:gd name="T15" fmla="*/ 183 h 271"/>
                <a:gd name="T16" fmla="*/ 21 w 140"/>
                <a:gd name="T17" fmla="*/ 138 h 271"/>
                <a:gd name="T18" fmla="*/ 0 w 140"/>
                <a:gd name="T19" fmla="*/ 33 h 271"/>
                <a:gd name="T20" fmla="*/ 133 w 140"/>
                <a:gd name="T21" fmla="*/ 8 h 271"/>
                <a:gd name="T22" fmla="*/ 134 w 140"/>
                <a:gd name="T23" fmla="*/ 12 h 271"/>
                <a:gd name="T24" fmla="*/ 134 w 140"/>
                <a:gd name="T25" fmla="*/ 21 h 271"/>
                <a:gd name="T26" fmla="*/ 130 w 140"/>
                <a:gd name="T27" fmla="*/ 30 h 271"/>
                <a:gd name="T28" fmla="*/ 133 w 140"/>
                <a:gd name="T29" fmla="*/ 33 h 271"/>
                <a:gd name="T30" fmla="*/ 137 w 140"/>
                <a:gd name="T31" fmla="*/ 42 h 271"/>
                <a:gd name="T32" fmla="*/ 139 w 140"/>
                <a:gd name="T33" fmla="*/ 53 h 271"/>
                <a:gd name="T34" fmla="*/ 134 w 140"/>
                <a:gd name="T35" fmla="*/ 66 h 271"/>
                <a:gd name="T36" fmla="*/ 120 w 140"/>
                <a:gd name="T37" fmla="*/ 78 h 271"/>
                <a:gd name="T38" fmla="*/ 120 w 140"/>
                <a:gd name="T39" fmla="*/ 80 h 271"/>
                <a:gd name="T40" fmla="*/ 114 w 140"/>
                <a:gd name="T41" fmla="*/ 86 h 271"/>
                <a:gd name="T42" fmla="*/ 115 w 140"/>
                <a:gd name="T43" fmla="*/ 92 h 271"/>
                <a:gd name="T44" fmla="*/ 115 w 140"/>
                <a:gd name="T45" fmla="*/ 104 h 271"/>
                <a:gd name="T46" fmla="*/ 115 w 140"/>
                <a:gd name="T47" fmla="*/ 119 h 271"/>
                <a:gd name="T48" fmla="*/ 114 w 140"/>
                <a:gd name="T49" fmla="*/ 135 h 271"/>
                <a:gd name="T50" fmla="*/ 111 w 140"/>
                <a:gd name="T51" fmla="*/ 146 h 271"/>
                <a:gd name="T52" fmla="*/ 110 w 140"/>
                <a:gd name="T53" fmla="*/ 155 h 271"/>
                <a:gd name="T54" fmla="*/ 109 w 140"/>
                <a:gd name="T55" fmla="*/ 160 h 271"/>
                <a:gd name="T56" fmla="*/ 106 w 140"/>
                <a:gd name="T57" fmla="*/ 176 h 271"/>
                <a:gd name="T58" fmla="*/ 110 w 140"/>
                <a:gd name="T59" fmla="*/ 193 h 271"/>
                <a:gd name="T60" fmla="*/ 111 w 140"/>
                <a:gd name="T61" fmla="*/ 199 h 271"/>
                <a:gd name="T62" fmla="*/ 111 w 140"/>
                <a:gd name="T63" fmla="*/ 207 h 271"/>
                <a:gd name="T64" fmla="*/ 111 w 140"/>
                <a:gd name="T65" fmla="*/ 210 h 271"/>
                <a:gd name="T66" fmla="*/ 114 w 140"/>
                <a:gd name="T67" fmla="*/ 218 h 271"/>
                <a:gd name="T68" fmla="*/ 114 w 140"/>
                <a:gd name="T69" fmla="*/ 228 h 271"/>
                <a:gd name="T70" fmla="*/ 111 w 140"/>
                <a:gd name="T71" fmla="*/ 234 h 271"/>
                <a:gd name="T72" fmla="*/ 111 w 140"/>
                <a:gd name="T73" fmla="*/ 245 h 271"/>
                <a:gd name="T74" fmla="*/ 118 w 140"/>
                <a:gd name="T75" fmla="*/ 255 h 271"/>
                <a:gd name="T76" fmla="*/ 112 w 140"/>
                <a:gd name="T77" fmla="*/ 256 h 271"/>
                <a:gd name="T78" fmla="*/ 100 w 140"/>
                <a:gd name="T79" fmla="*/ 259 h 271"/>
                <a:gd name="T80" fmla="*/ 84 w 140"/>
                <a:gd name="T81" fmla="*/ 264 h 271"/>
                <a:gd name="T82" fmla="*/ 70 w 140"/>
                <a:gd name="T83" fmla="*/ 267 h 271"/>
                <a:gd name="T84" fmla="*/ 61 w 140"/>
                <a:gd name="T85" fmla="*/ 268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271">
                  <a:moveTo>
                    <a:pt x="61" y="270"/>
                  </a:moveTo>
                  <a:lnTo>
                    <a:pt x="61" y="268"/>
                  </a:lnTo>
                  <a:lnTo>
                    <a:pt x="61" y="267"/>
                  </a:lnTo>
                  <a:lnTo>
                    <a:pt x="59" y="262"/>
                  </a:lnTo>
                  <a:lnTo>
                    <a:pt x="58" y="256"/>
                  </a:lnTo>
                  <a:lnTo>
                    <a:pt x="56" y="251"/>
                  </a:lnTo>
                  <a:lnTo>
                    <a:pt x="56" y="245"/>
                  </a:lnTo>
                  <a:lnTo>
                    <a:pt x="55" y="237"/>
                  </a:lnTo>
                  <a:lnTo>
                    <a:pt x="53" y="231"/>
                  </a:lnTo>
                  <a:lnTo>
                    <a:pt x="52" y="223"/>
                  </a:lnTo>
                  <a:lnTo>
                    <a:pt x="50" y="216"/>
                  </a:lnTo>
                  <a:lnTo>
                    <a:pt x="49" y="210"/>
                  </a:lnTo>
                  <a:lnTo>
                    <a:pt x="49" y="204"/>
                  </a:lnTo>
                  <a:lnTo>
                    <a:pt x="47" y="199"/>
                  </a:lnTo>
                  <a:lnTo>
                    <a:pt x="46" y="195"/>
                  </a:lnTo>
                  <a:lnTo>
                    <a:pt x="46" y="192"/>
                  </a:lnTo>
                  <a:lnTo>
                    <a:pt x="44" y="190"/>
                  </a:lnTo>
                  <a:lnTo>
                    <a:pt x="41" y="183"/>
                  </a:lnTo>
                  <a:lnTo>
                    <a:pt x="38" y="179"/>
                  </a:lnTo>
                  <a:lnTo>
                    <a:pt x="37" y="177"/>
                  </a:lnTo>
                  <a:lnTo>
                    <a:pt x="35" y="177"/>
                  </a:lnTo>
                  <a:lnTo>
                    <a:pt x="34" y="179"/>
                  </a:lnTo>
                  <a:lnTo>
                    <a:pt x="32" y="182"/>
                  </a:lnTo>
                  <a:lnTo>
                    <a:pt x="31" y="183"/>
                  </a:lnTo>
                  <a:lnTo>
                    <a:pt x="31" y="183"/>
                  </a:lnTo>
                  <a:lnTo>
                    <a:pt x="28" y="180"/>
                  </a:lnTo>
                  <a:lnTo>
                    <a:pt x="21" y="138"/>
                  </a:lnTo>
                  <a:lnTo>
                    <a:pt x="18" y="108"/>
                  </a:lnTo>
                  <a:lnTo>
                    <a:pt x="13" y="96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31" y="0"/>
                  </a:lnTo>
                  <a:lnTo>
                    <a:pt x="133" y="8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4" y="12"/>
                  </a:lnTo>
                  <a:lnTo>
                    <a:pt x="134" y="14"/>
                  </a:lnTo>
                  <a:lnTo>
                    <a:pt x="134" y="18"/>
                  </a:lnTo>
                  <a:lnTo>
                    <a:pt x="134" y="21"/>
                  </a:lnTo>
                  <a:lnTo>
                    <a:pt x="133" y="24"/>
                  </a:lnTo>
                  <a:lnTo>
                    <a:pt x="130" y="29"/>
                  </a:lnTo>
                  <a:lnTo>
                    <a:pt x="130" y="30"/>
                  </a:lnTo>
                  <a:lnTo>
                    <a:pt x="131" y="30"/>
                  </a:lnTo>
                  <a:lnTo>
                    <a:pt x="133" y="32"/>
                  </a:lnTo>
                  <a:lnTo>
                    <a:pt x="133" y="33"/>
                  </a:lnTo>
                  <a:lnTo>
                    <a:pt x="134" y="36"/>
                  </a:lnTo>
                  <a:lnTo>
                    <a:pt x="136" y="38"/>
                  </a:lnTo>
                  <a:lnTo>
                    <a:pt x="137" y="42"/>
                  </a:lnTo>
                  <a:lnTo>
                    <a:pt x="139" y="45"/>
                  </a:lnTo>
                  <a:lnTo>
                    <a:pt x="139" y="50"/>
                  </a:lnTo>
                  <a:lnTo>
                    <a:pt x="139" y="53"/>
                  </a:lnTo>
                  <a:lnTo>
                    <a:pt x="139" y="57"/>
                  </a:lnTo>
                  <a:lnTo>
                    <a:pt x="137" y="62"/>
                  </a:lnTo>
                  <a:lnTo>
                    <a:pt x="134" y="66"/>
                  </a:lnTo>
                  <a:lnTo>
                    <a:pt x="131" y="69"/>
                  </a:lnTo>
                  <a:lnTo>
                    <a:pt x="125" y="74"/>
                  </a:lnTo>
                  <a:lnTo>
                    <a:pt x="120" y="78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0" y="78"/>
                  </a:lnTo>
                  <a:lnTo>
                    <a:pt x="114" y="84"/>
                  </a:lnTo>
                  <a:lnTo>
                    <a:pt x="114" y="86"/>
                  </a:lnTo>
                  <a:lnTo>
                    <a:pt x="114" y="86"/>
                  </a:lnTo>
                  <a:lnTo>
                    <a:pt x="114" y="89"/>
                  </a:lnTo>
                  <a:lnTo>
                    <a:pt x="115" y="92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4"/>
                  </a:lnTo>
                  <a:lnTo>
                    <a:pt x="115" y="108"/>
                  </a:lnTo>
                  <a:lnTo>
                    <a:pt x="115" y="114"/>
                  </a:lnTo>
                  <a:lnTo>
                    <a:pt x="115" y="119"/>
                  </a:lnTo>
                  <a:lnTo>
                    <a:pt x="115" y="125"/>
                  </a:lnTo>
                  <a:lnTo>
                    <a:pt x="114" y="130"/>
                  </a:lnTo>
                  <a:lnTo>
                    <a:pt x="114" y="135"/>
                  </a:lnTo>
                  <a:lnTo>
                    <a:pt x="112" y="138"/>
                  </a:lnTo>
                  <a:lnTo>
                    <a:pt x="112" y="143"/>
                  </a:lnTo>
                  <a:lnTo>
                    <a:pt x="111" y="146"/>
                  </a:lnTo>
                  <a:lnTo>
                    <a:pt x="111" y="149"/>
                  </a:lnTo>
                  <a:lnTo>
                    <a:pt x="110" y="152"/>
                  </a:lnTo>
                  <a:lnTo>
                    <a:pt x="110" y="155"/>
                  </a:lnTo>
                  <a:lnTo>
                    <a:pt x="110" y="156"/>
                  </a:lnTo>
                  <a:lnTo>
                    <a:pt x="110" y="156"/>
                  </a:lnTo>
                  <a:lnTo>
                    <a:pt x="109" y="160"/>
                  </a:lnTo>
                  <a:lnTo>
                    <a:pt x="107" y="165"/>
                  </a:lnTo>
                  <a:lnTo>
                    <a:pt x="106" y="170"/>
                  </a:lnTo>
                  <a:lnTo>
                    <a:pt x="106" y="176"/>
                  </a:lnTo>
                  <a:lnTo>
                    <a:pt x="106" y="182"/>
                  </a:lnTo>
                  <a:lnTo>
                    <a:pt x="107" y="188"/>
                  </a:lnTo>
                  <a:lnTo>
                    <a:pt x="110" y="193"/>
                  </a:lnTo>
                  <a:lnTo>
                    <a:pt x="111" y="193"/>
                  </a:lnTo>
                  <a:lnTo>
                    <a:pt x="111" y="196"/>
                  </a:lnTo>
                  <a:lnTo>
                    <a:pt x="111" y="199"/>
                  </a:lnTo>
                  <a:lnTo>
                    <a:pt x="111" y="202"/>
                  </a:lnTo>
                  <a:lnTo>
                    <a:pt x="111" y="204"/>
                  </a:lnTo>
                  <a:lnTo>
                    <a:pt x="111" y="207"/>
                  </a:lnTo>
                  <a:lnTo>
                    <a:pt x="111" y="209"/>
                  </a:lnTo>
                  <a:lnTo>
                    <a:pt x="111" y="210"/>
                  </a:lnTo>
                  <a:lnTo>
                    <a:pt x="111" y="210"/>
                  </a:lnTo>
                  <a:lnTo>
                    <a:pt x="112" y="212"/>
                  </a:lnTo>
                  <a:lnTo>
                    <a:pt x="112" y="215"/>
                  </a:lnTo>
                  <a:lnTo>
                    <a:pt x="114" y="218"/>
                  </a:lnTo>
                  <a:lnTo>
                    <a:pt x="114" y="221"/>
                  </a:lnTo>
                  <a:lnTo>
                    <a:pt x="114" y="225"/>
                  </a:lnTo>
                  <a:lnTo>
                    <a:pt x="114" y="228"/>
                  </a:lnTo>
                  <a:lnTo>
                    <a:pt x="111" y="231"/>
                  </a:lnTo>
                  <a:lnTo>
                    <a:pt x="111" y="232"/>
                  </a:lnTo>
                  <a:lnTo>
                    <a:pt x="111" y="234"/>
                  </a:lnTo>
                  <a:lnTo>
                    <a:pt x="111" y="237"/>
                  </a:lnTo>
                  <a:lnTo>
                    <a:pt x="111" y="240"/>
                  </a:lnTo>
                  <a:lnTo>
                    <a:pt x="111" y="245"/>
                  </a:lnTo>
                  <a:lnTo>
                    <a:pt x="112" y="249"/>
                  </a:lnTo>
                  <a:lnTo>
                    <a:pt x="114" y="252"/>
                  </a:lnTo>
                  <a:lnTo>
                    <a:pt x="118" y="255"/>
                  </a:lnTo>
                  <a:lnTo>
                    <a:pt x="117" y="255"/>
                  </a:lnTo>
                  <a:lnTo>
                    <a:pt x="115" y="255"/>
                  </a:lnTo>
                  <a:lnTo>
                    <a:pt x="112" y="256"/>
                  </a:lnTo>
                  <a:lnTo>
                    <a:pt x="110" y="256"/>
                  </a:lnTo>
                  <a:lnTo>
                    <a:pt x="106" y="258"/>
                  </a:lnTo>
                  <a:lnTo>
                    <a:pt x="100" y="259"/>
                  </a:lnTo>
                  <a:lnTo>
                    <a:pt x="95" y="261"/>
                  </a:lnTo>
                  <a:lnTo>
                    <a:pt x="89" y="262"/>
                  </a:lnTo>
                  <a:lnTo>
                    <a:pt x="84" y="264"/>
                  </a:lnTo>
                  <a:lnTo>
                    <a:pt x="80" y="265"/>
                  </a:lnTo>
                  <a:lnTo>
                    <a:pt x="74" y="267"/>
                  </a:lnTo>
                  <a:lnTo>
                    <a:pt x="70" y="267"/>
                  </a:lnTo>
                  <a:lnTo>
                    <a:pt x="67" y="268"/>
                  </a:lnTo>
                  <a:lnTo>
                    <a:pt x="64" y="268"/>
                  </a:lnTo>
                  <a:lnTo>
                    <a:pt x="61" y="268"/>
                  </a:lnTo>
                  <a:lnTo>
                    <a:pt x="61" y="27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" name="Freeform 64"/>
            <p:cNvSpPr>
              <a:spLocks/>
            </p:cNvSpPr>
            <p:nvPr/>
          </p:nvSpPr>
          <p:spPr bwMode="auto">
            <a:xfrm>
              <a:off x="3357278" y="4198966"/>
              <a:ext cx="94039" cy="181941"/>
            </a:xfrm>
            <a:custGeom>
              <a:avLst/>
              <a:gdLst>
                <a:gd name="T0" fmla="*/ 61 w 140"/>
                <a:gd name="T1" fmla="*/ 268 h 271"/>
                <a:gd name="T2" fmla="*/ 58 w 140"/>
                <a:gd name="T3" fmla="*/ 256 h 271"/>
                <a:gd name="T4" fmla="*/ 55 w 140"/>
                <a:gd name="T5" fmla="*/ 237 h 271"/>
                <a:gd name="T6" fmla="*/ 50 w 140"/>
                <a:gd name="T7" fmla="*/ 216 h 271"/>
                <a:gd name="T8" fmla="*/ 47 w 140"/>
                <a:gd name="T9" fmla="*/ 199 h 271"/>
                <a:gd name="T10" fmla="*/ 44 w 140"/>
                <a:gd name="T11" fmla="*/ 190 h 271"/>
                <a:gd name="T12" fmla="*/ 38 w 140"/>
                <a:gd name="T13" fmla="*/ 179 h 271"/>
                <a:gd name="T14" fmla="*/ 34 w 140"/>
                <a:gd name="T15" fmla="*/ 179 h 271"/>
                <a:gd name="T16" fmla="*/ 31 w 140"/>
                <a:gd name="T17" fmla="*/ 183 h 271"/>
                <a:gd name="T18" fmla="*/ 18 w 140"/>
                <a:gd name="T19" fmla="*/ 108 h 271"/>
                <a:gd name="T20" fmla="*/ 0 w 140"/>
                <a:gd name="T21" fmla="*/ 33 h 271"/>
                <a:gd name="T22" fmla="*/ 133 w 140"/>
                <a:gd name="T23" fmla="*/ 8 h 271"/>
                <a:gd name="T24" fmla="*/ 134 w 140"/>
                <a:gd name="T25" fmla="*/ 12 h 271"/>
                <a:gd name="T26" fmla="*/ 134 w 140"/>
                <a:gd name="T27" fmla="*/ 21 h 271"/>
                <a:gd name="T28" fmla="*/ 130 w 140"/>
                <a:gd name="T29" fmla="*/ 29 h 271"/>
                <a:gd name="T30" fmla="*/ 133 w 140"/>
                <a:gd name="T31" fmla="*/ 32 h 271"/>
                <a:gd name="T32" fmla="*/ 136 w 140"/>
                <a:gd name="T33" fmla="*/ 38 h 271"/>
                <a:gd name="T34" fmla="*/ 139 w 140"/>
                <a:gd name="T35" fmla="*/ 50 h 271"/>
                <a:gd name="T36" fmla="*/ 137 w 140"/>
                <a:gd name="T37" fmla="*/ 62 h 271"/>
                <a:gd name="T38" fmla="*/ 125 w 140"/>
                <a:gd name="T39" fmla="*/ 74 h 271"/>
                <a:gd name="T40" fmla="*/ 120 w 140"/>
                <a:gd name="T41" fmla="*/ 80 h 271"/>
                <a:gd name="T42" fmla="*/ 120 w 140"/>
                <a:gd name="T43" fmla="*/ 78 h 271"/>
                <a:gd name="T44" fmla="*/ 114 w 140"/>
                <a:gd name="T45" fmla="*/ 86 h 271"/>
                <a:gd name="T46" fmla="*/ 115 w 140"/>
                <a:gd name="T47" fmla="*/ 92 h 271"/>
                <a:gd name="T48" fmla="*/ 115 w 140"/>
                <a:gd name="T49" fmla="*/ 104 h 271"/>
                <a:gd name="T50" fmla="*/ 115 w 140"/>
                <a:gd name="T51" fmla="*/ 119 h 271"/>
                <a:gd name="T52" fmla="*/ 114 w 140"/>
                <a:gd name="T53" fmla="*/ 135 h 271"/>
                <a:gd name="T54" fmla="*/ 111 w 140"/>
                <a:gd name="T55" fmla="*/ 146 h 271"/>
                <a:gd name="T56" fmla="*/ 110 w 140"/>
                <a:gd name="T57" fmla="*/ 152 h 271"/>
                <a:gd name="T58" fmla="*/ 110 w 140"/>
                <a:gd name="T59" fmla="*/ 156 h 271"/>
                <a:gd name="T60" fmla="*/ 107 w 140"/>
                <a:gd name="T61" fmla="*/ 165 h 271"/>
                <a:gd name="T62" fmla="*/ 106 w 140"/>
                <a:gd name="T63" fmla="*/ 182 h 271"/>
                <a:gd name="T64" fmla="*/ 110 w 140"/>
                <a:gd name="T65" fmla="*/ 193 h 271"/>
                <a:gd name="T66" fmla="*/ 111 w 140"/>
                <a:gd name="T67" fmla="*/ 199 h 271"/>
                <a:gd name="T68" fmla="*/ 111 w 140"/>
                <a:gd name="T69" fmla="*/ 207 h 271"/>
                <a:gd name="T70" fmla="*/ 111 w 140"/>
                <a:gd name="T71" fmla="*/ 210 h 271"/>
                <a:gd name="T72" fmla="*/ 112 w 140"/>
                <a:gd name="T73" fmla="*/ 215 h 271"/>
                <a:gd name="T74" fmla="*/ 114 w 140"/>
                <a:gd name="T75" fmla="*/ 225 h 271"/>
                <a:gd name="T76" fmla="*/ 111 w 140"/>
                <a:gd name="T77" fmla="*/ 231 h 271"/>
                <a:gd name="T78" fmla="*/ 111 w 140"/>
                <a:gd name="T79" fmla="*/ 237 h 271"/>
                <a:gd name="T80" fmla="*/ 112 w 140"/>
                <a:gd name="T81" fmla="*/ 249 h 271"/>
                <a:gd name="T82" fmla="*/ 118 w 140"/>
                <a:gd name="T83" fmla="*/ 255 h 271"/>
                <a:gd name="T84" fmla="*/ 112 w 140"/>
                <a:gd name="T85" fmla="*/ 256 h 271"/>
                <a:gd name="T86" fmla="*/ 100 w 140"/>
                <a:gd name="T87" fmla="*/ 259 h 271"/>
                <a:gd name="T88" fmla="*/ 84 w 140"/>
                <a:gd name="T89" fmla="*/ 264 h 271"/>
                <a:gd name="T90" fmla="*/ 70 w 140"/>
                <a:gd name="T91" fmla="*/ 267 h 271"/>
                <a:gd name="T92" fmla="*/ 61 w 140"/>
                <a:gd name="T93" fmla="*/ 268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0" h="271">
                  <a:moveTo>
                    <a:pt x="61" y="270"/>
                  </a:moveTo>
                  <a:lnTo>
                    <a:pt x="61" y="270"/>
                  </a:lnTo>
                  <a:lnTo>
                    <a:pt x="61" y="268"/>
                  </a:lnTo>
                  <a:lnTo>
                    <a:pt x="61" y="267"/>
                  </a:lnTo>
                  <a:lnTo>
                    <a:pt x="59" y="262"/>
                  </a:lnTo>
                  <a:lnTo>
                    <a:pt x="58" y="256"/>
                  </a:lnTo>
                  <a:lnTo>
                    <a:pt x="56" y="251"/>
                  </a:lnTo>
                  <a:lnTo>
                    <a:pt x="56" y="245"/>
                  </a:lnTo>
                  <a:lnTo>
                    <a:pt x="55" y="237"/>
                  </a:lnTo>
                  <a:lnTo>
                    <a:pt x="53" y="231"/>
                  </a:lnTo>
                  <a:lnTo>
                    <a:pt x="52" y="223"/>
                  </a:lnTo>
                  <a:lnTo>
                    <a:pt x="50" y="216"/>
                  </a:lnTo>
                  <a:lnTo>
                    <a:pt x="49" y="210"/>
                  </a:lnTo>
                  <a:lnTo>
                    <a:pt x="49" y="204"/>
                  </a:lnTo>
                  <a:lnTo>
                    <a:pt x="47" y="199"/>
                  </a:lnTo>
                  <a:lnTo>
                    <a:pt x="46" y="195"/>
                  </a:lnTo>
                  <a:lnTo>
                    <a:pt x="46" y="192"/>
                  </a:lnTo>
                  <a:lnTo>
                    <a:pt x="44" y="190"/>
                  </a:lnTo>
                  <a:lnTo>
                    <a:pt x="44" y="190"/>
                  </a:lnTo>
                  <a:lnTo>
                    <a:pt x="41" y="183"/>
                  </a:lnTo>
                  <a:lnTo>
                    <a:pt x="38" y="179"/>
                  </a:lnTo>
                  <a:lnTo>
                    <a:pt x="37" y="177"/>
                  </a:lnTo>
                  <a:lnTo>
                    <a:pt x="35" y="177"/>
                  </a:lnTo>
                  <a:lnTo>
                    <a:pt x="34" y="179"/>
                  </a:lnTo>
                  <a:lnTo>
                    <a:pt x="32" y="182"/>
                  </a:lnTo>
                  <a:lnTo>
                    <a:pt x="31" y="183"/>
                  </a:lnTo>
                  <a:lnTo>
                    <a:pt x="31" y="183"/>
                  </a:lnTo>
                  <a:lnTo>
                    <a:pt x="28" y="180"/>
                  </a:lnTo>
                  <a:lnTo>
                    <a:pt x="21" y="138"/>
                  </a:lnTo>
                  <a:lnTo>
                    <a:pt x="18" y="108"/>
                  </a:lnTo>
                  <a:lnTo>
                    <a:pt x="13" y="96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31" y="0"/>
                  </a:lnTo>
                  <a:lnTo>
                    <a:pt x="133" y="8"/>
                  </a:lnTo>
                  <a:lnTo>
                    <a:pt x="133" y="8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4" y="12"/>
                  </a:lnTo>
                  <a:lnTo>
                    <a:pt x="134" y="14"/>
                  </a:lnTo>
                  <a:lnTo>
                    <a:pt x="134" y="18"/>
                  </a:lnTo>
                  <a:lnTo>
                    <a:pt x="134" y="21"/>
                  </a:lnTo>
                  <a:lnTo>
                    <a:pt x="133" y="24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0" y="30"/>
                  </a:lnTo>
                  <a:lnTo>
                    <a:pt x="131" y="30"/>
                  </a:lnTo>
                  <a:lnTo>
                    <a:pt x="133" y="32"/>
                  </a:lnTo>
                  <a:lnTo>
                    <a:pt x="133" y="33"/>
                  </a:lnTo>
                  <a:lnTo>
                    <a:pt x="134" y="36"/>
                  </a:lnTo>
                  <a:lnTo>
                    <a:pt x="136" y="38"/>
                  </a:lnTo>
                  <a:lnTo>
                    <a:pt x="137" y="42"/>
                  </a:lnTo>
                  <a:lnTo>
                    <a:pt x="139" y="45"/>
                  </a:lnTo>
                  <a:lnTo>
                    <a:pt x="139" y="50"/>
                  </a:lnTo>
                  <a:lnTo>
                    <a:pt x="139" y="53"/>
                  </a:lnTo>
                  <a:lnTo>
                    <a:pt x="139" y="57"/>
                  </a:lnTo>
                  <a:lnTo>
                    <a:pt x="137" y="62"/>
                  </a:lnTo>
                  <a:lnTo>
                    <a:pt x="134" y="66"/>
                  </a:lnTo>
                  <a:lnTo>
                    <a:pt x="131" y="69"/>
                  </a:lnTo>
                  <a:lnTo>
                    <a:pt x="125" y="74"/>
                  </a:lnTo>
                  <a:lnTo>
                    <a:pt x="120" y="78"/>
                  </a:lnTo>
                  <a:lnTo>
                    <a:pt x="120" y="78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0" y="78"/>
                  </a:lnTo>
                  <a:lnTo>
                    <a:pt x="114" y="84"/>
                  </a:lnTo>
                  <a:lnTo>
                    <a:pt x="114" y="84"/>
                  </a:lnTo>
                  <a:lnTo>
                    <a:pt x="114" y="86"/>
                  </a:lnTo>
                  <a:lnTo>
                    <a:pt x="114" y="86"/>
                  </a:lnTo>
                  <a:lnTo>
                    <a:pt x="114" y="89"/>
                  </a:lnTo>
                  <a:lnTo>
                    <a:pt x="115" y="92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4"/>
                  </a:lnTo>
                  <a:lnTo>
                    <a:pt x="115" y="108"/>
                  </a:lnTo>
                  <a:lnTo>
                    <a:pt x="115" y="114"/>
                  </a:lnTo>
                  <a:lnTo>
                    <a:pt x="115" y="119"/>
                  </a:lnTo>
                  <a:lnTo>
                    <a:pt x="115" y="125"/>
                  </a:lnTo>
                  <a:lnTo>
                    <a:pt x="114" y="130"/>
                  </a:lnTo>
                  <a:lnTo>
                    <a:pt x="114" y="135"/>
                  </a:lnTo>
                  <a:lnTo>
                    <a:pt x="112" y="138"/>
                  </a:lnTo>
                  <a:lnTo>
                    <a:pt x="112" y="143"/>
                  </a:lnTo>
                  <a:lnTo>
                    <a:pt x="111" y="146"/>
                  </a:lnTo>
                  <a:lnTo>
                    <a:pt x="111" y="146"/>
                  </a:lnTo>
                  <a:lnTo>
                    <a:pt x="111" y="149"/>
                  </a:lnTo>
                  <a:lnTo>
                    <a:pt x="110" y="152"/>
                  </a:lnTo>
                  <a:lnTo>
                    <a:pt x="110" y="155"/>
                  </a:lnTo>
                  <a:lnTo>
                    <a:pt x="110" y="156"/>
                  </a:lnTo>
                  <a:lnTo>
                    <a:pt x="110" y="156"/>
                  </a:lnTo>
                  <a:lnTo>
                    <a:pt x="110" y="156"/>
                  </a:lnTo>
                  <a:lnTo>
                    <a:pt x="109" y="160"/>
                  </a:lnTo>
                  <a:lnTo>
                    <a:pt x="107" y="165"/>
                  </a:lnTo>
                  <a:lnTo>
                    <a:pt x="106" y="170"/>
                  </a:lnTo>
                  <a:lnTo>
                    <a:pt x="106" y="176"/>
                  </a:lnTo>
                  <a:lnTo>
                    <a:pt x="106" y="182"/>
                  </a:lnTo>
                  <a:lnTo>
                    <a:pt x="107" y="188"/>
                  </a:lnTo>
                  <a:lnTo>
                    <a:pt x="110" y="193"/>
                  </a:lnTo>
                  <a:lnTo>
                    <a:pt x="110" y="193"/>
                  </a:lnTo>
                  <a:lnTo>
                    <a:pt x="111" y="193"/>
                  </a:lnTo>
                  <a:lnTo>
                    <a:pt x="111" y="196"/>
                  </a:lnTo>
                  <a:lnTo>
                    <a:pt x="111" y="199"/>
                  </a:lnTo>
                  <a:lnTo>
                    <a:pt x="111" y="202"/>
                  </a:lnTo>
                  <a:lnTo>
                    <a:pt x="111" y="204"/>
                  </a:lnTo>
                  <a:lnTo>
                    <a:pt x="111" y="207"/>
                  </a:lnTo>
                  <a:lnTo>
                    <a:pt x="111" y="209"/>
                  </a:lnTo>
                  <a:lnTo>
                    <a:pt x="111" y="210"/>
                  </a:lnTo>
                  <a:lnTo>
                    <a:pt x="111" y="210"/>
                  </a:lnTo>
                  <a:lnTo>
                    <a:pt x="111" y="210"/>
                  </a:lnTo>
                  <a:lnTo>
                    <a:pt x="112" y="212"/>
                  </a:lnTo>
                  <a:lnTo>
                    <a:pt x="112" y="215"/>
                  </a:lnTo>
                  <a:lnTo>
                    <a:pt x="114" y="218"/>
                  </a:lnTo>
                  <a:lnTo>
                    <a:pt x="114" y="221"/>
                  </a:lnTo>
                  <a:lnTo>
                    <a:pt x="114" y="225"/>
                  </a:lnTo>
                  <a:lnTo>
                    <a:pt x="114" y="228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2"/>
                  </a:lnTo>
                  <a:lnTo>
                    <a:pt x="111" y="234"/>
                  </a:lnTo>
                  <a:lnTo>
                    <a:pt x="111" y="237"/>
                  </a:lnTo>
                  <a:lnTo>
                    <a:pt x="111" y="240"/>
                  </a:lnTo>
                  <a:lnTo>
                    <a:pt x="111" y="245"/>
                  </a:lnTo>
                  <a:lnTo>
                    <a:pt x="112" y="249"/>
                  </a:lnTo>
                  <a:lnTo>
                    <a:pt x="114" y="252"/>
                  </a:lnTo>
                  <a:lnTo>
                    <a:pt x="118" y="255"/>
                  </a:lnTo>
                  <a:lnTo>
                    <a:pt x="118" y="255"/>
                  </a:lnTo>
                  <a:lnTo>
                    <a:pt x="117" y="255"/>
                  </a:lnTo>
                  <a:lnTo>
                    <a:pt x="115" y="255"/>
                  </a:lnTo>
                  <a:lnTo>
                    <a:pt x="112" y="256"/>
                  </a:lnTo>
                  <a:lnTo>
                    <a:pt x="110" y="256"/>
                  </a:lnTo>
                  <a:lnTo>
                    <a:pt x="106" y="258"/>
                  </a:lnTo>
                  <a:lnTo>
                    <a:pt x="100" y="259"/>
                  </a:lnTo>
                  <a:lnTo>
                    <a:pt x="95" y="261"/>
                  </a:lnTo>
                  <a:lnTo>
                    <a:pt x="89" y="262"/>
                  </a:lnTo>
                  <a:lnTo>
                    <a:pt x="84" y="264"/>
                  </a:lnTo>
                  <a:lnTo>
                    <a:pt x="80" y="265"/>
                  </a:lnTo>
                  <a:lnTo>
                    <a:pt x="74" y="267"/>
                  </a:lnTo>
                  <a:lnTo>
                    <a:pt x="70" y="267"/>
                  </a:lnTo>
                  <a:lnTo>
                    <a:pt x="67" y="268"/>
                  </a:lnTo>
                  <a:lnTo>
                    <a:pt x="64" y="268"/>
                  </a:lnTo>
                  <a:lnTo>
                    <a:pt x="61" y="268"/>
                  </a:lnTo>
                  <a:lnTo>
                    <a:pt x="61" y="27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1" name="Freeform 73"/>
            <p:cNvSpPr>
              <a:spLocks/>
            </p:cNvSpPr>
            <p:nvPr/>
          </p:nvSpPr>
          <p:spPr bwMode="auto">
            <a:xfrm>
              <a:off x="2600746" y="4743548"/>
              <a:ext cx="411722" cy="211127"/>
            </a:xfrm>
            <a:custGeom>
              <a:avLst/>
              <a:gdLst>
                <a:gd name="T0" fmla="*/ 534 w 613"/>
                <a:gd name="T1" fmla="*/ 31 h 315"/>
                <a:gd name="T2" fmla="*/ 521 w 613"/>
                <a:gd name="T3" fmla="*/ 18 h 315"/>
                <a:gd name="T4" fmla="*/ 494 w 613"/>
                <a:gd name="T5" fmla="*/ 34 h 315"/>
                <a:gd name="T6" fmla="*/ 473 w 613"/>
                <a:gd name="T7" fmla="*/ 30 h 315"/>
                <a:gd name="T8" fmla="*/ 454 w 613"/>
                <a:gd name="T9" fmla="*/ 35 h 315"/>
                <a:gd name="T10" fmla="*/ 411 w 613"/>
                <a:gd name="T11" fmla="*/ 17 h 315"/>
                <a:gd name="T12" fmla="*/ 377 w 613"/>
                <a:gd name="T13" fmla="*/ 1 h 315"/>
                <a:gd name="T14" fmla="*/ 360 w 613"/>
                <a:gd name="T15" fmla="*/ 0 h 315"/>
                <a:gd name="T16" fmla="*/ 356 w 613"/>
                <a:gd name="T17" fmla="*/ 18 h 315"/>
                <a:gd name="T18" fmla="*/ 362 w 613"/>
                <a:gd name="T19" fmla="*/ 35 h 315"/>
                <a:gd name="T20" fmla="*/ 335 w 613"/>
                <a:gd name="T21" fmla="*/ 41 h 315"/>
                <a:gd name="T22" fmla="*/ 320 w 613"/>
                <a:gd name="T23" fmla="*/ 45 h 315"/>
                <a:gd name="T24" fmla="*/ 318 w 613"/>
                <a:gd name="T25" fmla="*/ 65 h 315"/>
                <a:gd name="T26" fmla="*/ 306 w 613"/>
                <a:gd name="T27" fmla="*/ 80 h 315"/>
                <a:gd name="T28" fmla="*/ 302 w 613"/>
                <a:gd name="T29" fmla="*/ 90 h 315"/>
                <a:gd name="T30" fmla="*/ 290 w 613"/>
                <a:gd name="T31" fmla="*/ 95 h 315"/>
                <a:gd name="T32" fmla="*/ 284 w 613"/>
                <a:gd name="T33" fmla="*/ 119 h 315"/>
                <a:gd name="T34" fmla="*/ 270 w 613"/>
                <a:gd name="T35" fmla="*/ 127 h 315"/>
                <a:gd name="T36" fmla="*/ 249 w 613"/>
                <a:gd name="T37" fmla="*/ 110 h 315"/>
                <a:gd name="T38" fmla="*/ 236 w 613"/>
                <a:gd name="T39" fmla="*/ 143 h 315"/>
                <a:gd name="T40" fmla="*/ 218 w 613"/>
                <a:gd name="T41" fmla="*/ 137 h 315"/>
                <a:gd name="T42" fmla="*/ 197 w 613"/>
                <a:gd name="T43" fmla="*/ 149 h 315"/>
                <a:gd name="T44" fmla="*/ 177 w 613"/>
                <a:gd name="T45" fmla="*/ 150 h 315"/>
                <a:gd name="T46" fmla="*/ 157 w 613"/>
                <a:gd name="T47" fmla="*/ 147 h 315"/>
                <a:gd name="T48" fmla="*/ 150 w 613"/>
                <a:gd name="T49" fmla="*/ 149 h 315"/>
                <a:gd name="T50" fmla="*/ 147 w 613"/>
                <a:gd name="T51" fmla="*/ 158 h 315"/>
                <a:gd name="T52" fmla="*/ 124 w 613"/>
                <a:gd name="T53" fmla="*/ 152 h 315"/>
                <a:gd name="T54" fmla="*/ 121 w 613"/>
                <a:gd name="T55" fmla="*/ 163 h 315"/>
                <a:gd name="T56" fmla="*/ 113 w 613"/>
                <a:gd name="T57" fmla="*/ 168 h 315"/>
                <a:gd name="T58" fmla="*/ 110 w 613"/>
                <a:gd name="T59" fmla="*/ 188 h 315"/>
                <a:gd name="T60" fmla="*/ 107 w 613"/>
                <a:gd name="T61" fmla="*/ 201 h 315"/>
                <a:gd name="T62" fmla="*/ 80 w 613"/>
                <a:gd name="T63" fmla="*/ 216 h 315"/>
                <a:gd name="T64" fmla="*/ 87 w 613"/>
                <a:gd name="T65" fmla="*/ 243 h 315"/>
                <a:gd name="T66" fmla="*/ 49 w 613"/>
                <a:gd name="T67" fmla="*/ 230 h 315"/>
                <a:gd name="T68" fmla="*/ 27 w 613"/>
                <a:gd name="T69" fmla="*/ 243 h 315"/>
                <a:gd name="T70" fmla="*/ 24 w 613"/>
                <a:gd name="T71" fmla="*/ 254 h 315"/>
                <a:gd name="T72" fmla="*/ 0 w 613"/>
                <a:gd name="T73" fmla="*/ 314 h 315"/>
                <a:gd name="T74" fmla="*/ 132 w 613"/>
                <a:gd name="T75" fmla="*/ 283 h 315"/>
                <a:gd name="T76" fmla="*/ 165 w 613"/>
                <a:gd name="T77" fmla="*/ 283 h 315"/>
                <a:gd name="T78" fmla="*/ 230 w 613"/>
                <a:gd name="T79" fmla="*/ 278 h 315"/>
                <a:gd name="T80" fmla="*/ 330 w 613"/>
                <a:gd name="T81" fmla="*/ 269 h 315"/>
                <a:gd name="T82" fmla="*/ 424 w 613"/>
                <a:gd name="T83" fmla="*/ 261 h 315"/>
                <a:gd name="T84" fmla="*/ 471 w 613"/>
                <a:gd name="T85" fmla="*/ 257 h 315"/>
                <a:gd name="T86" fmla="*/ 487 w 613"/>
                <a:gd name="T87" fmla="*/ 251 h 315"/>
                <a:gd name="T88" fmla="*/ 517 w 613"/>
                <a:gd name="T89" fmla="*/ 234 h 315"/>
                <a:gd name="T90" fmla="*/ 528 w 613"/>
                <a:gd name="T91" fmla="*/ 224 h 315"/>
                <a:gd name="T92" fmla="*/ 546 w 613"/>
                <a:gd name="T93" fmla="*/ 213 h 315"/>
                <a:gd name="T94" fmla="*/ 551 w 613"/>
                <a:gd name="T95" fmla="*/ 201 h 315"/>
                <a:gd name="T96" fmla="*/ 562 w 613"/>
                <a:gd name="T97" fmla="*/ 182 h 315"/>
                <a:gd name="T98" fmla="*/ 592 w 613"/>
                <a:gd name="T99" fmla="*/ 160 h 315"/>
                <a:gd name="T100" fmla="*/ 592 w 613"/>
                <a:gd name="T101" fmla="*/ 158 h 315"/>
                <a:gd name="T102" fmla="*/ 600 w 613"/>
                <a:gd name="T103" fmla="*/ 128 h 315"/>
                <a:gd name="T104" fmla="*/ 581 w 613"/>
                <a:gd name="T105" fmla="*/ 116 h 315"/>
                <a:gd name="T106" fmla="*/ 551 w 613"/>
                <a:gd name="T107" fmla="*/ 74 h 315"/>
                <a:gd name="T108" fmla="*/ 547 w 613"/>
                <a:gd name="T109" fmla="*/ 47 h 315"/>
                <a:gd name="T110" fmla="*/ 550 w 613"/>
                <a:gd name="T111" fmla="*/ 4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13" h="315">
                  <a:moveTo>
                    <a:pt x="550" y="44"/>
                  </a:moveTo>
                  <a:lnTo>
                    <a:pt x="548" y="42"/>
                  </a:lnTo>
                  <a:lnTo>
                    <a:pt x="547" y="41"/>
                  </a:lnTo>
                  <a:lnTo>
                    <a:pt x="545" y="38"/>
                  </a:lnTo>
                  <a:lnTo>
                    <a:pt x="542" y="35"/>
                  </a:lnTo>
                  <a:lnTo>
                    <a:pt x="537" y="32"/>
                  </a:lnTo>
                  <a:lnTo>
                    <a:pt x="534" y="31"/>
                  </a:lnTo>
                  <a:lnTo>
                    <a:pt x="530" y="31"/>
                  </a:lnTo>
                  <a:lnTo>
                    <a:pt x="527" y="34"/>
                  </a:lnTo>
                  <a:lnTo>
                    <a:pt x="526" y="32"/>
                  </a:lnTo>
                  <a:lnTo>
                    <a:pt x="526" y="30"/>
                  </a:lnTo>
                  <a:lnTo>
                    <a:pt x="526" y="26"/>
                  </a:lnTo>
                  <a:lnTo>
                    <a:pt x="524" y="21"/>
                  </a:lnTo>
                  <a:lnTo>
                    <a:pt x="521" y="18"/>
                  </a:lnTo>
                  <a:lnTo>
                    <a:pt x="517" y="17"/>
                  </a:lnTo>
                  <a:lnTo>
                    <a:pt x="512" y="20"/>
                  </a:lnTo>
                  <a:lnTo>
                    <a:pt x="503" y="27"/>
                  </a:lnTo>
                  <a:lnTo>
                    <a:pt x="501" y="29"/>
                  </a:lnTo>
                  <a:lnTo>
                    <a:pt x="500" y="30"/>
                  </a:lnTo>
                  <a:lnTo>
                    <a:pt x="497" y="32"/>
                  </a:lnTo>
                  <a:lnTo>
                    <a:pt x="494" y="34"/>
                  </a:lnTo>
                  <a:lnTo>
                    <a:pt x="490" y="35"/>
                  </a:lnTo>
                  <a:lnTo>
                    <a:pt x="485" y="37"/>
                  </a:lnTo>
                  <a:lnTo>
                    <a:pt x="480" y="34"/>
                  </a:lnTo>
                  <a:lnTo>
                    <a:pt x="476" y="31"/>
                  </a:lnTo>
                  <a:lnTo>
                    <a:pt x="474" y="30"/>
                  </a:lnTo>
                  <a:lnTo>
                    <a:pt x="474" y="30"/>
                  </a:lnTo>
                  <a:lnTo>
                    <a:pt x="473" y="30"/>
                  </a:lnTo>
                  <a:lnTo>
                    <a:pt x="471" y="29"/>
                  </a:lnTo>
                  <a:lnTo>
                    <a:pt x="468" y="30"/>
                  </a:lnTo>
                  <a:lnTo>
                    <a:pt x="465" y="30"/>
                  </a:lnTo>
                  <a:lnTo>
                    <a:pt x="462" y="32"/>
                  </a:lnTo>
                  <a:lnTo>
                    <a:pt x="458" y="37"/>
                  </a:lnTo>
                  <a:lnTo>
                    <a:pt x="457" y="37"/>
                  </a:lnTo>
                  <a:lnTo>
                    <a:pt x="454" y="35"/>
                  </a:lnTo>
                  <a:lnTo>
                    <a:pt x="451" y="35"/>
                  </a:lnTo>
                  <a:lnTo>
                    <a:pt x="450" y="35"/>
                  </a:lnTo>
                  <a:lnTo>
                    <a:pt x="438" y="26"/>
                  </a:lnTo>
                  <a:lnTo>
                    <a:pt x="413" y="24"/>
                  </a:lnTo>
                  <a:lnTo>
                    <a:pt x="413" y="23"/>
                  </a:lnTo>
                  <a:lnTo>
                    <a:pt x="413" y="20"/>
                  </a:lnTo>
                  <a:lnTo>
                    <a:pt x="411" y="17"/>
                  </a:lnTo>
                  <a:lnTo>
                    <a:pt x="410" y="12"/>
                  </a:lnTo>
                  <a:lnTo>
                    <a:pt x="405" y="8"/>
                  </a:lnTo>
                  <a:lnTo>
                    <a:pt x="399" y="4"/>
                  </a:lnTo>
                  <a:lnTo>
                    <a:pt x="390" y="2"/>
                  </a:lnTo>
                  <a:lnTo>
                    <a:pt x="381" y="1"/>
                  </a:lnTo>
                  <a:lnTo>
                    <a:pt x="380" y="1"/>
                  </a:lnTo>
                  <a:lnTo>
                    <a:pt x="377" y="1"/>
                  </a:lnTo>
                  <a:lnTo>
                    <a:pt x="374" y="1"/>
                  </a:lnTo>
                  <a:lnTo>
                    <a:pt x="369" y="1"/>
                  </a:lnTo>
                  <a:lnTo>
                    <a:pt x="365" y="1"/>
                  </a:lnTo>
                  <a:lnTo>
                    <a:pt x="362" y="1"/>
                  </a:lnTo>
                  <a:lnTo>
                    <a:pt x="360" y="1"/>
                  </a:lnTo>
                  <a:lnTo>
                    <a:pt x="359" y="1"/>
                  </a:lnTo>
                  <a:lnTo>
                    <a:pt x="360" y="0"/>
                  </a:lnTo>
                  <a:lnTo>
                    <a:pt x="359" y="0"/>
                  </a:lnTo>
                  <a:lnTo>
                    <a:pt x="359" y="1"/>
                  </a:lnTo>
                  <a:lnTo>
                    <a:pt x="357" y="2"/>
                  </a:lnTo>
                  <a:lnTo>
                    <a:pt x="357" y="5"/>
                  </a:lnTo>
                  <a:lnTo>
                    <a:pt x="356" y="9"/>
                  </a:lnTo>
                  <a:lnTo>
                    <a:pt x="356" y="14"/>
                  </a:lnTo>
                  <a:lnTo>
                    <a:pt x="356" y="18"/>
                  </a:lnTo>
                  <a:lnTo>
                    <a:pt x="357" y="24"/>
                  </a:lnTo>
                  <a:lnTo>
                    <a:pt x="359" y="26"/>
                  </a:lnTo>
                  <a:lnTo>
                    <a:pt x="360" y="27"/>
                  </a:lnTo>
                  <a:lnTo>
                    <a:pt x="362" y="30"/>
                  </a:lnTo>
                  <a:lnTo>
                    <a:pt x="363" y="31"/>
                  </a:lnTo>
                  <a:lnTo>
                    <a:pt x="363" y="34"/>
                  </a:lnTo>
                  <a:lnTo>
                    <a:pt x="362" y="35"/>
                  </a:lnTo>
                  <a:lnTo>
                    <a:pt x="356" y="37"/>
                  </a:lnTo>
                  <a:lnTo>
                    <a:pt x="350" y="38"/>
                  </a:lnTo>
                  <a:lnTo>
                    <a:pt x="348" y="38"/>
                  </a:lnTo>
                  <a:lnTo>
                    <a:pt x="345" y="38"/>
                  </a:lnTo>
                  <a:lnTo>
                    <a:pt x="342" y="39"/>
                  </a:lnTo>
                  <a:lnTo>
                    <a:pt x="338" y="41"/>
                  </a:lnTo>
                  <a:lnTo>
                    <a:pt x="335" y="41"/>
                  </a:lnTo>
                  <a:lnTo>
                    <a:pt x="332" y="42"/>
                  </a:lnTo>
                  <a:lnTo>
                    <a:pt x="330" y="42"/>
                  </a:lnTo>
                  <a:lnTo>
                    <a:pt x="330" y="42"/>
                  </a:lnTo>
                  <a:lnTo>
                    <a:pt x="329" y="42"/>
                  </a:lnTo>
                  <a:lnTo>
                    <a:pt x="326" y="42"/>
                  </a:lnTo>
                  <a:lnTo>
                    <a:pt x="323" y="44"/>
                  </a:lnTo>
                  <a:lnTo>
                    <a:pt x="320" y="45"/>
                  </a:lnTo>
                  <a:lnTo>
                    <a:pt x="317" y="47"/>
                  </a:lnTo>
                  <a:lnTo>
                    <a:pt x="314" y="51"/>
                  </a:lnTo>
                  <a:lnTo>
                    <a:pt x="315" y="56"/>
                  </a:lnTo>
                  <a:lnTo>
                    <a:pt x="318" y="62"/>
                  </a:lnTo>
                  <a:lnTo>
                    <a:pt x="318" y="64"/>
                  </a:lnTo>
                  <a:lnTo>
                    <a:pt x="318" y="64"/>
                  </a:lnTo>
                  <a:lnTo>
                    <a:pt x="318" y="65"/>
                  </a:lnTo>
                  <a:lnTo>
                    <a:pt x="317" y="67"/>
                  </a:lnTo>
                  <a:lnTo>
                    <a:pt x="315" y="70"/>
                  </a:lnTo>
                  <a:lnTo>
                    <a:pt x="314" y="71"/>
                  </a:lnTo>
                  <a:lnTo>
                    <a:pt x="311" y="74"/>
                  </a:lnTo>
                  <a:lnTo>
                    <a:pt x="308" y="77"/>
                  </a:lnTo>
                  <a:lnTo>
                    <a:pt x="308" y="78"/>
                  </a:lnTo>
                  <a:lnTo>
                    <a:pt x="306" y="80"/>
                  </a:lnTo>
                  <a:lnTo>
                    <a:pt x="305" y="81"/>
                  </a:lnTo>
                  <a:lnTo>
                    <a:pt x="305" y="84"/>
                  </a:lnTo>
                  <a:lnTo>
                    <a:pt x="303" y="86"/>
                  </a:lnTo>
                  <a:lnTo>
                    <a:pt x="302" y="89"/>
                  </a:lnTo>
                  <a:lnTo>
                    <a:pt x="302" y="90"/>
                  </a:lnTo>
                  <a:lnTo>
                    <a:pt x="302" y="90"/>
                  </a:lnTo>
                  <a:lnTo>
                    <a:pt x="302" y="90"/>
                  </a:lnTo>
                  <a:lnTo>
                    <a:pt x="302" y="92"/>
                  </a:lnTo>
                  <a:lnTo>
                    <a:pt x="300" y="92"/>
                  </a:lnTo>
                  <a:lnTo>
                    <a:pt x="300" y="93"/>
                  </a:lnTo>
                  <a:lnTo>
                    <a:pt x="299" y="94"/>
                  </a:lnTo>
                  <a:lnTo>
                    <a:pt x="297" y="94"/>
                  </a:lnTo>
                  <a:lnTo>
                    <a:pt x="294" y="95"/>
                  </a:lnTo>
                  <a:lnTo>
                    <a:pt x="290" y="95"/>
                  </a:lnTo>
                  <a:lnTo>
                    <a:pt x="290" y="95"/>
                  </a:lnTo>
                  <a:lnTo>
                    <a:pt x="289" y="98"/>
                  </a:lnTo>
                  <a:lnTo>
                    <a:pt x="288" y="102"/>
                  </a:lnTo>
                  <a:lnTo>
                    <a:pt x="287" y="107"/>
                  </a:lnTo>
                  <a:lnTo>
                    <a:pt x="285" y="113"/>
                  </a:lnTo>
                  <a:lnTo>
                    <a:pt x="284" y="116"/>
                  </a:lnTo>
                  <a:lnTo>
                    <a:pt x="284" y="119"/>
                  </a:lnTo>
                  <a:lnTo>
                    <a:pt x="284" y="120"/>
                  </a:lnTo>
                  <a:lnTo>
                    <a:pt x="284" y="122"/>
                  </a:lnTo>
                  <a:lnTo>
                    <a:pt x="282" y="123"/>
                  </a:lnTo>
                  <a:lnTo>
                    <a:pt x="281" y="125"/>
                  </a:lnTo>
                  <a:lnTo>
                    <a:pt x="279" y="125"/>
                  </a:lnTo>
                  <a:lnTo>
                    <a:pt x="275" y="127"/>
                  </a:lnTo>
                  <a:lnTo>
                    <a:pt x="270" y="127"/>
                  </a:lnTo>
                  <a:lnTo>
                    <a:pt x="263" y="125"/>
                  </a:lnTo>
                  <a:lnTo>
                    <a:pt x="255" y="122"/>
                  </a:lnTo>
                  <a:lnTo>
                    <a:pt x="255" y="120"/>
                  </a:lnTo>
                  <a:lnTo>
                    <a:pt x="255" y="117"/>
                  </a:lnTo>
                  <a:lnTo>
                    <a:pt x="253" y="114"/>
                  </a:lnTo>
                  <a:lnTo>
                    <a:pt x="252" y="111"/>
                  </a:lnTo>
                  <a:lnTo>
                    <a:pt x="249" y="110"/>
                  </a:lnTo>
                  <a:lnTo>
                    <a:pt x="246" y="110"/>
                  </a:lnTo>
                  <a:lnTo>
                    <a:pt x="243" y="116"/>
                  </a:lnTo>
                  <a:lnTo>
                    <a:pt x="239" y="125"/>
                  </a:lnTo>
                  <a:lnTo>
                    <a:pt x="239" y="127"/>
                  </a:lnTo>
                  <a:lnTo>
                    <a:pt x="237" y="131"/>
                  </a:lnTo>
                  <a:lnTo>
                    <a:pt x="237" y="137"/>
                  </a:lnTo>
                  <a:lnTo>
                    <a:pt x="236" y="143"/>
                  </a:lnTo>
                  <a:lnTo>
                    <a:pt x="233" y="146"/>
                  </a:lnTo>
                  <a:lnTo>
                    <a:pt x="230" y="149"/>
                  </a:lnTo>
                  <a:lnTo>
                    <a:pt x="225" y="147"/>
                  </a:lnTo>
                  <a:lnTo>
                    <a:pt x="219" y="141"/>
                  </a:lnTo>
                  <a:lnTo>
                    <a:pt x="218" y="140"/>
                  </a:lnTo>
                  <a:lnTo>
                    <a:pt x="218" y="138"/>
                  </a:lnTo>
                  <a:lnTo>
                    <a:pt x="218" y="137"/>
                  </a:lnTo>
                  <a:lnTo>
                    <a:pt x="216" y="134"/>
                  </a:lnTo>
                  <a:lnTo>
                    <a:pt x="215" y="134"/>
                  </a:lnTo>
                  <a:lnTo>
                    <a:pt x="210" y="134"/>
                  </a:lnTo>
                  <a:lnTo>
                    <a:pt x="206" y="138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7" y="149"/>
                  </a:lnTo>
                  <a:lnTo>
                    <a:pt x="195" y="152"/>
                  </a:lnTo>
                  <a:lnTo>
                    <a:pt x="194" y="155"/>
                  </a:lnTo>
                  <a:lnTo>
                    <a:pt x="192" y="157"/>
                  </a:lnTo>
                  <a:lnTo>
                    <a:pt x="187" y="157"/>
                  </a:lnTo>
                  <a:lnTo>
                    <a:pt x="183" y="156"/>
                  </a:lnTo>
                  <a:lnTo>
                    <a:pt x="177" y="152"/>
                  </a:lnTo>
                  <a:lnTo>
                    <a:pt x="177" y="150"/>
                  </a:lnTo>
                  <a:lnTo>
                    <a:pt x="176" y="149"/>
                  </a:lnTo>
                  <a:lnTo>
                    <a:pt x="173" y="147"/>
                  </a:lnTo>
                  <a:lnTo>
                    <a:pt x="170" y="146"/>
                  </a:lnTo>
                  <a:lnTo>
                    <a:pt x="167" y="144"/>
                  </a:lnTo>
                  <a:lnTo>
                    <a:pt x="164" y="144"/>
                  </a:lnTo>
                  <a:lnTo>
                    <a:pt x="160" y="144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6" y="146"/>
                  </a:lnTo>
                  <a:lnTo>
                    <a:pt x="154" y="144"/>
                  </a:lnTo>
                  <a:lnTo>
                    <a:pt x="153" y="144"/>
                  </a:lnTo>
                  <a:lnTo>
                    <a:pt x="151" y="144"/>
                  </a:lnTo>
                  <a:lnTo>
                    <a:pt x="150" y="144"/>
                  </a:lnTo>
                  <a:lnTo>
                    <a:pt x="150" y="149"/>
                  </a:lnTo>
                  <a:lnTo>
                    <a:pt x="150" y="153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6"/>
                  </a:lnTo>
                  <a:lnTo>
                    <a:pt x="149" y="157"/>
                  </a:lnTo>
                  <a:lnTo>
                    <a:pt x="149" y="158"/>
                  </a:lnTo>
                  <a:lnTo>
                    <a:pt x="147" y="158"/>
                  </a:lnTo>
                  <a:lnTo>
                    <a:pt x="144" y="157"/>
                  </a:lnTo>
                  <a:lnTo>
                    <a:pt x="141" y="155"/>
                  </a:lnTo>
                  <a:lnTo>
                    <a:pt x="140" y="155"/>
                  </a:lnTo>
                  <a:lnTo>
                    <a:pt x="135" y="153"/>
                  </a:lnTo>
                  <a:lnTo>
                    <a:pt x="131" y="152"/>
                  </a:lnTo>
                  <a:lnTo>
                    <a:pt x="127" y="152"/>
                  </a:lnTo>
                  <a:lnTo>
                    <a:pt x="124" y="152"/>
                  </a:lnTo>
                  <a:lnTo>
                    <a:pt x="121" y="152"/>
                  </a:lnTo>
                  <a:lnTo>
                    <a:pt x="121" y="155"/>
                  </a:lnTo>
                  <a:lnTo>
                    <a:pt x="124" y="157"/>
                  </a:lnTo>
                  <a:lnTo>
                    <a:pt x="124" y="158"/>
                  </a:lnTo>
                  <a:lnTo>
                    <a:pt x="123" y="158"/>
                  </a:lnTo>
                  <a:lnTo>
                    <a:pt x="123" y="161"/>
                  </a:lnTo>
                  <a:lnTo>
                    <a:pt x="121" y="163"/>
                  </a:lnTo>
                  <a:lnTo>
                    <a:pt x="120" y="163"/>
                  </a:lnTo>
                  <a:lnTo>
                    <a:pt x="118" y="164"/>
                  </a:lnTo>
                  <a:lnTo>
                    <a:pt x="117" y="164"/>
                  </a:lnTo>
                  <a:lnTo>
                    <a:pt x="114" y="164"/>
                  </a:lnTo>
                  <a:lnTo>
                    <a:pt x="114" y="165"/>
                  </a:lnTo>
                  <a:lnTo>
                    <a:pt x="114" y="167"/>
                  </a:lnTo>
                  <a:lnTo>
                    <a:pt x="113" y="168"/>
                  </a:lnTo>
                  <a:lnTo>
                    <a:pt x="113" y="170"/>
                  </a:lnTo>
                  <a:lnTo>
                    <a:pt x="111" y="173"/>
                  </a:lnTo>
                  <a:lnTo>
                    <a:pt x="110" y="174"/>
                  </a:lnTo>
                  <a:lnTo>
                    <a:pt x="108" y="176"/>
                  </a:lnTo>
                  <a:lnTo>
                    <a:pt x="108" y="177"/>
                  </a:lnTo>
                  <a:lnTo>
                    <a:pt x="107" y="185"/>
                  </a:lnTo>
                  <a:lnTo>
                    <a:pt x="110" y="188"/>
                  </a:lnTo>
                  <a:lnTo>
                    <a:pt x="111" y="190"/>
                  </a:lnTo>
                  <a:lnTo>
                    <a:pt x="113" y="191"/>
                  </a:lnTo>
                  <a:lnTo>
                    <a:pt x="113" y="193"/>
                  </a:lnTo>
                  <a:lnTo>
                    <a:pt x="114" y="196"/>
                  </a:lnTo>
                  <a:lnTo>
                    <a:pt x="114" y="198"/>
                  </a:lnTo>
                  <a:lnTo>
                    <a:pt x="113" y="200"/>
                  </a:lnTo>
                  <a:lnTo>
                    <a:pt x="107" y="201"/>
                  </a:lnTo>
                  <a:lnTo>
                    <a:pt x="99" y="203"/>
                  </a:lnTo>
                  <a:lnTo>
                    <a:pt x="98" y="203"/>
                  </a:lnTo>
                  <a:lnTo>
                    <a:pt x="94" y="203"/>
                  </a:lnTo>
                  <a:lnTo>
                    <a:pt x="90" y="206"/>
                  </a:lnTo>
                  <a:lnTo>
                    <a:pt x="85" y="207"/>
                  </a:lnTo>
                  <a:lnTo>
                    <a:pt x="81" y="212"/>
                  </a:lnTo>
                  <a:lnTo>
                    <a:pt x="80" y="216"/>
                  </a:lnTo>
                  <a:lnTo>
                    <a:pt x="80" y="223"/>
                  </a:lnTo>
                  <a:lnTo>
                    <a:pt x="84" y="230"/>
                  </a:lnTo>
                  <a:lnTo>
                    <a:pt x="84" y="231"/>
                  </a:lnTo>
                  <a:lnTo>
                    <a:pt x="87" y="234"/>
                  </a:lnTo>
                  <a:lnTo>
                    <a:pt x="87" y="237"/>
                  </a:lnTo>
                  <a:lnTo>
                    <a:pt x="88" y="240"/>
                  </a:lnTo>
                  <a:lnTo>
                    <a:pt x="87" y="243"/>
                  </a:lnTo>
                  <a:lnTo>
                    <a:pt x="82" y="245"/>
                  </a:lnTo>
                  <a:lnTo>
                    <a:pt x="74" y="243"/>
                  </a:lnTo>
                  <a:lnTo>
                    <a:pt x="63" y="239"/>
                  </a:lnTo>
                  <a:lnTo>
                    <a:pt x="60" y="237"/>
                  </a:lnTo>
                  <a:lnTo>
                    <a:pt x="57" y="234"/>
                  </a:lnTo>
                  <a:lnTo>
                    <a:pt x="54" y="233"/>
                  </a:lnTo>
                  <a:lnTo>
                    <a:pt x="49" y="230"/>
                  </a:lnTo>
                  <a:lnTo>
                    <a:pt x="45" y="230"/>
                  </a:lnTo>
                  <a:lnTo>
                    <a:pt x="41" y="230"/>
                  </a:lnTo>
                  <a:lnTo>
                    <a:pt x="36" y="233"/>
                  </a:lnTo>
                  <a:lnTo>
                    <a:pt x="31" y="239"/>
                  </a:lnTo>
                  <a:lnTo>
                    <a:pt x="31" y="240"/>
                  </a:lnTo>
                  <a:lnTo>
                    <a:pt x="30" y="242"/>
                  </a:lnTo>
                  <a:lnTo>
                    <a:pt x="27" y="243"/>
                  </a:lnTo>
                  <a:lnTo>
                    <a:pt x="25" y="245"/>
                  </a:lnTo>
                  <a:lnTo>
                    <a:pt x="22" y="248"/>
                  </a:lnTo>
                  <a:lnTo>
                    <a:pt x="21" y="249"/>
                  </a:lnTo>
                  <a:lnTo>
                    <a:pt x="21" y="251"/>
                  </a:lnTo>
                  <a:lnTo>
                    <a:pt x="19" y="251"/>
                  </a:lnTo>
                  <a:lnTo>
                    <a:pt x="21" y="251"/>
                  </a:lnTo>
                  <a:lnTo>
                    <a:pt x="24" y="254"/>
                  </a:lnTo>
                  <a:lnTo>
                    <a:pt x="27" y="256"/>
                  </a:lnTo>
                  <a:lnTo>
                    <a:pt x="28" y="257"/>
                  </a:lnTo>
                  <a:lnTo>
                    <a:pt x="35" y="263"/>
                  </a:lnTo>
                  <a:lnTo>
                    <a:pt x="31" y="270"/>
                  </a:lnTo>
                  <a:lnTo>
                    <a:pt x="31" y="300"/>
                  </a:lnTo>
                  <a:lnTo>
                    <a:pt x="15" y="302"/>
                  </a:lnTo>
                  <a:lnTo>
                    <a:pt x="0" y="314"/>
                  </a:lnTo>
                  <a:lnTo>
                    <a:pt x="0" y="312"/>
                  </a:lnTo>
                  <a:lnTo>
                    <a:pt x="124" y="302"/>
                  </a:lnTo>
                  <a:lnTo>
                    <a:pt x="124" y="282"/>
                  </a:lnTo>
                  <a:lnTo>
                    <a:pt x="124" y="282"/>
                  </a:lnTo>
                  <a:lnTo>
                    <a:pt x="126" y="283"/>
                  </a:lnTo>
                  <a:lnTo>
                    <a:pt x="128" y="283"/>
                  </a:lnTo>
                  <a:lnTo>
                    <a:pt x="132" y="283"/>
                  </a:lnTo>
                  <a:lnTo>
                    <a:pt x="138" y="283"/>
                  </a:lnTo>
                  <a:lnTo>
                    <a:pt x="144" y="284"/>
                  </a:lnTo>
                  <a:lnTo>
                    <a:pt x="150" y="284"/>
                  </a:lnTo>
                  <a:lnTo>
                    <a:pt x="157" y="284"/>
                  </a:lnTo>
                  <a:lnTo>
                    <a:pt x="159" y="284"/>
                  </a:lnTo>
                  <a:lnTo>
                    <a:pt x="161" y="284"/>
                  </a:lnTo>
                  <a:lnTo>
                    <a:pt x="165" y="283"/>
                  </a:lnTo>
                  <a:lnTo>
                    <a:pt x="171" y="283"/>
                  </a:lnTo>
                  <a:lnTo>
                    <a:pt x="179" y="282"/>
                  </a:lnTo>
                  <a:lnTo>
                    <a:pt x="187" y="282"/>
                  </a:lnTo>
                  <a:lnTo>
                    <a:pt x="195" y="281"/>
                  </a:lnTo>
                  <a:lnTo>
                    <a:pt x="207" y="281"/>
                  </a:lnTo>
                  <a:lnTo>
                    <a:pt x="219" y="279"/>
                  </a:lnTo>
                  <a:lnTo>
                    <a:pt x="230" y="278"/>
                  </a:lnTo>
                  <a:lnTo>
                    <a:pt x="243" y="278"/>
                  </a:lnTo>
                  <a:lnTo>
                    <a:pt x="257" y="276"/>
                  </a:lnTo>
                  <a:lnTo>
                    <a:pt x="272" y="275"/>
                  </a:lnTo>
                  <a:lnTo>
                    <a:pt x="287" y="273"/>
                  </a:lnTo>
                  <a:lnTo>
                    <a:pt x="300" y="272"/>
                  </a:lnTo>
                  <a:lnTo>
                    <a:pt x="315" y="270"/>
                  </a:lnTo>
                  <a:lnTo>
                    <a:pt x="330" y="269"/>
                  </a:lnTo>
                  <a:lnTo>
                    <a:pt x="345" y="269"/>
                  </a:lnTo>
                  <a:lnTo>
                    <a:pt x="359" y="267"/>
                  </a:lnTo>
                  <a:lnTo>
                    <a:pt x="372" y="266"/>
                  </a:lnTo>
                  <a:lnTo>
                    <a:pt x="386" y="264"/>
                  </a:lnTo>
                  <a:lnTo>
                    <a:pt x="399" y="263"/>
                  </a:lnTo>
                  <a:lnTo>
                    <a:pt x="413" y="261"/>
                  </a:lnTo>
                  <a:lnTo>
                    <a:pt x="424" y="261"/>
                  </a:lnTo>
                  <a:lnTo>
                    <a:pt x="434" y="260"/>
                  </a:lnTo>
                  <a:lnTo>
                    <a:pt x="444" y="259"/>
                  </a:lnTo>
                  <a:lnTo>
                    <a:pt x="452" y="259"/>
                  </a:lnTo>
                  <a:lnTo>
                    <a:pt x="459" y="259"/>
                  </a:lnTo>
                  <a:lnTo>
                    <a:pt x="464" y="257"/>
                  </a:lnTo>
                  <a:lnTo>
                    <a:pt x="468" y="257"/>
                  </a:lnTo>
                  <a:lnTo>
                    <a:pt x="471" y="257"/>
                  </a:lnTo>
                  <a:lnTo>
                    <a:pt x="473" y="257"/>
                  </a:lnTo>
                  <a:lnTo>
                    <a:pt x="473" y="257"/>
                  </a:lnTo>
                  <a:lnTo>
                    <a:pt x="474" y="256"/>
                  </a:lnTo>
                  <a:lnTo>
                    <a:pt x="477" y="254"/>
                  </a:lnTo>
                  <a:lnTo>
                    <a:pt x="480" y="253"/>
                  </a:lnTo>
                  <a:lnTo>
                    <a:pt x="483" y="251"/>
                  </a:lnTo>
                  <a:lnTo>
                    <a:pt x="487" y="251"/>
                  </a:lnTo>
                  <a:lnTo>
                    <a:pt x="491" y="248"/>
                  </a:lnTo>
                  <a:lnTo>
                    <a:pt x="495" y="246"/>
                  </a:lnTo>
                  <a:lnTo>
                    <a:pt x="500" y="243"/>
                  </a:lnTo>
                  <a:lnTo>
                    <a:pt x="504" y="242"/>
                  </a:lnTo>
                  <a:lnTo>
                    <a:pt x="509" y="239"/>
                  </a:lnTo>
                  <a:lnTo>
                    <a:pt x="513" y="237"/>
                  </a:lnTo>
                  <a:lnTo>
                    <a:pt x="517" y="234"/>
                  </a:lnTo>
                  <a:lnTo>
                    <a:pt x="520" y="233"/>
                  </a:lnTo>
                  <a:lnTo>
                    <a:pt x="523" y="231"/>
                  </a:lnTo>
                  <a:lnTo>
                    <a:pt x="524" y="231"/>
                  </a:lnTo>
                  <a:lnTo>
                    <a:pt x="526" y="230"/>
                  </a:lnTo>
                  <a:lnTo>
                    <a:pt x="526" y="228"/>
                  </a:lnTo>
                  <a:lnTo>
                    <a:pt x="527" y="227"/>
                  </a:lnTo>
                  <a:lnTo>
                    <a:pt x="528" y="224"/>
                  </a:lnTo>
                  <a:lnTo>
                    <a:pt x="530" y="223"/>
                  </a:lnTo>
                  <a:lnTo>
                    <a:pt x="533" y="220"/>
                  </a:lnTo>
                  <a:lnTo>
                    <a:pt x="537" y="219"/>
                  </a:lnTo>
                  <a:lnTo>
                    <a:pt x="542" y="216"/>
                  </a:lnTo>
                  <a:lnTo>
                    <a:pt x="545" y="216"/>
                  </a:lnTo>
                  <a:lnTo>
                    <a:pt x="545" y="215"/>
                  </a:lnTo>
                  <a:lnTo>
                    <a:pt x="546" y="213"/>
                  </a:lnTo>
                  <a:lnTo>
                    <a:pt x="547" y="213"/>
                  </a:lnTo>
                  <a:lnTo>
                    <a:pt x="547" y="210"/>
                  </a:lnTo>
                  <a:lnTo>
                    <a:pt x="547" y="209"/>
                  </a:lnTo>
                  <a:lnTo>
                    <a:pt x="548" y="207"/>
                  </a:lnTo>
                  <a:lnTo>
                    <a:pt x="548" y="206"/>
                  </a:lnTo>
                  <a:lnTo>
                    <a:pt x="550" y="203"/>
                  </a:lnTo>
                  <a:lnTo>
                    <a:pt x="551" y="201"/>
                  </a:lnTo>
                  <a:lnTo>
                    <a:pt x="553" y="200"/>
                  </a:lnTo>
                  <a:lnTo>
                    <a:pt x="554" y="198"/>
                  </a:lnTo>
                  <a:lnTo>
                    <a:pt x="556" y="196"/>
                  </a:lnTo>
                  <a:lnTo>
                    <a:pt x="557" y="193"/>
                  </a:lnTo>
                  <a:lnTo>
                    <a:pt x="559" y="190"/>
                  </a:lnTo>
                  <a:lnTo>
                    <a:pt x="560" y="188"/>
                  </a:lnTo>
                  <a:lnTo>
                    <a:pt x="562" y="182"/>
                  </a:lnTo>
                  <a:lnTo>
                    <a:pt x="564" y="179"/>
                  </a:lnTo>
                  <a:lnTo>
                    <a:pt x="569" y="176"/>
                  </a:lnTo>
                  <a:lnTo>
                    <a:pt x="573" y="173"/>
                  </a:lnTo>
                  <a:lnTo>
                    <a:pt x="579" y="170"/>
                  </a:lnTo>
                  <a:lnTo>
                    <a:pt x="583" y="167"/>
                  </a:lnTo>
                  <a:lnTo>
                    <a:pt x="587" y="164"/>
                  </a:lnTo>
                  <a:lnTo>
                    <a:pt x="592" y="160"/>
                  </a:lnTo>
                  <a:lnTo>
                    <a:pt x="593" y="156"/>
                  </a:lnTo>
                  <a:lnTo>
                    <a:pt x="595" y="155"/>
                  </a:lnTo>
                  <a:lnTo>
                    <a:pt x="596" y="155"/>
                  </a:lnTo>
                  <a:lnTo>
                    <a:pt x="595" y="156"/>
                  </a:lnTo>
                  <a:lnTo>
                    <a:pt x="593" y="157"/>
                  </a:lnTo>
                  <a:lnTo>
                    <a:pt x="593" y="158"/>
                  </a:lnTo>
                  <a:lnTo>
                    <a:pt x="592" y="158"/>
                  </a:lnTo>
                  <a:lnTo>
                    <a:pt x="592" y="160"/>
                  </a:lnTo>
                  <a:lnTo>
                    <a:pt x="612" y="133"/>
                  </a:lnTo>
                  <a:lnTo>
                    <a:pt x="602" y="133"/>
                  </a:lnTo>
                  <a:lnTo>
                    <a:pt x="602" y="133"/>
                  </a:lnTo>
                  <a:lnTo>
                    <a:pt x="602" y="131"/>
                  </a:lnTo>
                  <a:lnTo>
                    <a:pt x="600" y="130"/>
                  </a:lnTo>
                  <a:lnTo>
                    <a:pt x="600" y="128"/>
                  </a:lnTo>
                  <a:lnTo>
                    <a:pt x="599" y="127"/>
                  </a:lnTo>
                  <a:lnTo>
                    <a:pt x="596" y="127"/>
                  </a:lnTo>
                  <a:lnTo>
                    <a:pt x="593" y="125"/>
                  </a:lnTo>
                  <a:lnTo>
                    <a:pt x="589" y="125"/>
                  </a:lnTo>
                  <a:lnTo>
                    <a:pt x="589" y="125"/>
                  </a:lnTo>
                  <a:lnTo>
                    <a:pt x="586" y="120"/>
                  </a:lnTo>
                  <a:lnTo>
                    <a:pt x="581" y="116"/>
                  </a:lnTo>
                  <a:lnTo>
                    <a:pt x="578" y="108"/>
                  </a:lnTo>
                  <a:lnTo>
                    <a:pt x="572" y="101"/>
                  </a:lnTo>
                  <a:lnTo>
                    <a:pt x="566" y="93"/>
                  </a:lnTo>
                  <a:lnTo>
                    <a:pt x="559" y="86"/>
                  </a:lnTo>
                  <a:lnTo>
                    <a:pt x="551" y="77"/>
                  </a:lnTo>
                  <a:lnTo>
                    <a:pt x="551" y="77"/>
                  </a:lnTo>
                  <a:lnTo>
                    <a:pt x="551" y="74"/>
                  </a:lnTo>
                  <a:lnTo>
                    <a:pt x="551" y="71"/>
                  </a:lnTo>
                  <a:lnTo>
                    <a:pt x="553" y="67"/>
                  </a:lnTo>
                  <a:lnTo>
                    <a:pt x="553" y="64"/>
                  </a:lnTo>
                  <a:lnTo>
                    <a:pt x="553" y="60"/>
                  </a:lnTo>
                  <a:lnTo>
                    <a:pt x="551" y="54"/>
                  </a:lnTo>
                  <a:lnTo>
                    <a:pt x="550" y="50"/>
                  </a:lnTo>
                  <a:lnTo>
                    <a:pt x="547" y="47"/>
                  </a:lnTo>
                  <a:lnTo>
                    <a:pt x="547" y="44"/>
                  </a:lnTo>
                  <a:lnTo>
                    <a:pt x="547" y="42"/>
                  </a:lnTo>
                  <a:lnTo>
                    <a:pt x="547" y="42"/>
                  </a:lnTo>
                  <a:lnTo>
                    <a:pt x="548" y="42"/>
                  </a:lnTo>
                  <a:lnTo>
                    <a:pt x="548" y="44"/>
                  </a:lnTo>
                  <a:lnTo>
                    <a:pt x="548" y="44"/>
                  </a:lnTo>
                  <a:lnTo>
                    <a:pt x="550" y="4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2" name="Freeform 74"/>
            <p:cNvSpPr>
              <a:spLocks/>
            </p:cNvSpPr>
            <p:nvPr/>
          </p:nvSpPr>
          <p:spPr bwMode="auto">
            <a:xfrm>
              <a:off x="2600746" y="4743548"/>
              <a:ext cx="411722" cy="211127"/>
            </a:xfrm>
            <a:custGeom>
              <a:avLst/>
              <a:gdLst>
                <a:gd name="T0" fmla="*/ 537 w 613"/>
                <a:gd name="T1" fmla="*/ 32 h 315"/>
                <a:gd name="T2" fmla="*/ 526 w 613"/>
                <a:gd name="T3" fmla="*/ 26 h 315"/>
                <a:gd name="T4" fmla="*/ 501 w 613"/>
                <a:gd name="T5" fmla="*/ 29 h 315"/>
                <a:gd name="T6" fmla="*/ 476 w 613"/>
                <a:gd name="T7" fmla="*/ 31 h 315"/>
                <a:gd name="T8" fmla="*/ 465 w 613"/>
                <a:gd name="T9" fmla="*/ 30 h 315"/>
                <a:gd name="T10" fmla="*/ 450 w 613"/>
                <a:gd name="T11" fmla="*/ 35 h 315"/>
                <a:gd name="T12" fmla="*/ 410 w 613"/>
                <a:gd name="T13" fmla="*/ 12 h 315"/>
                <a:gd name="T14" fmla="*/ 377 w 613"/>
                <a:gd name="T15" fmla="*/ 1 h 315"/>
                <a:gd name="T16" fmla="*/ 360 w 613"/>
                <a:gd name="T17" fmla="*/ 0 h 315"/>
                <a:gd name="T18" fmla="*/ 356 w 613"/>
                <a:gd name="T19" fmla="*/ 14 h 315"/>
                <a:gd name="T20" fmla="*/ 363 w 613"/>
                <a:gd name="T21" fmla="*/ 31 h 315"/>
                <a:gd name="T22" fmla="*/ 345 w 613"/>
                <a:gd name="T23" fmla="*/ 38 h 315"/>
                <a:gd name="T24" fmla="*/ 330 w 613"/>
                <a:gd name="T25" fmla="*/ 42 h 315"/>
                <a:gd name="T26" fmla="*/ 315 w 613"/>
                <a:gd name="T27" fmla="*/ 56 h 315"/>
                <a:gd name="T28" fmla="*/ 315 w 613"/>
                <a:gd name="T29" fmla="*/ 70 h 315"/>
                <a:gd name="T30" fmla="*/ 305 w 613"/>
                <a:gd name="T31" fmla="*/ 81 h 315"/>
                <a:gd name="T32" fmla="*/ 302 w 613"/>
                <a:gd name="T33" fmla="*/ 90 h 315"/>
                <a:gd name="T34" fmla="*/ 290 w 613"/>
                <a:gd name="T35" fmla="*/ 95 h 315"/>
                <a:gd name="T36" fmla="*/ 284 w 613"/>
                <a:gd name="T37" fmla="*/ 116 h 315"/>
                <a:gd name="T38" fmla="*/ 279 w 613"/>
                <a:gd name="T39" fmla="*/ 125 h 315"/>
                <a:gd name="T40" fmla="*/ 255 w 613"/>
                <a:gd name="T41" fmla="*/ 117 h 315"/>
                <a:gd name="T42" fmla="*/ 239 w 613"/>
                <a:gd name="T43" fmla="*/ 125 h 315"/>
                <a:gd name="T44" fmla="*/ 225 w 613"/>
                <a:gd name="T45" fmla="*/ 147 h 315"/>
                <a:gd name="T46" fmla="*/ 215 w 613"/>
                <a:gd name="T47" fmla="*/ 134 h 315"/>
                <a:gd name="T48" fmla="*/ 195 w 613"/>
                <a:gd name="T49" fmla="*/ 152 h 315"/>
                <a:gd name="T50" fmla="*/ 177 w 613"/>
                <a:gd name="T51" fmla="*/ 150 h 315"/>
                <a:gd name="T52" fmla="*/ 157 w 613"/>
                <a:gd name="T53" fmla="*/ 147 h 315"/>
                <a:gd name="T54" fmla="*/ 150 w 613"/>
                <a:gd name="T55" fmla="*/ 144 h 315"/>
                <a:gd name="T56" fmla="*/ 149 w 613"/>
                <a:gd name="T57" fmla="*/ 157 h 315"/>
                <a:gd name="T58" fmla="*/ 135 w 613"/>
                <a:gd name="T59" fmla="*/ 153 h 315"/>
                <a:gd name="T60" fmla="*/ 124 w 613"/>
                <a:gd name="T61" fmla="*/ 157 h 315"/>
                <a:gd name="T62" fmla="*/ 117 w 613"/>
                <a:gd name="T63" fmla="*/ 164 h 315"/>
                <a:gd name="T64" fmla="*/ 111 w 613"/>
                <a:gd name="T65" fmla="*/ 173 h 315"/>
                <a:gd name="T66" fmla="*/ 111 w 613"/>
                <a:gd name="T67" fmla="*/ 190 h 315"/>
                <a:gd name="T68" fmla="*/ 99 w 613"/>
                <a:gd name="T69" fmla="*/ 203 h 315"/>
                <a:gd name="T70" fmla="*/ 80 w 613"/>
                <a:gd name="T71" fmla="*/ 216 h 315"/>
                <a:gd name="T72" fmla="*/ 88 w 613"/>
                <a:gd name="T73" fmla="*/ 240 h 315"/>
                <a:gd name="T74" fmla="*/ 57 w 613"/>
                <a:gd name="T75" fmla="*/ 234 h 315"/>
                <a:gd name="T76" fmla="*/ 31 w 613"/>
                <a:gd name="T77" fmla="*/ 239 h 315"/>
                <a:gd name="T78" fmla="*/ 21 w 613"/>
                <a:gd name="T79" fmla="*/ 251 h 315"/>
                <a:gd name="T80" fmla="*/ 35 w 613"/>
                <a:gd name="T81" fmla="*/ 263 h 315"/>
                <a:gd name="T82" fmla="*/ 124 w 613"/>
                <a:gd name="T83" fmla="*/ 282 h 315"/>
                <a:gd name="T84" fmla="*/ 144 w 613"/>
                <a:gd name="T85" fmla="*/ 284 h 315"/>
                <a:gd name="T86" fmla="*/ 171 w 613"/>
                <a:gd name="T87" fmla="*/ 283 h 315"/>
                <a:gd name="T88" fmla="*/ 243 w 613"/>
                <a:gd name="T89" fmla="*/ 278 h 315"/>
                <a:gd name="T90" fmla="*/ 345 w 613"/>
                <a:gd name="T91" fmla="*/ 269 h 315"/>
                <a:gd name="T92" fmla="*/ 434 w 613"/>
                <a:gd name="T93" fmla="*/ 260 h 315"/>
                <a:gd name="T94" fmla="*/ 473 w 613"/>
                <a:gd name="T95" fmla="*/ 257 h 315"/>
                <a:gd name="T96" fmla="*/ 487 w 613"/>
                <a:gd name="T97" fmla="*/ 251 h 315"/>
                <a:gd name="T98" fmla="*/ 517 w 613"/>
                <a:gd name="T99" fmla="*/ 234 h 315"/>
                <a:gd name="T100" fmla="*/ 527 w 613"/>
                <a:gd name="T101" fmla="*/ 227 h 315"/>
                <a:gd name="T102" fmla="*/ 545 w 613"/>
                <a:gd name="T103" fmla="*/ 216 h 315"/>
                <a:gd name="T104" fmla="*/ 548 w 613"/>
                <a:gd name="T105" fmla="*/ 206 h 315"/>
                <a:gd name="T106" fmla="*/ 557 w 613"/>
                <a:gd name="T107" fmla="*/ 193 h 315"/>
                <a:gd name="T108" fmla="*/ 573 w 613"/>
                <a:gd name="T109" fmla="*/ 173 h 315"/>
                <a:gd name="T110" fmla="*/ 595 w 613"/>
                <a:gd name="T111" fmla="*/ 155 h 315"/>
                <a:gd name="T112" fmla="*/ 612 w 613"/>
                <a:gd name="T113" fmla="*/ 133 h 315"/>
                <a:gd name="T114" fmla="*/ 599 w 613"/>
                <a:gd name="T115" fmla="*/ 127 h 315"/>
                <a:gd name="T116" fmla="*/ 581 w 613"/>
                <a:gd name="T117" fmla="*/ 116 h 315"/>
                <a:gd name="T118" fmla="*/ 551 w 613"/>
                <a:gd name="T119" fmla="*/ 77 h 315"/>
                <a:gd name="T120" fmla="*/ 550 w 613"/>
                <a:gd name="T121" fmla="*/ 50 h 315"/>
                <a:gd name="T122" fmla="*/ 548 w 613"/>
                <a:gd name="T123" fmla="*/ 4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3" h="315">
                  <a:moveTo>
                    <a:pt x="550" y="44"/>
                  </a:moveTo>
                  <a:lnTo>
                    <a:pt x="550" y="44"/>
                  </a:lnTo>
                  <a:lnTo>
                    <a:pt x="548" y="42"/>
                  </a:lnTo>
                  <a:lnTo>
                    <a:pt x="547" y="41"/>
                  </a:lnTo>
                  <a:lnTo>
                    <a:pt x="545" y="38"/>
                  </a:lnTo>
                  <a:lnTo>
                    <a:pt x="542" y="35"/>
                  </a:lnTo>
                  <a:lnTo>
                    <a:pt x="537" y="32"/>
                  </a:lnTo>
                  <a:lnTo>
                    <a:pt x="534" y="31"/>
                  </a:lnTo>
                  <a:lnTo>
                    <a:pt x="530" y="31"/>
                  </a:lnTo>
                  <a:lnTo>
                    <a:pt x="527" y="34"/>
                  </a:lnTo>
                  <a:lnTo>
                    <a:pt x="527" y="34"/>
                  </a:lnTo>
                  <a:lnTo>
                    <a:pt x="526" y="32"/>
                  </a:lnTo>
                  <a:lnTo>
                    <a:pt x="526" y="30"/>
                  </a:lnTo>
                  <a:lnTo>
                    <a:pt x="526" y="26"/>
                  </a:lnTo>
                  <a:lnTo>
                    <a:pt x="524" y="21"/>
                  </a:lnTo>
                  <a:lnTo>
                    <a:pt x="521" y="18"/>
                  </a:lnTo>
                  <a:lnTo>
                    <a:pt x="517" y="17"/>
                  </a:lnTo>
                  <a:lnTo>
                    <a:pt x="512" y="20"/>
                  </a:lnTo>
                  <a:lnTo>
                    <a:pt x="503" y="27"/>
                  </a:lnTo>
                  <a:lnTo>
                    <a:pt x="503" y="27"/>
                  </a:lnTo>
                  <a:lnTo>
                    <a:pt x="501" y="29"/>
                  </a:lnTo>
                  <a:lnTo>
                    <a:pt x="500" y="30"/>
                  </a:lnTo>
                  <a:lnTo>
                    <a:pt x="497" y="32"/>
                  </a:lnTo>
                  <a:lnTo>
                    <a:pt x="494" y="34"/>
                  </a:lnTo>
                  <a:lnTo>
                    <a:pt x="490" y="35"/>
                  </a:lnTo>
                  <a:lnTo>
                    <a:pt x="485" y="37"/>
                  </a:lnTo>
                  <a:lnTo>
                    <a:pt x="480" y="34"/>
                  </a:lnTo>
                  <a:lnTo>
                    <a:pt x="476" y="31"/>
                  </a:lnTo>
                  <a:lnTo>
                    <a:pt x="476" y="31"/>
                  </a:lnTo>
                  <a:lnTo>
                    <a:pt x="474" y="30"/>
                  </a:lnTo>
                  <a:lnTo>
                    <a:pt x="474" y="30"/>
                  </a:lnTo>
                  <a:lnTo>
                    <a:pt x="473" y="30"/>
                  </a:lnTo>
                  <a:lnTo>
                    <a:pt x="471" y="29"/>
                  </a:lnTo>
                  <a:lnTo>
                    <a:pt x="468" y="30"/>
                  </a:lnTo>
                  <a:lnTo>
                    <a:pt x="465" y="30"/>
                  </a:lnTo>
                  <a:lnTo>
                    <a:pt x="462" y="32"/>
                  </a:lnTo>
                  <a:lnTo>
                    <a:pt x="458" y="37"/>
                  </a:lnTo>
                  <a:lnTo>
                    <a:pt x="458" y="37"/>
                  </a:lnTo>
                  <a:lnTo>
                    <a:pt x="457" y="37"/>
                  </a:lnTo>
                  <a:lnTo>
                    <a:pt x="454" y="35"/>
                  </a:lnTo>
                  <a:lnTo>
                    <a:pt x="451" y="35"/>
                  </a:lnTo>
                  <a:lnTo>
                    <a:pt x="450" y="35"/>
                  </a:lnTo>
                  <a:lnTo>
                    <a:pt x="438" y="26"/>
                  </a:lnTo>
                  <a:lnTo>
                    <a:pt x="413" y="24"/>
                  </a:lnTo>
                  <a:lnTo>
                    <a:pt x="413" y="24"/>
                  </a:lnTo>
                  <a:lnTo>
                    <a:pt x="413" y="23"/>
                  </a:lnTo>
                  <a:lnTo>
                    <a:pt x="413" y="20"/>
                  </a:lnTo>
                  <a:lnTo>
                    <a:pt x="411" y="17"/>
                  </a:lnTo>
                  <a:lnTo>
                    <a:pt x="410" y="12"/>
                  </a:lnTo>
                  <a:lnTo>
                    <a:pt x="405" y="8"/>
                  </a:lnTo>
                  <a:lnTo>
                    <a:pt x="399" y="4"/>
                  </a:lnTo>
                  <a:lnTo>
                    <a:pt x="390" y="2"/>
                  </a:lnTo>
                  <a:lnTo>
                    <a:pt x="381" y="1"/>
                  </a:lnTo>
                  <a:lnTo>
                    <a:pt x="381" y="1"/>
                  </a:lnTo>
                  <a:lnTo>
                    <a:pt x="380" y="1"/>
                  </a:lnTo>
                  <a:lnTo>
                    <a:pt x="377" y="1"/>
                  </a:lnTo>
                  <a:lnTo>
                    <a:pt x="374" y="1"/>
                  </a:lnTo>
                  <a:lnTo>
                    <a:pt x="369" y="1"/>
                  </a:lnTo>
                  <a:lnTo>
                    <a:pt x="365" y="1"/>
                  </a:lnTo>
                  <a:lnTo>
                    <a:pt x="362" y="1"/>
                  </a:lnTo>
                  <a:lnTo>
                    <a:pt x="360" y="1"/>
                  </a:lnTo>
                  <a:lnTo>
                    <a:pt x="359" y="1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59" y="0"/>
                  </a:lnTo>
                  <a:lnTo>
                    <a:pt x="359" y="1"/>
                  </a:lnTo>
                  <a:lnTo>
                    <a:pt x="357" y="2"/>
                  </a:lnTo>
                  <a:lnTo>
                    <a:pt x="357" y="5"/>
                  </a:lnTo>
                  <a:lnTo>
                    <a:pt x="356" y="9"/>
                  </a:lnTo>
                  <a:lnTo>
                    <a:pt x="356" y="14"/>
                  </a:lnTo>
                  <a:lnTo>
                    <a:pt x="356" y="18"/>
                  </a:lnTo>
                  <a:lnTo>
                    <a:pt x="357" y="24"/>
                  </a:lnTo>
                  <a:lnTo>
                    <a:pt x="357" y="24"/>
                  </a:lnTo>
                  <a:lnTo>
                    <a:pt x="359" y="26"/>
                  </a:lnTo>
                  <a:lnTo>
                    <a:pt x="360" y="27"/>
                  </a:lnTo>
                  <a:lnTo>
                    <a:pt x="362" y="30"/>
                  </a:lnTo>
                  <a:lnTo>
                    <a:pt x="363" y="31"/>
                  </a:lnTo>
                  <a:lnTo>
                    <a:pt x="363" y="34"/>
                  </a:lnTo>
                  <a:lnTo>
                    <a:pt x="362" y="35"/>
                  </a:lnTo>
                  <a:lnTo>
                    <a:pt x="356" y="37"/>
                  </a:lnTo>
                  <a:lnTo>
                    <a:pt x="350" y="38"/>
                  </a:lnTo>
                  <a:lnTo>
                    <a:pt x="350" y="38"/>
                  </a:lnTo>
                  <a:lnTo>
                    <a:pt x="348" y="38"/>
                  </a:lnTo>
                  <a:lnTo>
                    <a:pt x="345" y="38"/>
                  </a:lnTo>
                  <a:lnTo>
                    <a:pt x="342" y="39"/>
                  </a:lnTo>
                  <a:lnTo>
                    <a:pt x="338" y="41"/>
                  </a:lnTo>
                  <a:lnTo>
                    <a:pt x="335" y="41"/>
                  </a:lnTo>
                  <a:lnTo>
                    <a:pt x="332" y="42"/>
                  </a:lnTo>
                  <a:lnTo>
                    <a:pt x="330" y="42"/>
                  </a:lnTo>
                  <a:lnTo>
                    <a:pt x="330" y="42"/>
                  </a:lnTo>
                  <a:lnTo>
                    <a:pt x="330" y="42"/>
                  </a:lnTo>
                  <a:lnTo>
                    <a:pt x="329" y="42"/>
                  </a:lnTo>
                  <a:lnTo>
                    <a:pt x="326" y="42"/>
                  </a:lnTo>
                  <a:lnTo>
                    <a:pt x="323" y="44"/>
                  </a:lnTo>
                  <a:lnTo>
                    <a:pt x="320" y="45"/>
                  </a:lnTo>
                  <a:lnTo>
                    <a:pt x="317" y="47"/>
                  </a:lnTo>
                  <a:lnTo>
                    <a:pt x="314" y="51"/>
                  </a:lnTo>
                  <a:lnTo>
                    <a:pt x="315" y="56"/>
                  </a:lnTo>
                  <a:lnTo>
                    <a:pt x="318" y="62"/>
                  </a:lnTo>
                  <a:lnTo>
                    <a:pt x="318" y="62"/>
                  </a:lnTo>
                  <a:lnTo>
                    <a:pt x="318" y="64"/>
                  </a:lnTo>
                  <a:lnTo>
                    <a:pt x="318" y="64"/>
                  </a:lnTo>
                  <a:lnTo>
                    <a:pt x="318" y="65"/>
                  </a:lnTo>
                  <a:lnTo>
                    <a:pt x="317" y="67"/>
                  </a:lnTo>
                  <a:lnTo>
                    <a:pt x="315" y="70"/>
                  </a:lnTo>
                  <a:lnTo>
                    <a:pt x="314" y="71"/>
                  </a:lnTo>
                  <a:lnTo>
                    <a:pt x="311" y="74"/>
                  </a:lnTo>
                  <a:lnTo>
                    <a:pt x="308" y="77"/>
                  </a:lnTo>
                  <a:lnTo>
                    <a:pt x="308" y="77"/>
                  </a:lnTo>
                  <a:lnTo>
                    <a:pt x="308" y="78"/>
                  </a:lnTo>
                  <a:lnTo>
                    <a:pt x="306" y="80"/>
                  </a:lnTo>
                  <a:lnTo>
                    <a:pt x="305" y="81"/>
                  </a:lnTo>
                  <a:lnTo>
                    <a:pt x="305" y="84"/>
                  </a:lnTo>
                  <a:lnTo>
                    <a:pt x="303" y="86"/>
                  </a:lnTo>
                  <a:lnTo>
                    <a:pt x="302" y="89"/>
                  </a:lnTo>
                  <a:lnTo>
                    <a:pt x="302" y="90"/>
                  </a:lnTo>
                  <a:lnTo>
                    <a:pt x="302" y="90"/>
                  </a:lnTo>
                  <a:lnTo>
                    <a:pt x="302" y="90"/>
                  </a:lnTo>
                  <a:lnTo>
                    <a:pt x="302" y="90"/>
                  </a:lnTo>
                  <a:lnTo>
                    <a:pt x="302" y="92"/>
                  </a:lnTo>
                  <a:lnTo>
                    <a:pt x="300" y="92"/>
                  </a:lnTo>
                  <a:lnTo>
                    <a:pt x="300" y="93"/>
                  </a:lnTo>
                  <a:lnTo>
                    <a:pt x="299" y="94"/>
                  </a:lnTo>
                  <a:lnTo>
                    <a:pt x="297" y="94"/>
                  </a:lnTo>
                  <a:lnTo>
                    <a:pt x="294" y="95"/>
                  </a:lnTo>
                  <a:lnTo>
                    <a:pt x="290" y="95"/>
                  </a:lnTo>
                  <a:lnTo>
                    <a:pt x="290" y="95"/>
                  </a:lnTo>
                  <a:lnTo>
                    <a:pt x="290" y="95"/>
                  </a:lnTo>
                  <a:lnTo>
                    <a:pt x="289" y="98"/>
                  </a:lnTo>
                  <a:lnTo>
                    <a:pt x="288" y="102"/>
                  </a:lnTo>
                  <a:lnTo>
                    <a:pt x="287" y="107"/>
                  </a:lnTo>
                  <a:lnTo>
                    <a:pt x="285" y="113"/>
                  </a:lnTo>
                  <a:lnTo>
                    <a:pt x="284" y="116"/>
                  </a:lnTo>
                  <a:lnTo>
                    <a:pt x="284" y="119"/>
                  </a:lnTo>
                  <a:lnTo>
                    <a:pt x="284" y="120"/>
                  </a:lnTo>
                  <a:lnTo>
                    <a:pt x="284" y="120"/>
                  </a:lnTo>
                  <a:lnTo>
                    <a:pt x="284" y="122"/>
                  </a:lnTo>
                  <a:lnTo>
                    <a:pt x="282" y="123"/>
                  </a:lnTo>
                  <a:lnTo>
                    <a:pt x="281" y="125"/>
                  </a:lnTo>
                  <a:lnTo>
                    <a:pt x="279" y="125"/>
                  </a:lnTo>
                  <a:lnTo>
                    <a:pt x="275" y="127"/>
                  </a:lnTo>
                  <a:lnTo>
                    <a:pt x="270" y="127"/>
                  </a:lnTo>
                  <a:lnTo>
                    <a:pt x="263" y="125"/>
                  </a:lnTo>
                  <a:lnTo>
                    <a:pt x="255" y="122"/>
                  </a:lnTo>
                  <a:lnTo>
                    <a:pt x="255" y="122"/>
                  </a:lnTo>
                  <a:lnTo>
                    <a:pt x="255" y="120"/>
                  </a:lnTo>
                  <a:lnTo>
                    <a:pt x="255" y="117"/>
                  </a:lnTo>
                  <a:lnTo>
                    <a:pt x="253" y="114"/>
                  </a:lnTo>
                  <a:lnTo>
                    <a:pt x="252" y="111"/>
                  </a:lnTo>
                  <a:lnTo>
                    <a:pt x="249" y="110"/>
                  </a:lnTo>
                  <a:lnTo>
                    <a:pt x="246" y="110"/>
                  </a:lnTo>
                  <a:lnTo>
                    <a:pt x="243" y="116"/>
                  </a:lnTo>
                  <a:lnTo>
                    <a:pt x="239" y="125"/>
                  </a:lnTo>
                  <a:lnTo>
                    <a:pt x="239" y="125"/>
                  </a:lnTo>
                  <a:lnTo>
                    <a:pt x="239" y="127"/>
                  </a:lnTo>
                  <a:lnTo>
                    <a:pt x="237" y="131"/>
                  </a:lnTo>
                  <a:lnTo>
                    <a:pt x="237" y="137"/>
                  </a:lnTo>
                  <a:lnTo>
                    <a:pt x="236" y="143"/>
                  </a:lnTo>
                  <a:lnTo>
                    <a:pt x="233" y="146"/>
                  </a:lnTo>
                  <a:lnTo>
                    <a:pt x="230" y="149"/>
                  </a:lnTo>
                  <a:lnTo>
                    <a:pt x="225" y="147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8" y="140"/>
                  </a:lnTo>
                  <a:lnTo>
                    <a:pt x="218" y="138"/>
                  </a:lnTo>
                  <a:lnTo>
                    <a:pt x="218" y="137"/>
                  </a:lnTo>
                  <a:lnTo>
                    <a:pt x="216" y="134"/>
                  </a:lnTo>
                  <a:lnTo>
                    <a:pt x="215" y="134"/>
                  </a:lnTo>
                  <a:lnTo>
                    <a:pt x="210" y="134"/>
                  </a:lnTo>
                  <a:lnTo>
                    <a:pt x="206" y="138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7" y="149"/>
                  </a:lnTo>
                  <a:lnTo>
                    <a:pt x="195" y="152"/>
                  </a:lnTo>
                  <a:lnTo>
                    <a:pt x="194" y="155"/>
                  </a:lnTo>
                  <a:lnTo>
                    <a:pt x="192" y="157"/>
                  </a:lnTo>
                  <a:lnTo>
                    <a:pt x="187" y="157"/>
                  </a:lnTo>
                  <a:lnTo>
                    <a:pt x="183" y="156"/>
                  </a:lnTo>
                  <a:lnTo>
                    <a:pt x="177" y="152"/>
                  </a:lnTo>
                  <a:lnTo>
                    <a:pt x="177" y="152"/>
                  </a:lnTo>
                  <a:lnTo>
                    <a:pt x="177" y="150"/>
                  </a:lnTo>
                  <a:lnTo>
                    <a:pt x="176" y="149"/>
                  </a:lnTo>
                  <a:lnTo>
                    <a:pt x="173" y="147"/>
                  </a:lnTo>
                  <a:lnTo>
                    <a:pt x="170" y="146"/>
                  </a:lnTo>
                  <a:lnTo>
                    <a:pt x="167" y="144"/>
                  </a:lnTo>
                  <a:lnTo>
                    <a:pt x="164" y="144"/>
                  </a:lnTo>
                  <a:lnTo>
                    <a:pt x="160" y="144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6" y="146"/>
                  </a:lnTo>
                  <a:lnTo>
                    <a:pt x="154" y="144"/>
                  </a:lnTo>
                  <a:lnTo>
                    <a:pt x="153" y="144"/>
                  </a:lnTo>
                  <a:lnTo>
                    <a:pt x="151" y="144"/>
                  </a:lnTo>
                  <a:lnTo>
                    <a:pt x="150" y="144"/>
                  </a:lnTo>
                  <a:lnTo>
                    <a:pt x="150" y="149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6"/>
                  </a:lnTo>
                  <a:lnTo>
                    <a:pt x="149" y="157"/>
                  </a:lnTo>
                  <a:lnTo>
                    <a:pt x="149" y="158"/>
                  </a:lnTo>
                  <a:lnTo>
                    <a:pt x="147" y="158"/>
                  </a:lnTo>
                  <a:lnTo>
                    <a:pt x="144" y="157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0" y="155"/>
                  </a:lnTo>
                  <a:lnTo>
                    <a:pt x="135" y="153"/>
                  </a:lnTo>
                  <a:lnTo>
                    <a:pt x="131" y="152"/>
                  </a:lnTo>
                  <a:lnTo>
                    <a:pt x="127" y="152"/>
                  </a:lnTo>
                  <a:lnTo>
                    <a:pt x="124" y="152"/>
                  </a:lnTo>
                  <a:lnTo>
                    <a:pt x="121" y="152"/>
                  </a:lnTo>
                  <a:lnTo>
                    <a:pt x="121" y="155"/>
                  </a:lnTo>
                  <a:lnTo>
                    <a:pt x="124" y="157"/>
                  </a:lnTo>
                  <a:lnTo>
                    <a:pt x="124" y="157"/>
                  </a:lnTo>
                  <a:lnTo>
                    <a:pt x="124" y="158"/>
                  </a:lnTo>
                  <a:lnTo>
                    <a:pt x="123" y="158"/>
                  </a:lnTo>
                  <a:lnTo>
                    <a:pt x="123" y="161"/>
                  </a:lnTo>
                  <a:lnTo>
                    <a:pt x="121" y="163"/>
                  </a:lnTo>
                  <a:lnTo>
                    <a:pt x="120" y="163"/>
                  </a:lnTo>
                  <a:lnTo>
                    <a:pt x="118" y="164"/>
                  </a:lnTo>
                  <a:lnTo>
                    <a:pt x="117" y="164"/>
                  </a:lnTo>
                  <a:lnTo>
                    <a:pt x="114" y="164"/>
                  </a:lnTo>
                  <a:lnTo>
                    <a:pt x="114" y="164"/>
                  </a:lnTo>
                  <a:lnTo>
                    <a:pt x="114" y="165"/>
                  </a:lnTo>
                  <a:lnTo>
                    <a:pt x="114" y="167"/>
                  </a:lnTo>
                  <a:lnTo>
                    <a:pt x="113" y="168"/>
                  </a:lnTo>
                  <a:lnTo>
                    <a:pt x="113" y="170"/>
                  </a:lnTo>
                  <a:lnTo>
                    <a:pt x="111" y="173"/>
                  </a:lnTo>
                  <a:lnTo>
                    <a:pt x="110" y="174"/>
                  </a:lnTo>
                  <a:lnTo>
                    <a:pt x="108" y="176"/>
                  </a:lnTo>
                  <a:lnTo>
                    <a:pt x="108" y="177"/>
                  </a:lnTo>
                  <a:lnTo>
                    <a:pt x="107" y="185"/>
                  </a:lnTo>
                  <a:lnTo>
                    <a:pt x="110" y="188"/>
                  </a:lnTo>
                  <a:lnTo>
                    <a:pt x="110" y="188"/>
                  </a:lnTo>
                  <a:lnTo>
                    <a:pt x="111" y="190"/>
                  </a:lnTo>
                  <a:lnTo>
                    <a:pt x="113" y="191"/>
                  </a:lnTo>
                  <a:lnTo>
                    <a:pt x="113" y="193"/>
                  </a:lnTo>
                  <a:lnTo>
                    <a:pt x="114" y="196"/>
                  </a:lnTo>
                  <a:lnTo>
                    <a:pt x="114" y="198"/>
                  </a:lnTo>
                  <a:lnTo>
                    <a:pt x="113" y="200"/>
                  </a:lnTo>
                  <a:lnTo>
                    <a:pt x="107" y="201"/>
                  </a:lnTo>
                  <a:lnTo>
                    <a:pt x="99" y="203"/>
                  </a:lnTo>
                  <a:lnTo>
                    <a:pt x="99" y="203"/>
                  </a:lnTo>
                  <a:lnTo>
                    <a:pt x="98" y="203"/>
                  </a:lnTo>
                  <a:lnTo>
                    <a:pt x="94" y="203"/>
                  </a:lnTo>
                  <a:lnTo>
                    <a:pt x="90" y="206"/>
                  </a:lnTo>
                  <a:lnTo>
                    <a:pt x="85" y="207"/>
                  </a:lnTo>
                  <a:lnTo>
                    <a:pt x="81" y="212"/>
                  </a:lnTo>
                  <a:lnTo>
                    <a:pt x="80" y="216"/>
                  </a:lnTo>
                  <a:lnTo>
                    <a:pt x="80" y="223"/>
                  </a:lnTo>
                  <a:lnTo>
                    <a:pt x="84" y="230"/>
                  </a:lnTo>
                  <a:lnTo>
                    <a:pt x="84" y="230"/>
                  </a:lnTo>
                  <a:lnTo>
                    <a:pt x="84" y="231"/>
                  </a:lnTo>
                  <a:lnTo>
                    <a:pt x="87" y="234"/>
                  </a:lnTo>
                  <a:lnTo>
                    <a:pt x="87" y="237"/>
                  </a:lnTo>
                  <a:lnTo>
                    <a:pt x="88" y="240"/>
                  </a:lnTo>
                  <a:lnTo>
                    <a:pt x="87" y="243"/>
                  </a:lnTo>
                  <a:lnTo>
                    <a:pt x="82" y="245"/>
                  </a:lnTo>
                  <a:lnTo>
                    <a:pt x="74" y="243"/>
                  </a:lnTo>
                  <a:lnTo>
                    <a:pt x="63" y="239"/>
                  </a:lnTo>
                  <a:lnTo>
                    <a:pt x="63" y="239"/>
                  </a:lnTo>
                  <a:lnTo>
                    <a:pt x="60" y="237"/>
                  </a:lnTo>
                  <a:lnTo>
                    <a:pt x="57" y="234"/>
                  </a:lnTo>
                  <a:lnTo>
                    <a:pt x="54" y="233"/>
                  </a:lnTo>
                  <a:lnTo>
                    <a:pt x="49" y="230"/>
                  </a:lnTo>
                  <a:lnTo>
                    <a:pt x="45" y="230"/>
                  </a:lnTo>
                  <a:lnTo>
                    <a:pt x="41" y="230"/>
                  </a:lnTo>
                  <a:lnTo>
                    <a:pt x="36" y="233"/>
                  </a:lnTo>
                  <a:lnTo>
                    <a:pt x="31" y="239"/>
                  </a:lnTo>
                  <a:lnTo>
                    <a:pt x="31" y="239"/>
                  </a:lnTo>
                  <a:lnTo>
                    <a:pt x="31" y="240"/>
                  </a:lnTo>
                  <a:lnTo>
                    <a:pt x="30" y="242"/>
                  </a:lnTo>
                  <a:lnTo>
                    <a:pt x="27" y="243"/>
                  </a:lnTo>
                  <a:lnTo>
                    <a:pt x="25" y="245"/>
                  </a:lnTo>
                  <a:lnTo>
                    <a:pt x="22" y="248"/>
                  </a:lnTo>
                  <a:lnTo>
                    <a:pt x="21" y="249"/>
                  </a:lnTo>
                  <a:lnTo>
                    <a:pt x="21" y="251"/>
                  </a:lnTo>
                  <a:lnTo>
                    <a:pt x="19" y="251"/>
                  </a:lnTo>
                  <a:lnTo>
                    <a:pt x="19" y="251"/>
                  </a:lnTo>
                  <a:lnTo>
                    <a:pt x="21" y="251"/>
                  </a:lnTo>
                  <a:lnTo>
                    <a:pt x="24" y="254"/>
                  </a:lnTo>
                  <a:lnTo>
                    <a:pt x="27" y="256"/>
                  </a:lnTo>
                  <a:lnTo>
                    <a:pt x="28" y="257"/>
                  </a:lnTo>
                  <a:lnTo>
                    <a:pt x="35" y="263"/>
                  </a:lnTo>
                  <a:lnTo>
                    <a:pt x="31" y="270"/>
                  </a:lnTo>
                  <a:lnTo>
                    <a:pt x="31" y="300"/>
                  </a:lnTo>
                  <a:lnTo>
                    <a:pt x="15" y="302"/>
                  </a:lnTo>
                  <a:lnTo>
                    <a:pt x="0" y="314"/>
                  </a:lnTo>
                  <a:lnTo>
                    <a:pt x="0" y="312"/>
                  </a:lnTo>
                  <a:lnTo>
                    <a:pt x="124" y="302"/>
                  </a:lnTo>
                  <a:lnTo>
                    <a:pt x="124" y="282"/>
                  </a:lnTo>
                  <a:lnTo>
                    <a:pt x="124" y="282"/>
                  </a:lnTo>
                  <a:lnTo>
                    <a:pt x="124" y="282"/>
                  </a:lnTo>
                  <a:lnTo>
                    <a:pt x="126" y="283"/>
                  </a:lnTo>
                  <a:lnTo>
                    <a:pt x="128" y="283"/>
                  </a:lnTo>
                  <a:lnTo>
                    <a:pt x="132" y="283"/>
                  </a:lnTo>
                  <a:lnTo>
                    <a:pt x="138" y="283"/>
                  </a:lnTo>
                  <a:lnTo>
                    <a:pt x="144" y="284"/>
                  </a:lnTo>
                  <a:lnTo>
                    <a:pt x="150" y="284"/>
                  </a:lnTo>
                  <a:lnTo>
                    <a:pt x="157" y="284"/>
                  </a:lnTo>
                  <a:lnTo>
                    <a:pt x="157" y="284"/>
                  </a:lnTo>
                  <a:lnTo>
                    <a:pt x="159" y="284"/>
                  </a:lnTo>
                  <a:lnTo>
                    <a:pt x="161" y="284"/>
                  </a:lnTo>
                  <a:lnTo>
                    <a:pt x="165" y="283"/>
                  </a:lnTo>
                  <a:lnTo>
                    <a:pt x="171" y="283"/>
                  </a:lnTo>
                  <a:lnTo>
                    <a:pt x="179" y="282"/>
                  </a:lnTo>
                  <a:lnTo>
                    <a:pt x="187" y="282"/>
                  </a:lnTo>
                  <a:lnTo>
                    <a:pt x="195" y="281"/>
                  </a:lnTo>
                  <a:lnTo>
                    <a:pt x="207" y="281"/>
                  </a:lnTo>
                  <a:lnTo>
                    <a:pt x="219" y="279"/>
                  </a:lnTo>
                  <a:lnTo>
                    <a:pt x="230" y="278"/>
                  </a:lnTo>
                  <a:lnTo>
                    <a:pt x="243" y="278"/>
                  </a:lnTo>
                  <a:lnTo>
                    <a:pt x="257" y="276"/>
                  </a:lnTo>
                  <a:lnTo>
                    <a:pt x="272" y="275"/>
                  </a:lnTo>
                  <a:lnTo>
                    <a:pt x="287" y="273"/>
                  </a:lnTo>
                  <a:lnTo>
                    <a:pt x="300" y="272"/>
                  </a:lnTo>
                  <a:lnTo>
                    <a:pt x="315" y="270"/>
                  </a:lnTo>
                  <a:lnTo>
                    <a:pt x="330" y="269"/>
                  </a:lnTo>
                  <a:lnTo>
                    <a:pt x="345" y="269"/>
                  </a:lnTo>
                  <a:lnTo>
                    <a:pt x="359" y="267"/>
                  </a:lnTo>
                  <a:lnTo>
                    <a:pt x="372" y="266"/>
                  </a:lnTo>
                  <a:lnTo>
                    <a:pt x="386" y="264"/>
                  </a:lnTo>
                  <a:lnTo>
                    <a:pt x="399" y="263"/>
                  </a:lnTo>
                  <a:lnTo>
                    <a:pt x="413" y="261"/>
                  </a:lnTo>
                  <a:lnTo>
                    <a:pt x="424" y="261"/>
                  </a:lnTo>
                  <a:lnTo>
                    <a:pt x="434" y="260"/>
                  </a:lnTo>
                  <a:lnTo>
                    <a:pt x="444" y="259"/>
                  </a:lnTo>
                  <a:lnTo>
                    <a:pt x="452" y="259"/>
                  </a:lnTo>
                  <a:lnTo>
                    <a:pt x="459" y="259"/>
                  </a:lnTo>
                  <a:lnTo>
                    <a:pt x="464" y="257"/>
                  </a:lnTo>
                  <a:lnTo>
                    <a:pt x="468" y="257"/>
                  </a:lnTo>
                  <a:lnTo>
                    <a:pt x="471" y="257"/>
                  </a:lnTo>
                  <a:lnTo>
                    <a:pt x="473" y="257"/>
                  </a:lnTo>
                  <a:lnTo>
                    <a:pt x="473" y="257"/>
                  </a:lnTo>
                  <a:lnTo>
                    <a:pt x="473" y="257"/>
                  </a:lnTo>
                  <a:lnTo>
                    <a:pt x="474" y="256"/>
                  </a:lnTo>
                  <a:lnTo>
                    <a:pt x="477" y="254"/>
                  </a:lnTo>
                  <a:lnTo>
                    <a:pt x="480" y="253"/>
                  </a:lnTo>
                  <a:lnTo>
                    <a:pt x="483" y="251"/>
                  </a:lnTo>
                  <a:lnTo>
                    <a:pt x="487" y="251"/>
                  </a:lnTo>
                  <a:lnTo>
                    <a:pt x="491" y="248"/>
                  </a:lnTo>
                  <a:lnTo>
                    <a:pt x="495" y="246"/>
                  </a:lnTo>
                  <a:lnTo>
                    <a:pt x="500" y="243"/>
                  </a:lnTo>
                  <a:lnTo>
                    <a:pt x="504" y="242"/>
                  </a:lnTo>
                  <a:lnTo>
                    <a:pt x="509" y="239"/>
                  </a:lnTo>
                  <a:lnTo>
                    <a:pt x="513" y="237"/>
                  </a:lnTo>
                  <a:lnTo>
                    <a:pt x="517" y="234"/>
                  </a:lnTo>
                  <a:lnTo>
                    <a:pt x="520" y="233"/>
                  </a:lnTo>
                  <a:lnTo>
                    <a:pt x="523" y="231"/>
                  </a:lnTo>
                  <a:lnTo>
                    <a:pt x="524" y="231"/>
                  </a:lnTo>
                  <a:lnTo>
                    <a:pt x="524" y="231"/>
                  </a:lnTo>
                  <a:lnTo>
                    <a:pt x="526" y="230"/>
                  </a:lnTo>
                  <a:lnTo>
                    <a:pt x="526" y="228"/>
                  </a:lnTo>
                  <a:lnTo>
                    <a:pt x="527" y="227"/>
                  </a:lnTo>
                  <a:lnTo>
                    <a:pt x="528" y="224"/>
                  </a:lnTo>
                  <a:lnTo>
                    <a:pt x="530" y="223"/>
                  </a:lnTo>
                  <a:lnTo>
                    <a:pt x="533" y="220"/>
                  </a:lnTo>
                  <a:lnTo>
                    <a:pt x="537" y="219"/>
                  </a:lnTo>
                  <a:lnTo>
                    <a:pt x="542" y="216"/>
                  </a:lnTo>
                  <a:lnTo>
                    <a:pt x="542" y="216"/>
                  </a:lnTo>
                  <a:lnTo>
                    <a:pt x="545" y="216"/>
                  </a:lnTo>
                  <a:lnTo>
                    <a:pt x="545" y="215"/>
                  </a:lnTo>
                  <a:lnTo>
                    <a:pt x="546" y="213"/>
                  </a:lnTo>
                  <a:lnTo>
                    <a:pt x="547" y="213"/>
                  </a:lnTo>
                  <a:lnTo>
                    <a:pt x="547" y="210"/>
                  </a:lnTo>
                  <a:lnTo>
                    <a:pt x="547" y="209"/>
                  </a:lnTo>
                  <a:lnTo>
                    <a:pt x="548" y="207"/>
                  </a:lnTo>
                  <a:lnTo>
                    <a:pt x="548" y="206"/>
                  </a:lnTo>
                  <a:lnTo>
                    <a:pt x="548" y="206"/>
                  </a:lnTo>
                  <a:lnTo>
                    <a:pt x="550" y="203"/>
                  </a:lnTo>
                  <a:lnTo>
                    <a:pt x="551" y="201"/>
                  </a:lnTo>
                  <a:lnTo>
                    <a:pt x="553" y="200"/>
                  </a:lnTo>
                  <a:lnTo>
                    <a:pt x="554" y="198"/>
                  </a:lnTo>
                  <a:lnTo>
                    <a:pt x="556" y="196"/>
                  </a:lnTo>
                  <a:lnTo>
                    <a:pt x="557" y="193"/>
                  </a:lnTo>
                  <a:lnTo>
                    <a:pt x="559" y="190"/>
                  </a:lnTo>
                  <a:lnTo>
                    <a:pt x="560" y="188"/>
                  </a:lnTo>
                  <a:lnTo>
                    <a:pt x="560" y="188"/>
                  </a:lnTo>
                  <a:lnTo>
                    <a:pt x="562" y="182"/>
                  </a:lnTo>
                  <a:lnTo>
                    <a:pt x="564" y="179"/>
                  </a:lnTo>
                  <a:lnTo>
                    <a:pt x="569" y="176"/>
                  </a:lnTo>
                  <a:lnTo>
                    <a:pt x="573" y="173"/>
                  </a:lnTo>
                  <a:lnTo>
                    <a:pt x="579" y="170"/>
                  </a:lnTo>
                  <a:lnTo>
                    <a:pt x="583" y="167"/>
                  </a:lnTo>
                  <a:lnTo>
                    <a:pt x="587" y="164"/>
                  </a:lnTo>
                  <a:lnTo>
                    <a:pt x="592" y="160"/>
                  </a:lnTo>
                  <a:lnTo>
                    <a:pt x="592" y="160"/>
                  </a:lnTo>
                  <a:lnTo>
                    <a:pt x="593" y="156"/>
                  </a:lnTo>
                  <a:lnTo>
                    <a:pt x="595" y="155"/>
                  </a:lnTo>
                  <a:lnTo>
                    <a:pt x="596" y="155"/>
                  </a:lnTo>
                  <a:lnTo>
                    <a:pt x="595" y="156"/>
                  </a:lnTo>
                  <a:lnTo>
                    <a:pt x="593" y="157"/>
                  </a:lnTo>
                  <a:lnTo>
                    <a:pt x="593" y="158"/>
                  </a:lnTo>
                  <a:lnTo>
                    <a:pt x="592" y="158"/>
                  </a:lnTo>
                  <a:lnTo>
                    <a:pt x="592" y="160"/>
                  </a:lnTo>
                  <a:lnTo>
                    <a:pt x="612" y="133"/>
                  </a:lnTo>
                  <a:lnTo>
                    <a:pt x="602" y="133"/>
                  </a:lnTo>
                  <a:lnTo>
                    <a:pt x="602" y="133"/>
                  </a:lnTo>
                  <a:lnTo>
                    <a:pt x="602" y="133"/>
                  </a:lnTo>
                  <a:lnTo>
                    <a:pt x="602" y="131"/>
                  </a:lnTo>
                  <a:lnTo>
                    <a:pt x="600" y="130"/>
                  </a:lnTo>
                  <a:lnTo>
                    <a:pt x="600" y="128"/>
                  </a:lnTo>
                  <a:lnTo>
                    <a:pt x="599" y="127"/>
                  </a:lnTo>
                  <a:lnTo>
                    <a:pt x="596" y="127"/>
                  </a:lnTo>
                  <a:lnTo>
                    <a:pt x="593" y="125"/>
                  </a:lnTo>
                  <a:lnTo>
                    <a:pt x="589" y="125"/>
                  </a:lnTo>
                  <a:lnTo>
                    <a:pt x="589" y="125"/>
                  </a:lnTo>
                  <a:lnTo>
                    <a:pt x="589" y="125"/>
                  </a:lnTo>
                  <a:lnTo>
                    <a:pt x="586" y="120"/>
                  </a:lnTo>
                  <a:lnTo>
                    <a:pt x="581" y="116"/>
                  </a:lnTo>
                  <a:lnTo>
                    <a:pt x="578" y="108"/>
                  </a:lnTo>
                  <a:lnTo>
                    <a:pt x="572" y="101"/>
                  </a:lnTo>
                  <a:lnTo>
                    <a:pt x="566" y="93"/>
                  </a:lnTo>
                  <a:lnTo>
                    <a:pt x="559" y="86"/>
                  </a:lnTo>
                  <a:lnTo>
                    <a:pt x="551" y="77"/>
                  </a:lnTo>
                  <a:lnTo>
                    <a:pt x="551" y="77"/>
                  </a:lnTo>
                  <a:lnTo>
                    <a:pt x="551" y="77"/>
                  </a:lnTo>
                  <a:lnTo>
                    <a:pt x="551" y="74"/>
                  </a:lnTo>
                  <a:lnTo>
                    <a:pt x="551" y="71"/>
                  </a:lnTo>
                  <a:lnTo>
                    <a:pt x="553" y="67"/>
                  </a:lnTo>
                  <a:lnTo>
                    <a:pt x="553" y="64"/>
                  </a:lnTo>
                  <a:lnTo>
                    <a:pt x="553" y="60"/>
                  </a:lnTo>
                  <a:lnTo>
                    <a:pt x="551" y="54"/>
                  </a:lnTo>
                  <a:lnTo>
                    <a:pt x="550" y="50"/>
                  </a:lnTo>
                  <a:lnTo>
                    <a:pt x="550" y="50"/>
                  </a:lnTo>
                  <a:lnTo>
                    <a:pt x="547" y="47"/>
                  </a:lnTo>
                  <a:lnTo>
                    <a:pt x="547" y="44"/>
                  </a:lnTo>
                  <a:lnTo>
                    <a:pt x="547" y="42"/>
                  </a:lnTo>
                  <a:lnTo>
                    <a:pt x="547" y="42"/>
                  </a:lnTo>
                  <a:lnTo>
                    <a:pt x="548" y="42"/>
                  </a:lnTo>
                  <a:lnTo>
                    <a:pt x="548" y="44"/>
                  </a:lnTo>
                  <a:lnTo>
                    <a:pt x="548" y="44"/>
                  </a:lnTo>
                  <a:lnTo>
                    <a:pt x="550" y="44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" name="Freeform 75"/>
            <p:cNvSpPr>
              <a:spLocks/>
            </p:cNvSpPr>
            <p:nvPr/>
          </p:nvSpPr>
          <p:spPr bwMode="auto">
            <a:xfrm>
              <a:off x="2968463" y="4603211"/>
              <a:ext cx="254991" cy="250868"/>
            </a:xfrm>
            <a:custGeom>
              <a:avLst/>
              <a:gdLst>
                <a:gd name="T0" fmla="*/ 52 w 379"/>
                <a:gd name="T1" fmla="*/ 340 h 374"/>
                <a:gd name="T2" fmla="*/ 41 w 379"/>
                <a:gd name="T3" fmla="*/ 335 h 374"/>
                <a:gd name="T4" fmla="*/ 24 w 379"/>
                <a:gd name="T5" fmla="*/ 310 h 374"/>
                <a:gd name="T6" fmla="*/ 3 w 379"/>
                <a:gd name="T7" fmla="*/ 283 h 374"/>
                <a:gd name="T8" fmla="*/ 3 w 379"/>
                <a:gd name="T9" fmla="*/ 263 h 374"/>
                <a:gd name="T10" fmla="*/ 0 w 379"/>
                <a:gd name="T11" fmla="*/ 251 h 374"/>
                <a:gd name="T12" fmla="*/ 5 w 379"/>
                <a:gd name="T13" fmla="*/ 256 h 374"/>
                <a:gd name="T14" fmla="*/ 27 w 379"/>
                <a:gd name="T15" fmla="*/ 238 h 374"/>
                <a:gd name="T16" fmla="*/ 28 w 379"/>
                <a:gd name="T17" fmla="*/ 214 h 374"/>
                <a:gd name="T18" fmla="*/ 32 w 379"/>
                <a:gd name="T19" fmla="*/ 202 h 374"/>
                <a:gd name="T20" fmla="*/ 38 w 379"/>
                <a:gd name="T21" fmla="*/ 187 h 374"/>
                <a:gd name="T22" fmla="*/ 48 w 379"/>
                <a:gd name="T23" fmla="*/ 197 h 374"/>
                <a:gd name="T24" fmla="*/ 57 w 379"/>
                <a:gd name="T25" fmla="*/ 187 h 374"/>
                <a:gd name="T26" fmla="*/ 78 w 379"/>
                <a:gd name="T27" fmla="*/ 143 h 374"/>
                <a:gd name="T28" fmla="*/ 91 w 379"/>
                <a:gd name="T29" fmla="*/ 142 h 374"/>
                <a:gd name="T30" fmla="*/ 99 w 379"/>
                <a:gd name="T31" fmla="*/ 131 h 374"/>
                <a:gd name="T32" fmla="*/ 113 w 379"/>
                <a:gd name="T33" fmla="*/ 116 h 374"/>
                <a:gd name="T34" fmla="*/ 121 w 379"/>
                <a:gd name="T35" fmla="*/ 94 h 374"/>
                <a:gd name="T36" fmla="*/ 120 w 379"/>
                <a:gd name="T37" fmla="*/ 82 h 374"/>
                <a:gd name="T38" fmla="*/ 124 w 379"/>
                <a:gd name="T39" fmla="*/ 47 h 374"/>
                <a:gd name="T40" fmla="*/ 126 w 379"/>
                <a:gd name="T41" fmla="*/ 20 h 374"/>
                <a:gd name="T42" fmla="*/ 131 w 379"/>
                <a:gd name="T43" fmla="*/ 0 h 374"/>
                <a:gd name="T44" fmla="*/ 266 w 379"/>
                <a:gd name="T45" fmla="*/ 103 h 374"/>
                <a:gd name="T46" fmla="*/ 272 w 379"/>
                <a:gd name="T47" fmla="*/ 103 h 374"/>
                <a:gd name="T48" fmla="*/ 290 w 379"/>
                <a:gd name="T49" fmla="*/ 85 h 374"/>
                <a:gd name="T50" fmla="*/ 314 w 379"/>
                <a:gd name="T51" fmla="*/ 80 h 374"/>
                <a:gd name="T52" fmla="*/ 324 w 379"/>
                <a:gd name="T53" fmla="*/ 67 h 374"/>
                <a:gd name="T54" fmla="*/ 350 w 379"/>
                <a:gd name="T55" fmla="*/ 70 h 374"/>
                <a:gd name="T56" fmla="*/ 359 w 379"/>
                <a:gd name="T57" fmla="*/ 70 h 374"/>
                <a:gd name="T58" fmla="*/ 366 w 379"/>
                <a:gd name="T59" fmla="*/ 79 h 374"/>
                <a:gd name="T60" fmla="*/ 378 w 379"/>
                <a:gd name="T61" fmla="*/ 97 h 374"/>
                <a:gd name="T62" fmla="*/ 374 w 379"/>
                <a:gd name="T63" fmla="*/ 110 h 374"/>
                <a:gd name="T64" fmla="*/ 346 w 379"/>
                <a:gd name="T65" fmla="*/ 104 h 374"/>
                <a:gd name="T66" fmla="*/ 327 w 379"/>
                <a:gd name="T67" fmla="*/ 95 h 374"/>
                <a:gd name="T68" fmla="*/ 317 w 379"/>
                <a:gd name="T69" fmla="*/ 128 h 374"/>
                <a:gd name="T70" fmla="*/ 306 w 379"/>
                <a:gd name="T71" fmla="*/ 152 h 374"/>
                <a:gd name="T72" fmla="*/ 299 w 379"/>
                <a:gd name="T73" fmla="*/ 160 h 374"/>
                <a:gd name="T74" fmla="*/ 288 w 379"/>
                <a:gd name="T75" fmla="*/ 169 h 374"/>
                <a:gd name="T76" fmla="*/ 281 w 379"/>
                <a:gd name="T77" fmla="*/ 167 h 374"/>
                <a:gd name="T78" fmla="*/ 276 w 379"/>
                <a:gd name="T79" fmla="*/ 186 h 374"/>
                <a:gd name="T80" fmla="*/ 273 w 379"/>
                <a:gd name="T81" fmla="*/ 194 h 374"/>
                <a:gd name="T82" fmla="*/ 269 w 379"/>
                <a:gd name="T83" fmla="*/ 209 h 374"/>
                <a:gd name="T84" fmla="*/ 245 w 379"/>
                <a:gd name="T85" fmla="*/ 205 h 374"/>
                <a:gd name="T86" fmla="*/ 231 w 379"/>
                <a:gd name="T87" fmla="*/ 206 h 374"/>
                <a:gd name="T88" fmla="*/ 231 w 379"/>
                <a:gd name="T89" fmla="*/ 226 h 374"/>
                <a:gd name="T90" fmla="*/ 227 w 379"/>
                <a:gd name="T91" fmla="*/ 233 h 374"/>
                <a:gd name="T92" fmla="*/ 222 w 379"/>
                <a:gd name="T93" fmla="*/ 248 h 374"/>
                <a:gd name="T94" fmla="*/ 219 w 379"/>
                <a:gd name="T95" fmla="*/ 269 h 374"/>
                <a:gd name="T96" fmla="*/ 204 w 379"/>
                <a:gd name="T97" fmla="*/ 289 h 374"/>
                <a:gd name="T98" fmla="*/ 201 w 379"/>
                <a:gd name="T99" fmla="*/ 302 h 374"/>
                <a:gd name="T100" fmla="*/ 201 w 379"/>
                <a:gd name="T101" fmla="*/ 310 h 374"/>
                <a:gd name="T102" fmla="*/ 189 w 379"/>
                <a:gd name="T103" fmla="*/ 335 h 374"/>
                <a:gd name="T104" fmla="*/ 176 w 379"/>
                <a:gd name="T105" fmla="*/ 335 h 374"/>
                <a:gd name="T106" fmla="*/ 164 w 379"/>
                <a:gd name="T107" fmla="*/ 342 h 374"/>
                <a:gd name="T108" fmla="*/ 157 w 379"/>
                <a:gd name="T109" fmla="*/ 350 h 374"/>
                <a:gd name="T110" fmla="*/ 149 w 379"/>
                <a:gd name="T111" fmla="*/ 356 h 374"/>
                <a:gd name="T112" fmla="*/ 141 w 379"/>
                <a:gd name="T113" fmla="*/ 361 h 374"/>
                <a:gd name="T114" fmla="*/ 120 w 379"/>
                <a:gd name="T115" fmla="*/ 362 h 374"/>
                <a:gd name="T116" fmla="*/ 111 w 379"/>
                <a:gd name="T117" fmla="*/ 367 h 374"/>
                <a:gd name="T118" fmla="*/ 91 w 379"/>
                <a:gd name="T119" fmla="*/ 371 h 374"/>
                <a:gd name="T120" fmla="*/ 74 w 379"/>
                <a:gd name="T121" fmla="*/ 362 h 374"/>
                <a:gd name="T122" fmla="*/ 65 w 379"/>
                <a:gd name="T123" fmla="*/ 343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9" h="374">
                  <a:moveTo>
                    <a:pt x="63" y="342"/>
                  </a:moveTo>
                  <a:lnTo>
                    <a:pt x="54" y="342"/>
                  </a:lnTo>
                  <a:lnTo>
                    <a:pt x="54" y="342"/>
                  </a:lnTo>
                  <a:lnTo>
                    <a:pt x="54" y="341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1" y="337"/>
                  </a:lnTo>
                  <a:lnTo>
                    <a:pt x="48" y="337"/>
                  </a:lnTo>
                  <a:lnTo>
                    <a:pt x="45" y="335"/>
                  </a:lnTo>
                  <a:lnTo>
                    <a:pt x="41" y="335"/>
                  </a:lnTo>
                  <a:lnTo>
                    <a:pt x="41" y="334"/>
                  </a:lnTo>
                  <a:lnTo>
                    <a:pt x="38" y="329"/>
                  </a:lnTo>
                  <a:lnTo>
                    <a:pt x="33" y="325"/>
                  </a:lnTo>
                  <a:lnTo>
                    <a:pt x="30" y="317"/>
                  </a:lnTo>
                  <a:lnTo>
                    <a:pt x="24" y="310"/>
                  </a:lnTo>
                  <a:lnTo>
                    <a:pt x="18" y="302"/>
                  </a:lnTo>
                  <a:lnTo>
                    <a:pt x="11" y="295"/>
                  </a:lnTo>
                  <a:lnTo>
                    <a:pt x="3" y="286"/>
                  </a:lnTo>
                  <a:lnTo>
                    <a:pt x="3" y="286"/>
                  </a:lnTo>
                  <a:lnTo>
                    <a:pt x="3" y="283"/>
                  </a:lnTo>
                  <a:lnTo>
                    <a:pt x="3" y="280"/>
                  </a:lnTo>
                  <a:lnTo>
                    <a:pt x="5" y="277"/>
                  </a:lnTo>
                  <a:lnTo>
                    <a:pt x="5" y="274"/>
                  </a:lnTo>
                  <a:lnTo>
                    <a:pt x="5" y="269"/>
                  </a:lnTo>
                  <a:lnTo>
                    <a:pt x="3" y="263"/>
                  </a:lnTo>
                  <a:lnTo>
                    <a:pt x="2" y="259"/>
                  </a:lnTo>
                  <a:lnTo>
                    <a:pt x="0" y="256"/>
                  </a:lnTo>
                  <a:lnTo>
                    <a:pt x="0" y="253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0" y="253"/>
                  </a:lnTo>
                  <a:lnTo>
                    <a:pt x="0" y="253"/>
                  </a:lnTo>
                  <a:lnTo>
                    <a:pt x="2" y="253"/>
                  </a:lnTo>
                  <a:lnTo>
                    <a:pt x="5" y="256"/>
                  </a:lnTo>
                  <a:lnTo>
                    <a:pt x="11" y="254"/>
                  </a:lnTo>
                  <a:lnTo>
                    <a:pt x="15" y="251"/>
                  </a:lnTo>
                  <a:lnTo>
                    <a:pt x="19" y="248"/>
                  </a:lnTo>
                  <a:lnTo>
                    <a:pt x="24" y="244"/>
                  </a:lnTo>
                  <a:lnTo>
                    <a:pt x="27" y="238"/>
                  </a:lnTo>
                  <a:lnTo>
                    <a:pt x="28" y="235"/>
                  </a:lnTo>
                  <a:lnTo>
                    <a:pt x="30" y="233"/>
                  </a:lnTo>
                  <a:lnTo>
                    <a:pt x="27" y="215"/>
                  </a:lnTo>
                  <a:lnTo>
                    <a:pt x="27" y="215"/>
                  </a:lnTo>
                  <a:lnTo>
                    <a:pt x="28" y="214"/>
                  </a:lnTo>
                  <a:lnTo>
                    <a:pt x="28" y="212"/>
                  </a:lnTo>
                  <a:lnTo>
                    <a:pt x="30" y="209"/>
                  </a:lnTo>
                  <a:lnTo>
                    <a:pt x="31" y="206"/>
                  </a:lnTo>
                  <a:lnTo>
                    <a:pt x="32" y="205"/>
                  </a:lnTo>
                  <a:lnTo>
                    <a:pt x="32" y="202"/>
                  </a:lnTo>
                  <a:lnTo>
                    <a:pt x="32" y="202"/>
                  </a:lnTo>
                  <a:lnTo>
                    <a:pt x="33" y="194"/>
                  </a:lnTo>
                  <a:lnTo>
                    <a:pt x="33" y="190"/>
                  </a:lnTo>
                  <a:lnTo>
                    <a:pt x="36" y="187"/>
                  </a:lnTo>
                  <a:lnTo>
                    <a:pt x="38" y="187"/>
                  </a:lnTo>
                  <a:lnTo>
                    <a:pt x="41" y="187"/>
                  </a:lnTo>
                  <a:lnTo>
                    <a:pt x="42" y="187"/>
                  </a:lnTo>
                  <a:lnTo>
                    <a:pt x="44" y="188"/>
                  </a:lnTo>
                  <a:lnTo>
                    <a:pt x="45" y="190"/>
                  </a:lnTo>
                  <a:lnTo>
                    <a:pt x="48" y="197"/>
                  </a:lnTo>
                  <a:lnTo>
                    <a:pt x="51" y="199"/>
                  </a:lnTo>
                  <a:lnTo>
                    <a:pt x="52" y="197"/>
                  </a:lnTo>
                  <a:lnTo>
                    <a:pt x="55" y="194"/>
                  </a:lnTo>
                  <a:lnTo>
                    <a:pt x="57" y="190"/>
                  </a:lnTo>
                  <a:lnTo>
                    <a:pt x="57" y="187"/>
                  </a:lnTo>
                  <a:lnTo>
                    <a:pt x="57" y="184"/>
                  </a:lnTo>
                  <a:lnTo>
                    <a:pt x="58" y="184"/>
                  </a:lnTo>
                  <a:lnTo>
                    <a:pt x="60" y="160"/>
                  </a:lnTo>
                  <a:lnTo>
                    <a:pt x="78" y="142"/>
                  </a:lnTo>
                  <a:lnTo>
                    <a:pt x="78" y="143"/>
                  </a:lnTo>
                  <a:lnTo>
                    <a:pt x="80" y="145"/>
                  </a:lnTo>
                  <a:lnTo>
                    <a:pt x="82" y="145"/>
                  </a:lnTo>
                  <a:lnTo>
                    <a:pt x="85" y="143"/>
                  </a:lnTo>
                  <a:lnTo>
                    <a:pt x="88" y="143"/>
                  </a:lnTo>
                  <a:lnTo>
                    <a:pt x="91" y="142"/>
                  </a:lnTo>
                  <a:lnTo>
                    <a:pt x="93" y="140"/>
                  </a:lnTo>
                  <a:lnTo>
                    <a:pt x="93" y="139"/>
                  </a:lnTo>
                  <a:lnTo>
                    <a:pt x="94" y="139"/>
                  </a:lnTo>
                  <a:lnTo>
                    <a:pt x="95" y="136"/>
                  </a:lnTo>
                  <a:lnTo>
                    <a:pt x="99" y="131"/>
                  </a:lnTo>
                  <a:lnTo>
                    <a:pt x="102" y="127"/>
                  </a:lnTo>
                  <a:lnTo>
                    <a:pt x="105" y="124"/>
                  </a:lnTo>
                  <a:lnTo>
                    <a:pt x="110" y="121"/>
                  </a:lnTo>
                  <a:lnTo>
                    <a:pt x="111" y="118"/>
                  </a:lnTo>
                  <a:lnTo>
                    <a:pt x="113" y="116"/>
                  </a:lnTo>
                  <a:lnTo>
                    <a:pt x="117" y="110"/>
                  </a:lnTo>
                  <a:lnTo>
                    <a:pt x="120" y="106"/>
                  </a:lnTo>
                  <a:lnTo>
                    <a:pt x="121" y="101"/>
                  </a:lnTo>
                  <a:lnTo>
                    <a:pt x="121" y="97"/>
                  </a:lnTo>
                  <a:lnTo>
                    <a:pt x="121" y="94"/>
                  </a:lnTo>
                  <a:lnTo>
                    <a:pt x="120" y="92"/>
                  </a:lnTo>
                  <a:lnTo>
                    <a:pt x="120" y="91"/>
                  </a:lnTo>
                  <a:lnTo>
                    <a:pt x="120" y="89"/>
                  </a:lnTo>
                  <a:lnTo>
                    <a:pt x="120" y="88"/>
                  </a:lnTo>
                  <a:lnTo>
                    <a:pt x="120" y="82"/>
                  </a:lnTo>
                  <a:lnTo>
                    <a:pt x="121" y="76"/>
                  </a:lnTo>
                  <a:lnTo>
                    <a:pt x="121" y="67"/>
                  </a:lnTo>
                  <a:lnTo>
                    <a:pt x="123" y="59"/>
                  </a:lnTo>
                  <a:lnTo>
                    <a:pt x="124" y="52"/>
                  </a:lnTo>
                  <a:lnTo>
                    <a:pt x="124" y="47"/>
                  </a:lnTo>
                  <a:lnTo>
                    <a:pt x="126" y="44"/>
                  </a:lnTo>
                  <a:lnTo>
                    <a:pt x="128" y="40"/>
                  </a:lnTo>
                  <a:lnTo>
                    <a:pt x="128" y="34"/>
                  </a:lnTo>
                  <a:lnTo>
                    <a:pt x="128" y="28"/>
                  </a:lnTo>
                  <a:lnTo>
                    <a:pt x="126" y="20"/>
                  </a:lnTo>
                  <a:lnTo>
                    <a:pt x="126" y="13"/>
                  </a:lnTo>
                  <a:lnTo>
                    <a:pt x="124" y="8"/>
                  </a:lnTo>
                  <a:lnTo>
                    <a:pt x="123" y="4"/>
                  </a:lnTo>
                  <a:lnTo>
                    <a:pt x="121" y="2"/>
                  </a:lnTo>
                  <a:lnTo>
                    <a:pt x="131" y="0"/>
                  </a:lnTo>
                  <a:lnTo>
                    <a:pt x="147" y="94"/>
                  </a:lnTo>
                  <a:lnTo>
                    <a:pt x="227" y="79"/>
                  </a:lnTo>
                  <a:lnTo>
                    <a:pt x="227" y="79"/>
                  </a:lnTo>
                  <a:lnTo>
                    <a:pt x="236" y="130"/>
                  </a:lnTo>
                  <a:lnTo>
                    <a:pt x="266" y="103"/>
                  </a:lnTo>
                  <a:lnTo>
                    <a:pt x="266" y="103"/>
                  </a:lnTo>
                  <a:lnTo>
                    <a:pt x="266" y="104"/>
                  </a:lnTo>
                  <a:lnTo>
                    <a:pt x="267" y="104"/>
                  </a:lnTo>
                  <a:lnTo>
                    <a:pt x="269" y="104"/>
                  </a:lnTo>
                  <a:lnTo>
                    <a:pt x="272" y="103"/>
                  </a:lnTo>
                  <a:lnTo>
                    <a:pt x="276" y="98"/>
                  </a:lnTo>
                  <a:lnTo>
                    <a:pt x="281" y="93"/>
                  </a:lnTo>
                  <a:lnTo>
                    <a:pt x="286" y="83"/>
                  </a:lnTo>
                  <a:lnTo>
                    <a:pt x="287" y="83"/>
                  </a:lnTo>
                  <a:lnTo>
                    <a:pt x="290" y="85"/>
                  </a:lnTo>
                  <a:lnTo>
                    <a:pt x="294" y="86"/>
                  </a:lnTo>
                  <a:lnTo>
                    <a:pt x="299" y="86"/>
                  </a:lnTo>
                  <a:lnTo>
                    <a:pt x="303" y="86"/>
                  </a:lnTo>
                  <a:lnTo>
                    <a:pt x="309" y="85"/>
                  </a:lnTo>
                  <a:lnTo>
                    <a:pt x="314" y="80"/>
                  </a:lnTo>
                  <a:lnTo>
                    <a:pt x="317" y="74"/>
                  </a:lnTo>
                  <a:lnTo>
                    <a:pt x="319" y="73"/>
                  </a:lnTo>
                  <a:lnTo>
                    <a:pt x="319" y="71"/>
                  </a:lnTo>
                  <a:lnTo>
                    <a:pt x="322" y="68"/>
                  </a:lnTo>
                  <a:lnTo>
                    <a:pt x="324" y="67"/>
                  </a:lnTo>
                  <a:lnTo>
                    <a:pt x="329" y="65"/>
                  </a:lnTo>
                  <a:lnTo>
                    <a:pt x="333" y="65"/>
                  </a:lnTo>
                  <a:lnTo>
                    <a:pt x="341" y="67"/>
                  </a:lnTo>
                  <a:lnTo>
                    <a:pt x="349" y="70"/>
                  </a:lnTo>
                  <a:lnTo>
                    <a:pt x="350" y="70"/>
                  </a:lnTo>
                  <a:lnTo>
                    <a:pt x="352" y="70"/>
                  </a:lnTo>
                  <a:lnTo>
                    <a:pt x="353" y="70"/>
                  </a:lnTo>
                  <a:lnTo>
                    <a:pt x="355" y="70"/>
                  </a:lnTo>
                  <a:lnTo>
                    <a:pt x="357" y="70"/>
                  </a:lnTo>
                  <a:lnTo>
                    <a:pt x="359" y="70"/>
                  </a:lnTo>
                  <a:lnTo>
                    <a:pt x="360" y="70"/>
                  </a:lnTo>
                  <a:lnTo>
                    <a:pt x="360" y="70"/>
                  </a:lnTo>
                  <a:lnTo>
                    <a:pt x="362" y="76"/>
                  </a:lnTo>
                  <a:lnTo>
                    <a:pt x="363" y="77"/>
                  </a:lnTo>
                  <a:lnTo>
                    <a:pt x="366" y="79"/>
                  </a:lnTo>
                  <a:lnTo>
                    <a:pt x="369" y="82"/>
                  </a:lnTo>
                  <a:lnTo>
                    <a:pt x="374" y="85"/>
                  </a:lnTo>
                  <a:lnTo>
                    <a:pt x="377" y="89"/>
                  </a:lnTo>
                  <a:lnTo>
                    <a:pt x="378" y="93"/>
                  </a:lnTo>
                  <a:lnTo>
                    <a:pt x="378" y="97"/>
                  </a:lnTo>
                  <a:lnTo>
                    <a:pt x="375" y="101"/>
                  </a:lnTo>
                  <a:lnTo>
                    <a:pt x="375" y="103"/>
                  </a:lnTo>
                  <a:lnTo>
                    <a:pt x="375" y="106"/>
                  </a:lnTo>
                  <a:lnTo>
                    <a:pt x="375" y="109"/>
                  </a:lnTo>
                  <a:lnTo>
                    <a:pt x="374" y="110"/>
                  </a:lnTo>
                  <a:lnTo>
                    <a:pt x="371" y="112"/>
                  </a:lnTo>
                  <a:lnTo>
                    <a:pt x="366" y="113"/>
                  </a:lnTo>
                  <a:lnTo>
                    <a:pt x="359" y="110"/>
                  </a:lnTo>
                  <a:lnTo>
                    <a:pt x="347" y="106"/>
                  </a:lnTo>
                  <a:lnTo>
                    <a:pt x="346" y="104"/>
                  </a:lnTo>
                  <a:lnTo>
                    <a:pt x="344" y="103"/>
                  </a:lnTo>
                  <a:lnTo>
                    <a:pt x="339" y="101"/>
                  </a:lnTo>
                  <a:lnTo>
                    <a:pt x="335" y="100"/>
                  </a:lnTo>
                  <a:lnTo>
                    <a:pt x="332" y="97"/>
                  </a:lnTo>
                  <a:lnTo>
                    <a:pt x="327" y="95"/>
                  </a:lnTo>
                  <a:lnTo>
                    <a:pt x="324" y="94"/>
                  </a:lnTo>
                  <a:lnTo>
                    <a:pt x="324" y="94"/>
                  </a:lnTo>
                  <a:lnTo>
                    <a:pt x="322" y="124"/>
                  </a:lnTo>
                  <a:lnTo>
                    <a:pt x="317" y="127"/>
                  </a:lnTo>
                  <a:lnTo>
                    <a:pt x="317" y="128"/>
                  </a:lnTo>
                  <a:lnTo>
                    <a:pt x="316" y="133"/>
                  </a:lnTo>
                  <a:lnTo>
                    <a:pt x="315" y="137"/>
                  </a:lnTo>
                  <a:lnTo>
                    <a:pt x="312" y="143"/>
                  </a:lnTo>
                  <a:lnTo>
                    <a:pt x="309" y="149"/>
                  </a:lnTo>
                  <a:lnTo>
                    <a:pt x="306" y="152"/>
                  </a:lnTo>
                  <a:lnTo>
                    <a:pt x="303" y="155"/>
                  </a:lnTo>
                  <a:lnTo>
                    <a:pt x="300" y="154"/>
                  </a:lnTo>
                  <a:lnTo>
                    <a:pt x="300" y="155"/>
                  </a:lnTo>
                  <a:lnTo>
                    <a:pt x="300" y="157"/>
                  </a:lnTo>
                  <a:lnTo>
                    <a:pt x="299" y="160"/>
                  </a:lnTo>
                  <a:lnTo>
                    <a:pt x="297" y="164"/>
                  </a:lnTo>
                  <a:lnTo>
                    <a:pt x="296" y="169"/>
                  </a:lnTo>
                  <a:lnTo>
                    <a:pt x="293" y="172"/>
                  </a:lnTo>
                  <a:lnTo>
                    <a:pt x="291" y="172"/>
                  </a:lnTo>
                  <a:lnTo>
                    <a:pt x="288" y="169"/>
                  </a:lnTo>
                  <a:lnTo>
                    <a:pt x="287" y="169"/>
                  </a:lnTo>
                  <a:lnTo>
                    <a:pt x="286" y="167"/>
                  </a:lnTo>
                  <a:lnTo>
                    <a:pt x="284" y="166"/>
                  </a:lnTo>
                  <a:lnTo>
                    <a:pt x="282" y="166"/>
                  </a:lnTo>
                  <a:lnTo>
                    <a:pt x="281" y="167"/>
                  </a:lnTo>
                  <a:lnTo>
                    <a:pt x="278" y="169"/>
                  </a:lnTo>
                  <a:lnTo>
                    <a:pt x="276" y="175"/>
                  </a:lnTo>
                  <a:lnTo>
                    <a:pt x="276" y="184"/>
                  </a:lnTo>
                  <a:lnTo>
                    <a:pt x="276" y="185"/>
                  </a:lnTo>
                  <a:lnTo>
                    <a:pt x="276" y="186"/>
                  </a:lnTo>
                  <a:lnTo>
                    <a:pt x="275" y="188"/>
                  </a:lnTo>
                  <a:lnTo>
                    <a:pt x="275" y="190"/>
                  </a:lnTo>
                  <a:lnTo>
                    <a:pt x="273" y="191"/>
                  </a:lnTo>
                  <a:lnTo>
                    <a:pt x="273" y="193"/>
                  </a:lnTo>
                  <a:lnTo>
                    <a:pt x="273" y="194"/>
                  </a:lnTo>
                  <a:lnTo>
                    <a:pt x="273" y="194"/>
                  </a:lnTo>
                  <a:lnTo>
                    <a:pt x="273" y="196"/>
                  </a:lnTo>
                  <a:lnTo>
                    <a:pt x="272" y="199"/>
                  </a:lnTo>
                  <a:lnTo>
                    <a:pt x="270" y="205"/>
                  </a:lnTo>
                  <a:lnTo>
                    <a:pt x="269" y="209"/>
                  </a:lnTo>
                  <a:lnTo>
                    <a:pt x="264" y="212"/>
                  </a:lnTo>
                  <a:lnTo>
                    <a:pt x="260" y="214"/>
                  </a:lnTo>
                  <a:lnTo>
                    <a:pt x="254" y="212"/>
                  </a:lnTo>
                  <a:lnTo>
                    <a:pt x="246" y="206"/>
                  </a:lnTo>
                  <a:lnTo>
                    <a:pt x="245" y="205"/>
                  </a:lnTo>
                  <a:lnTo>
                    <a:pt x="242" y="203"/>
                  </a:lnTo>
                  <a:lnTo>
                    <a:pt x="239" y="202"/>
                  </a:lnTo>
                  <a:lnTo>
                    <a:pt x="236" y="202"/>
                  </a:lnTo>
                  <a:lnTo>
                    <a:pt x="233" y="203"/>
                  </a:lnTo>
                  <a:lnTo>
                    <a:pt x="231" y="206"/>
                  </a:lnTo>
                  <a:lnTo>
                    <a:pt x="231" y="212"/>
                  </a:lnTo>
                  <a:lnTo>
                    <a:pt x="233" y="220"/>
                  </a:lnTo>
                  <a:lnTo>
                    <a:pt x="233" y="221"/>
                  </a:lnTo>
                  <a:lnTo>
                    <a:pt x="233" y="224"/>
                  </a:lnTo>
                  <a:lnTo>
                    <a:pt x="231" y="226"/>
                  </a:lnTo>
                  <a:lnTo>
                    <a:pt x="230" y="227"/>
                  </a:lnTo>
                  <a:lnTo>
                    <a:pt x="230" y="230"/>
                  </a:lnTo>
                  <a:lnTo>
                    <a:pt x="228" y="232"/>
                  </a:lnTo>
                  <a:lnTo>
                    <a:pt x="228" y="233"/>
                  </a:lnTo>
                  <a:lnTo>
                    <a:pt x="227" y="233"/>
                  </a:lnTo>
                  <a:lnTo>
                    <a:pt x="225" y="244"/>
                  </a:lnTo>
                  <a:lnTo>
                    <a:pt x="225" y="244"/>
                  </a:lnTo>
                  <a:lnTo>
                    <a:pt x="224" y="245"/>
                  </a:lnTo>
                  <a:lnTo>
                    <a:pt x="222" y="247"/>
                  </a:lnTo>
                  <a:lnTo>
                    <a:pt x="222" y="248"/>
                  </a:lnTo>
                  <a:lnTo>
                    <a:pt x="221" y="250"/>
                  </a:lnTo>
                  <a:lnTo>
                    <a:pt x="220" y="254"/>
                  </a:lnTo>
                  <a:lnTo>
                    <a:pt x="219" y="260"/>
                  </a:lnTo>
                  <a:lnTo>
                    <a:pt x="219" y="266"/>
                  </a:lnTo>
                  <a:lnTo>
                    <a:pt x="219" y="269"/>
                  </a:lnTo>
                  <a:lnTo>
                    <a:pt x="216" y="272"/>
                  </a:lnTo>
                  <a:lnTo>
                    <a:pt x="213" y="277"/>
                  </a:lnTo>
                  <a:lnTo>
                    <a:pt x="210" y="280"/>
                  </a:lnTo>
                  <a:lnTo>
                    <a:pt x="207" y="284"/>
                  </a:lnTo>
                  <a:lnTo>
                    <a:pt x="204" y="289"/>
                  </a:lnTo>
                  <a:lnTo>
                    <a:pt x="203" y="293"/>
                  </a:lnTo>
                  <a:lnTo>
                    <a:pt x="201" y="298"/>
                  </a:lnTo>
                  <a:lnTo>
                    <a:pt x="201" y="299"/>
                  </a:lnTo>
                  <a:lnTo>
                    <a:pt x="201" y="301"/>
                  </a:lnTo>
                  <a:lnTo>
                    <a:pt x="201" y="302"/>
                  </a:lnTo>
                  <a:lnTo>
                    <a:pt x="201" y="305"/>
                  </a:lnTo>
                  <a:lnTo>
                    <a:pt x="201" y="307"/>
                  </a:lnTo>
                  <a:lnTo>
                    <a:pt x="201" y="308"/>
                  </a:lnTo>
                  <a:lnTo>
                    <a:pt x="201" y="310"/>
                  </a:lnTo>
                  <a:lnTo>
                    <a:pt x="201" y="310"/>
                  </a:lnTo>
                  <a:lnTo>
                    <a:pt x="206" y="311"/>
                  </a:lnTo>
                  <a:lnTo>
                    <a:pt x="200" y="319"/>
                  </a:lnTo>
                  <a:lnTo>
                    <a:pt x="204" y="325"/>
                  </a:lnTo>
                  <a:lnTo>
                    <a:pt x="189" y="335"/>
                  </a:lnTo>
                  <a:lnTo>
                    <a:pt x="189" y="335"/>
                  </a:lnTo>
                  <a:lnTo>
                    <a:pt x="189" y="335"/>
                  </a:lnTo>
                  <a:lnTo>
                    <a:pt x="186" y="334"/>
                  </a:lnTo>
                  <a:lnTo>
                    <a:pt x="183" y="334"/>
                  </a:lnTo>
                  <a:lnTo>
                    <a:pt x="179" y="334"/>
                  </a:lnTo>
                  <a:lnTo>
                    <a:pt x="176" y="335"/>
                  </a:lnTo>
                  <a:lnTo>
                    <a:pt x="171" y="340"/>
                  </a:lnTo>
                  <a:lnTo>
                    <a:pt x="170" y="344"/>
                  </a:lnTo>
                  <a:lnTo>
                    <a:pt x="168" y="343"/>
                  </a:lnTo>
                  <a:lnTo>
                    <a:pt x="167" y="342"/>
                  </a:lnTo>
                  <a:lnTo>
                    <a:pt x="164" y="342"/>
                  </a:lnTo>
                  <a:lnTo>
                    <a:pt x="159" y="341"/>
                  </a:lnTo>
                  <a:lnTo>
                    <a:pt x="157" y="341"/>
                  </a:lnTo>
                  <a:lnTo>
                    <a:pt x="156" y="342"/>
                  </a:lnTo>
                  <a:lnTo>
                    <a:pt x="156" y="344"/>
                  </a:lnTo>
                  <a:lnTo>
                    <a:pt x="157" y="350"/>
                  </a:lnTo>
                  <a:lnTo>
                    <a:pt x="157" y="352"/>
                  </a:lnTo>
                  <a:lnTo>
                    <a:pt x="156" y="353"/>
                  </a:lnTo>
                  <a:lnTo>
                    <a:pt x="154" y="353"/>
                  </a:lnTo>
                  <a:lnTo>
                    <a:pt x="151" y="355"/>
                  </a:lnTo>
                  <a:lnTo>
                    <a:pt x="149" y="356"/>
                  </a:lnTo>
                  <a:lnTo>
                    <a:pt x="147" y="358"/>
                  </a:lnTo>
                  <a:lnTo>
                    <a:pt x="146" y="358"/>
                  </a:lnTo>
                  <a:lnTo>
                    <a:pt x="146" y="358"/>
                  </a:lnTo>
                  <a:lnTo>
                    <a:pt x="144" y="359"/>
                  </a:lnTo>
                  <a:lnTo>
                    <a:pt x="141" y="361"/>
                  </a:lnTo>
                  <a:lnTo>
                    <a:pt x="137" y="362"/>
                  </a:lnTo>
                  <a:lnTo>
                    <a:pt x="131" y="364"/>
                  </a:lnTo>
                  <a:lnTo>
                    <a:pt x="126" y="364"/>
                  </a:lnTo>
                  <a:lnTo>
                    <a:pt x="123" y="364"/>
                  </a:lnTo>
                  <a:lnTo>
                    <a:pt x="120" y="362"/>
                  </a:lnTo>
                  <a:lnTo>
                    <a:pt x="118" y="358"/>
                  </a:lnTo>
                  <a:lnTo>
                    <a:pt x="118" y="358"/>
                  </a:lnTo>
                  <a:lnTo>
                    <a:pt x="117" y="361"/>
                  </a:lnTo>
                  <a:lnTo>
                    <a:pt x="114" y="364"/>
                  </a:lnTo>
                  <a:lnTo>
                    <a:pt x="111" y="367"/>
                  </a:lnTo>
                  <a:lnTo>
                    <a:pt x="107" y="371"/>
                  </a:lnTo>
                  <a:lnTo>
                    <a:pt x="102" y="373"/>
                  </a:lnTo>
                  <a:lnTo>
                    <a:pt x="98" y="373"/>
                  </a:lnTo>
                  <a:lnTo>
                    <a:pt x="93" y="371"/>
                  </a:lnTo>
                  <a:lnTo>
                    <a:pt x="91" y="371"/>
                  </a:lnTo>
                  <a:lnTo>
                    <a:pt x="88" y="371"/>
                  </a:lnTo>
                  <a:lnTo>
                    <a:pt x="85" y="370"/>
                  </a:lnTo>
                  <a:lnTo>
                    <a:pt x="82" y="368"/>
                  </a:lnTo>
                  <a:lnTo>
                    <a:pt x="78" y="367"/>
                  </a:lnTo>
                  <a:lnTo>
                    <a:pt x="74" y="362"/>
                  </a:lnTo>
                  <a:lnTo>
                    <a:pt x="69" y="358"/>
                  </a:lnTo>
                  <a:lnTo>
                    <a:pt x="66" y="352"/>
                  </a:lnTo>
                  <a:lnTo>
                    <a:pt x="65" y="349"/>
                  </a:lnTo>
                  <a:lnTo>
                    <a:pt x="65" y="346"/>
                  </a:lnTo>
                  <a:lnTo>
                    <a:pt x="65" y="343"/>
                  </a:lnTo>
                  <a:lnTo>
                    <a:pt x="63" y="342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" name="Freeform 76"/>
            <p:cNvSpPr>
              <a:spLocks/>
            </p:cNvSpPr>
            <p:nvPr/>
          </p:nvSpPr>
          <p:spPr bwMode="auto">
            <a:xfrm>
              <a:off x="2968463" y="4603211"/>
              <a:ext cx="254991" cy="250868"/>
            </a:xfrm>
            <a:custGeom>
              <a:avLst/>
              <a:gdLst>
                <a:gd name="T0" fmla="*/ 52 w 379"/>
                <a:gd name="T1" fmla="*/ 340 h 374"/>
                <a:gd name="T2" fmla="*/ 41 w 379"/>
                <a:gd name="T3" fmla="*/ 335 h 374"/>
                <a:gd name="T4" fmla="*/ 18 w 379"/>
                <a:gd name="T5" fmla="*/ 302 h 374"/>
                <a:gd name="T6" fmla="*/ 3 w 379"/>
                <a:gd name="T7" fmla="*/ 280 h 374"/>
                <a:gd name="T8" fmla="*/ 2 w 379"/>
                <a:gd name="T9" fmla="*/ 259 h 374"/>
                <a:gd name="T10" fmla="*/ 0 w 379"/>
                <a:gd name="T11" fmla="*/ 253 h 374"/>
                <a:gd name="T12" fmla="*/ 15 w 379"/>
                <a:gd name="T13" fmla="*/ 251 h 374"/>
                <a:gd name="T14" fmla="*/ 27 w 379"/>
                <a:gd name="T15" fmla="*/ 215 h 374"/>
                <a:gd name="T16" fmla="*/ 31 w 379"/>
                <a:gd name="T17" fmla="*/ 206 h 374"/>
                <a:gd name="T18" fmla="*/ 33 w 379"/>
                <a:gd name="T19" fmla="*/ 190 h 374"/>
                <a:gd name="T20" fmla="*/ 45 w 379"/>
                <a:gd name="T21" fmla="*/ 190 h 374"/>
                <a:gd name="T22" fmla="*/ 57 w 379"/>
                <a:gd name="T23" fmla="*/ 190 h 374"/>
                <a:gd name="T24" fmla="*/ 78 w 379"/>
                <a:gd name="T25" fmla="*/ 142 h 374"/>
                <a:gd name="T26" fmla="*/ 91 w 379"/>
                <a:gd name="T27" fmla="*/ 142 h 374"/>
                <a:gd name="T28" fmla="*/ 99 w 379"/>
                <a:gd name="T29" fmla="*/ 131 h 374"/>
                <a:gd name="T30" fmla="*/ 113 w 379"/>
                <a:gd name="T31" fmla="*/ 116 h 374"/>
                <a:gd name="T32" fmla="*/ 120 w 379"/>
                <a:gd name="T33" fmla="*/ 92 h 374"/>
                <a:gd name="T34" fmla="*/ 121 w 379"/>
                <a:gd name="T35" fmla="*/ 76 h 374"/>
                <a:gd name="T36" fmla="*/ 126 w 379"/>
                <a:gd name="T37" fmla="*/ 44 h 374"/>
                <a:gd name="T38" fmla="*/ 124 w 379"/>
                <a:gd name="T39" fmla="*/ 8 h 374"/>
                <a:gd name="T40" fmla="*/ 227 w 379"/>
                <a:gd name="T41" fmla="*/ 79 h 374"/>
                <a:gd name="T42" fmla="*/ 267 w 379"/>
                <a:gd name="T43" fmla="*/ 104 h 374"/>
                <a:gd name="T44" fmla="*/ 286 w 379"/>
                <a:gd name="T45" fmla="*/ 83 h 374"/>
                <a:gd name="T46" fmla="*/ 309 w 379"/>
                <a:gd name="T47" fmla="*/ 85 h 374"/>
                <a:gd name="T48" fmla="*/ 322 w 379"/>
                <a:gd name="T49" fmla="*/ 68 h 374"/>
                <a:gd name="T50" fmla="*/ 349 w 379"/>
                <a:gd name="T51" fmla="*/ 70 h 374"/>
                <a:gd name="T52" fmla="*/ 359 w 379"/>
                <a:gd name="T53" fmla="*/ 70 h 374"/>
                <a:gd name="T54" fmla="*/ 366 w 379"/>
                <a:gd name="T55" fmla="*/ 79 h 374"/>
                <a:gd name="T56" fmla="*/ 375 w 379"/>
                <a:gd name="T57" fmla="*/ 101 h 374"/>
                <a:gd name="T58" fmla="*/ 371 w 379"/>
                <a:gd name="T59" fmla="*/ 112 h 374"/>
                <a:gd name="T60" fmla="*/ 344 w 379"/>
                <a:gd name="T61" fmla="*/ 103 h 374"/>
                <a:gd name="T62" fmla="*/ 324 w 379"/>
                <a:gd name="T63" fmla="*/ 94 h 374"/>
                <a:gd name="T64" fmla="*/ 315 w 379"/>
                <a:gd name="T65" fmla="*/ 137 h 374"/>
                <a:gd name="T66" fmla="*/ 300 w 379"/>
                <a:gd name="T67" fmla="*/ 154 h 374"/>
                <a:gd name="T68" fmla="*/ 293 w 379"/>
                <a:gd name="T69" fmla="*/ 172 h 374"/>
                <a:gd name="T70" fmla="*/ 284 w 379"/>
                <a:gd name="T71" fmla="*/ 166 h 374"/>
                <a:gd name="T72" fmla="*/ 276 w 379"/>
                <a:gd name="T73" fmla="*/ 184 h 374"/>
                <a:gd name="T74" fmla="*/ 273 w 379"/>
                <a:gd name="T75" fmla="*/ 193 h 374"/>
                <a:gd name="T76" fmla="*/ 270 w 379"/>
                <a:gd name="T77" fmla="*/ 205 h 374"/>
                <a:gd name="T78" fmla="*/ 246 w 379"/>
                <a:gd name="T79" fmla="*/ 206 h 374"/>
                <a:gd name="T80" fmla="*/ 231 w 379"/>
                <a:gd name="T81" fmla="*/ 206 h 374"/>
                <a:gd name="T82" fmla="*/ 231 w 379"/>
                <a:gd name="T83" fmla="*/ 226 h 374"/>
                <a:gd name="T84" fmla="*/ 225 w 379"/>
                <a:gd name="T85" fmla="*/ 244 h 374"/>
                <a:gd name="T86" fmla="*/ 221 w 379"/>
                <a:gd name="T87" fmla="*/ 250 h 374"/>
                <a:gd name="T88" fmla="*/ 216 w 379"/>
                <a:gd name="T89" fmla="*/ 272 h 374"/>
                <a:gd name="T90" fmla="*/ 201 w 379"/>
                <a:gd name="T91" fmla="*/ 298 h 374"/>
                <a:gd name="T92" fmla="*/ 201 w 379"/>
                <a:gd name="T93" fmla="*/ 307 h 374"/>
                <a:gd name="T94" fmla="*/ 204 w 379"/>
                <a:gd name="T95" fmla="*/ 325 h 374"/>
                <a:gd name="T96" fmla="*/ 183 w 379"/>
                <a:gd name="T97" fmla="*/ 334 h 374"/>
                <a:gd name="T98" fmla="*/ 168 w 379"/>
                <a:gd name="T99" fmla="*/ 343 h 374"/>
                <a:gd name="T100" fmla="*/ 156 w 379"/>
                <a:gd name="T101" fmla="*/ 344 h 374"/>
                <a:gd name="T102" fmla="*/ 151 w 379"/>
                <a:gd name="T103" fmla="*/ 355 h 374"/>
                <a:gd name="T104" fmla="*/ 144 w 379"/>
                <a:gd name="T105" fmla="*/ 359 h 374"/>
                <a:gd name="T106" fmla="*/ 120 w 379"/>
                <a:gd name="T107" fmla="*/ 362 h 374"/>
                <a:gd name="T108" fmla="*/ 111 w 379"/>
                <a:gd name="T109" fmla="*/ 367 h 374"/>
                <a:gd name="T110" fmla="*/ 91 w 379"/>
                <a:gd name="T111" fmla="*/ 371 h 374"/>
                <a:gd name="T112" fmla="*/ 69 w 379"/>
                <a:gd name="T113" fmla="*/ 358 h 374"/>
                <a:gd name="T114" fmla="*/ 63 w 379"/>
                <a:gd name="T115" fmla="*/ 342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" h="374">
                  <a:moveTo>
                    <a:pt x="63" y="342"/>
                  </a:moveTo>
                  <a:lnTo>
                    <a:pt x="54" y="342"/>
                  </a:lnTo>
                  <a:lnTo>
                    <a:pt x="54" y="342"/>
                  </a:lnTo>
                  <a:lnTo>
                    <a:pt x="54" y="342"/>
                  </a:lnTo>
                  <a:lnTo>
                    <a:pt x="54" y="341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1" y="337"/>
                  </a:lnTo>
                  <a:lnTo>
                    <a:pt x="48" y="337"/>
                  </a:lnTo>
                  <a:lnTo>
                    <a:pt x="45" y="335"/>
                  </a:lnTo>
                  <a:lnTo>
                    <a:pt x="41" y="335"/>
                  </a:lnTo>
                  <a:lnTo>
                    <a:pt x="41" y="335"/>
                  </a:lnTo>
                  <a:lnTo>
                    <a:pt x="41" y="334"/>
                  </a:lnTo>
                  <a:lnTo>
                    <a:pt x="38" y="329"/>
                  </a:lnTo>
                  <a:lnTo>
                    <a:pt x="33" y="325"/>
                  </a:lnTo>
                  <a:lnTo>
                    <a:pt x="30" y="317"/>
                  </a:lnTo>
                  <a:lnTo>
                    <a:pt x="24" y="310"/>
                  </a:lnTo>
                  <a:lnTo>
                    <a:pt x="18" y="302"/>
                  </a:lnTo>
                  <a:lnTo>
                    <a:pt x="11" y="295"/>
                  </a:lnTo>
                  <a:lnTo>
                    <a:pt x="3" y="286"/>
                  </a:lnTo>
                  <a:lnTo>
                    <a:pt x="3" y="286"/>
                  </a:lnTo>
                  <a:lnTo>
                    <a:pt x="3" y="286"/>
                  </a:lnTo>
                  <a:lnTo>
                    <a:pt x="3" y="283"/>
                  </a:lnTo>
                  <a:lnTo>
                    <a:pt x="3" y="280"/>
                  </a:lnTo>
                  <a:lnTo>
                    <a:pt x="5" y="277"/>
                  </a:lnTo>
                  <a:lnTo>
                    <a:pt x="5" y="274"/>
                  </a:lnTo>
                  <a:lnTo>
                    <a:pt x="5" y="269"/>
                  </a:lnTo>
                  <a:lnTo>
                    <a:pt x="3" y="263"/>
                  </a:lnTo>
                  <a:lnTo>
                    <a:pt x="2" y="259"/>
                  </a:lnTo>
                  <a:lnTo>
                    <a:pt x="2" y="259"/>
                  </a:lnTo>
                  <a:lnTo>
                    <a:pt x="0" y="256"/>
                  </a:lnTo>
                  <a:lnTo>
                    <a:pt x="0" y="253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0" y="253"/>
                  </a:lnTo>
                  <a:lnTo>
                    <a:pt x="0" y="253"/>
                  </a:lnTo>
                  <a:lnTo>
                    <a:pt x="2" y="253"/>
                  </a:lnTo>
                  <a:lnTo>
                    <a:pt x="2" y="253"/>
                  </a:lnTo>
                  <a:lnTo>
                    <a:pt x="5" y="256"/>
                  </a:lnTo>
                  <a:lnTo>
                    <a:pt x="11" y="254"/>
                  </a:lnTo>
                  <a:lnTo>
                    <a:pt x="15" y="251"/>
                  </a:lnTo>
                  <a:lnTo>
                    <a:pt x="19" y="248"/>
                  </a:lnTo>
                  <a:lnTo>
                    <a:pt x="24" y="244"/>
                  </a:lnTo>
                  <a:lnTo>
                    <a:pt x="27" y="238"/>
                  </a:lnTo>
                  <a:lnTo>
                    <a:pt x="28" y="235"/>
                  </a:lnTo>
                  <a:lnTo>
                    <a:pt x="30" y="233"/>
                  </a:lnTo>
                  <a:lnTo>
                    <a:pt x="27" y="215"/>
                  </a:lnTo>
                  <a:lnTo>
                    <a:pt x="27" y="215"/>
                  </a:lnTo>
                  <a:lnTo>
                    <a:pt x="27" y="215"/>
                  </a:lnTo>
                  <a:lnTo>
                    <a:pt x="28" y="214"/>
                  </a:lnTo>
                  <a:lnTo>
                    <a:pt x="28" y="212"/>
                  </a:lnTo>
                  <a:lnTo>
                    <a:pt x="30" y="209"/>
                  </a:lnTo>
                  <a:lnTo>
                    <a:pt x="31" y="206"/>
                  </a:lnTo>
                  <a:lnTo>
                    <a:pt x="32" y="205"/>
                  </a:lnTo>
                  <a:lnTo>
                    <a:pt x="32" y="202"/>
                  </a:lnTo>
                  <a:lnTo>
                    <a:pt x="32" y="202"/>
                  </a:lnTo>
                  <a:lnTo>
                    <a:pt x="32" y="202"/>
                  </a:lnTo>
                  <a:lnTo>
                    <a:pt x="33" y="194"/>
                  </a:lnTo>
                  <a:lnTo>
                    <a:pt x="33" y="190"/>
                  </a:lnTo>
                  <a:lnTo>
                    <a:pt x="36" y="187"/>
                  </a:lnTo>
                  <a:lnTo>
                    <a:pt x="38" y="187"/>
                  </a:lnTo>
                  <a:lnTo>
                    <a:pt x="41" y="187"/>
                  </a:lnTo>
                  <a:lnTo>
                    <a:pt x="42" y="187"/>
                  </a:lnTo>
                  <a:lnTo>
                    <a:pt x="44" y="188"/>
                  </a:lnTo>
                  <a:lnTo>
                    <a:pt x="45" y="190"/>
                  </a:lnTo>
                  <a:lnTo>
                    <a:pt x="45" y="190"/>
                  </a:lnTo>
                  <a:lnTo>
                    <a:pt x="48" y="197"/>
                  </a:lnTo>
                  <a:lnTo>
                    <a:pt x="51" y="199"/>
                  </a:lnTo>
                  <a:lnTo>
                    <a:pt x="52" y="197"/>
                  </a:lnTo>
                  <a:lnTo>
                    <a:pt x="55" y="194"/>
                  </a:lnTo>
                  <a:lnTo>
                    <a:pt x="57" y="190"/>
                  </a:lnTo>
                  <a:lnTo>
                    <a:pt x="57" y="187"/>
                  </a:lnTo>
                  <a:lnTo>
                    <a:pt x="57" y="184"/>
                  </a:lnTo>
                  <a:lnTo>
                    <a:pt x="58" y="184"/>
                  </a:lnTo>
                  <a:lnTo>
                    <a:pt x="60" y="160"/>
                  </a:lnTo>
                  <a:lnTo>
                    <a:pt x="78" y="142"/>
                  </a:lnTo>
                  <a:lnTo>
                    <a:pt x="78" y="142"/>
                  </a:lnTo>
                  <a:lnTo>
                    <a:pt x="78" y="143"/>
                  </a:lnTo>
                  <a:lnTo>
                    <a:pt x="80" y="145"/>
                  </a:lnTo>
                  <a:lnTo>
                    <a:pt x="82" y="145"/>
                  </a:lnTo>
                  <a:lnTo>
                    <a:pt x="85" y="143"/>
                  </a:lnTo>
                  <a:lnTo>
                    <a:pt x="88" y="143"/>
                  </a:lnTo>
                  <a:lnTo>
                    <a:pt x="91" y="142"/>
                  </a:lnTo>
                  <a:lnTo>
                    <a:pt x="93" y="140"/>
                  </a:lnTo>
                  <a:lnTo>
                    <a:pt x="93" y="139"/>
                  </a:lnTo>
                  <a:lnTo>
                    <a:pt x="93" y="139"/>
                  </a:lnTo>
                  <a:lnTo>
                    <a:pt x="94" y="139"/>
                  </a:lnTo>
                  <a:lnTo>
                    <a:pt x="95" y="136"/>
                  </a:lnTo>
                  <a:lnTo>
                    <a:pt x="99" y="131"/>
                  </a:lnTo>
                  <a:lnTo>
                    <a:pt x="102" y="127"/>
                  </a:lnTo>
                  <a:lnTo>
                    <a:pt x="105" y="124"/>
                  </a:lnTo>
                  <a:lnTo>
                    <a:pt x="110" y="121"/>
                  </a:lnTo>
                  <a:lnTo>
                    <a:pt x="111" y="118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7" y="110"/>
                  </a:lnTo>
                  <a:lnTo>
                    <a:pt x="120" y="106"/>
                  </a:lnTo>
                  <a:lnTo>
                    <a:pt x="121" y="101"/>
                  </a:lnTo>
                  <a:lnTo>
                    <a:pt x="121" y="97"/>
                  </a:lnTo>
                  <a:lnTo>
                    <a:pt x="121" y="94"/>
                  </a:lnTo>
                  <a:lnTo>
                    <a:pt x="120" y="92"/>
                  </a:lnTo>
                  <a:lnTo>
                    <a:pt x="120" y="91"/>
                  </a:lnTo>
                  <a:lnTo>
                    <a:pt x="120" y="89"/>
                  </a:lnTo>
                  <a:lnTo>
                    <a:pt x="120" y="89"/>
                  </a:lnTo>
                  <a:lnTo>
                    <a:pt x="120" y="88"/>
                  </a:lnTo>
                  <a:lnTo>
                    <a:pt x="120" y="82"/>
                  </a:lnTo>
                  <a:lnTo>
                    <a:pt x="121" y="76"/>
                  </a:lnTo>
                  <a:lnTo>
                    <a:pt x="121" y="67"/>
                  </a:lnTo>
                  <a:lnTo>
                    <a:pt x="123" y="59"/>
                  </a:lnTo>
                  <a:lnTo>
                    <a:pt x="124" y="52"/>
                  </a:lnTo>
                  <a:lnTo>
                    <a:pt x="124" y="47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8" y="40"/>
                  </a:lnTo>
                  <a:lnTo>
                    <a:pt x="128" y="34"/>
                  </a:lnTo>
                  <a:lnTo>
                    <a:pt x="128" y="28"/>
                  </a:lnTo>
                  <a:lnTo>
                    <a:pt x="126" y="20"/>
                  </a:lnTo>
                  <a:lnTo>
                    <a:pt x="126" y="13"/>
                  </a:lnTo>
                  <a:lnTo>
                    <a:pt x="124" y="8"/>
                  </a:lnTo>
                  <a:lnTo>
                    <a:pt x="123" y="4"/>
                  </a:lnTo>
                  <a:lnTo>
                    <a:pt x="121" y="2"/>
                  </a:lnTo>
                  <a:lnTo>
                    <a:pt x="131" y="0"/>
                  </a:lnTo>
                  <a:lnTo>
                    <a:pt x="147" y="94"/>
                  </a:lnTo>
                  <a:lnTo>
                    <a:pt x="227" y="79"/>
                  </a:lnTo>
                  <a:lnTo>
                    <a:pt x="227" y="79"/>
                  </a:lnTo>
                  <a:lnTo>
                    <a:pt x="236" y="130"/>
                  </a:lnTo>
                  <a:lnTo>
                    <a:pt x="266" y="103"/>
                  </a:lnTo>
                  <a:lnTo>
                    <a:pt x="266" y="103"/>
                  </a:lnTo>
                  <a:lnTo>
                    <a:pt x="266" y="103"/>
                  </a:lnTo>
                  <a:lnTo>
                    <a:pt x="266" y="104"/>
                  </a:lnTo>
                  <a:lnTo>
                    <a:pt x="267" y="104"/>
                  </a:lnTo>
                  <a:lnTo>
                    <a:pt x="269" y="104"/>
                  </a:lnTo>
                  <a:lnTo>
                    <a:pt x="272" y="103"/>
                  </a:lnTo>
                  <a:lnTo>
                    <a:pt x="276" y="98"/>
                  </a:lnTo>
                  <a:lnTo>
                    <a:pt x="281" y="93"/>
                  </a:lnTo>
                  <a:lnTo>
                    <a:pt x="286" y="83"/>
                  </a:lnTo>
                  <a:lnTo>
                    <a:pt x="286" y="83"/>
                  </a:lnTo>
                  <a:lnTo>
                    <a:pt x="287" y="83"/>
                  </a:lnTo>
                  <a:lnTo>
                    <a:pt x="290" y="85"/>
                  </a:lnTo>
                  <a:lnTo>
                    <a:pt x="294" y="86"/>
                  </a:lnTo>
                  <a:lnTo>
                    <a:pt x="299" y="86"/>
                  </a:lnTo>
                  <a:lnTo>
                    <a:pt x="303" y="86"/>
                  </a:lnTo>
                  <a:lnTo>
                    <a:pt x="309" y="85"/>
                  </a:lnTo>
                  <a:lnTo>
                    <a:pt x="314" y="80"/>
                  </a:lnTo>
                  <a:lnTo>
                    <a:pt x="317" y="74"/>
                  </a:lnTo>
                  <a:lnTo>
                    <a:pt x="317" y="74"/>
                  </a:lnTo>
                  <a:lnTo>
                    <a:pt x="319" y="73"/>
                  </a:lnTo>
                  <a:lnTo>
                    <a:pt x="319" y="71"/>
                  </a:lnTo>
                  <a:lnTo>
                    <a:pt x="322" y="68"/>
                  </a:lnTo>
                  <a:lnTo>
                    <a:pt x="324" y="67"/>
                  </a:lnTo>
                  <a:lnTo>
                    <a:pt x="329" y="65"/>
                  </a:lnTo>
                  <a:lnTo>
                    <a:pt x="333" y="65"/>
                  </a:lnTo>
                  <a:lnTo>
                    <a:pt x="341" y="67"/>
                  </a:lnTo>
                  <a:lnTo>
                    <a:pt x="349" y="70"/>
                  </a:lnTo>
                  <a:lnTo>
                    <a:pt x="349" y="70"/>
                  </a:lnTo>
                  <a:lnTo>
                    <a:pt x="350" y="70"/>
                  </a:lnTo>
                  <a:lnTo>
                    <a:pt x="352" y="70"/>
                  </a:lnTo>
                  <a:lnTo>
                    <a:pt x="353" y="70"/>
                  </a:lnTo>
                  <a:lnTo>
                    <a:pt x="355" y="70"/>
                  </a:lnTo>
                  <a:lnTo>
                    <a:pt x="357" y="70"/>
                  </a:lnTo>
                  <a:lnTo>
                    <a:pt x="359" y="70"/>
                  </a:lnTo>
                  <a:lnTo>
                    <a:pt x="360" y="70"/>
                  </a:lnTo>
                  <a:lnTo>
                    <a:pt x="360" y="70"/>
                  </a:lnTo>
                  <a:lnTo>
                    <a:pt x="362" y="76"/>
                  </a:lnTo>
                  <a:lnTo>
                    <a:pt x="362" y="76"/>
                  </a:lnTo>
                  <a:lnTo>
                    <a:pt x="363" y="77"/>
                  </a:lnTo>
                  <a:lnTo>
                    <a:pt x="366" y="79"/>
                  </a:lnTo>
                  <a:lnTo>
                    <a:pt x="369" y="82"/>
                  </a:lnTo>
                  <a:lnTo>
                    <a:pt x="374" y="85"/>
                  </a:lnTo>
                  <a:lnTo>
                    <a:pt x="377" y="89"/>
                  </a:lnTo>
                  <a:lnTo>
                    <a:pt x="378" y="93"/>
                  </a:lnTo>
                  <a:lnTo>
                    <a:pt x="378" y="97"/>
                  </a:lnTo>
                  <a:lnTo>
                    <a:pt x="375" y="101"/>
                  </a:lnTo>
                  <a:lnTo>
                    <a:pt x="375" y="101"/>
                  </a:lnTo>
                  <a:lnTo>
                    <a:pt x="375" y="103"/>
                  </a:lnTo>
                  <a:lnTo>
                    <a:pt x="375" y="106"/>
                  </a:lnTo>
                  <a:lnTo>
                    <a:pt x="375" y="109"/>
                  </a:lnTo>
                  <a:lnTo>
                    <a:pt x="374" y="110"/>
                  </a:lnTo>
                  <a:lnTo>
                    <a:pt x="371" y="112"/>
                  </a:lnTo>
                  <a:lnTo>
                    <a:pt x="366" y="113"/>
                  </a:lnTo>
                  <a:lnTo>
                    <a:pt x="359" y="110"/>
                  </a:lnTo>
                  <a:lnTo>
                    <a:pt x="347" y="106"/>
                  </a:lnTo>
                  <a:lnTo>
                    <a:pt x="347" y="106"/>
                  </a:lnTo>
                  <a:lnTo>
                    <a:pt x="346" y="104"/>
                  </a:lnTo>
                  <a:lnTo>
                    <a:pt x="344" y="103"/>
                  </a:lnTo>
                  <a:lnTo>
                    <a:pt x="339" y="101"/>
                  </a:lnTo>
                  <a:lnTo>
                    <a:pt x="335" y="100"/>
                  </a:lnTo>
                  <a:lnTo>
                    <a:pt x="332" y="97"/>
                  </a:lnTo>
                  <a:lnTo>
                    <a:pt x="327" y="95"/>
                  </a:lnTo>
                  <a:lnTo>
                    <a:pt x="324" y="94"/>
                  </a:lnTo>
                  <a:lnTo>
                    <a:pt x="324" y="94"/>
                  </a:lnTo>
                  <a:lnTo>
                    <a:pt x="322" y="124"/>
                  </a:lnTo>
                  <a:lnTo>
                    <a:pt x="317" y="127"/>
                  </a:lnTo>
                  <a:lnTo>
                    <a:pt x="317" y="127"/>
                  </a:lnTo>
                  <a:lnTo>
                    <a:pt x="317" y="128"/>
                  </a:lnTo>
                  <a:lnTo>
                    <a:pt x="316" y="133"/>
                  </a:lnTo>
                  <a:lnTo>
                    <a:pt x="315" y="137"/>
                  </a:lnTo>
                  <a:lnTo>
                    <a:pt x="312" y="143"/>
                  </a:lnTo>
                  <a:lnTo>
                    <a:pt x="309" y="149"/>
                  </a:lnTo>
                  <a:lnTo>
                    <a:pt x="306" y="152"/>
                  </a:lnTo>
                  <a:lnTo>
                    <a:pt x="303" y="155"/>
                  </a:lnTo>
                  <a:lnTo>
                    <a:pt x="300" y="154"/>
                  </a:lnTo>
                  <a:lnTo>
                    <a:pt x="300" y="154"/>
                  </a:lnTo>
                  <a:lnTo>
                    <a:pt x="300" y="155"/>
                  </a:lnTo>
                  <a:lnTo>
                    <a:pt x="300" y="157"/>
                  </a:lnTo>
                  <a:lnTo>
                    <a:pt x="299" y="160"/>
                  </a:lnTo>
                  <a:lnTo>
                    <a:pt x="297" y="164"/>
                  </a:lnTo>
                  <a:lnTo>
                    <a:pt x="296" y="169"/>
                  </a:lnTo>
                  <a:lnTo>
                    <a:pt x="293" y="172"/>
                  </a:lnTo>
                  <a:lnTo>
                    <a:pt x="291" y="172"/>
                  </a:lnTo>
                  <a:lnTo>
                    <a:pt x="288" y="169"/>
                  </a:lnTo>
                  <a:lnTo>
                    <a:pt x="288" y="169"/>
                  </a:lnTo>
                  <a:lnTo>
                    <a:pt x="287" y="169"/>
                  </a:lnTo>
                  <a:lnTo>
                    <a:pt x="286" y="167"/>
                  </a:lnTo>
                  <a:lnTo>
                    <a:pt x="284" y="166"/>
                  </a:lnTo>
                  <a:lnTo>
                    <a:pt x="282" y="166"/>
                  </a:lnTo>
                  <a:lnTo>
                    <a:pt x="281" y="167"/>
                  </a:lnTo>
                  <a:lnTo>
                    <a:pt x="278" y="169"/>
                  </a:lnTo>
                  <a:lnTo>
                    <a:pt x="276" y="175"/>
                  </a:lnTo>
                  <a:lnTo>
                    <a:pt x="276" y="184"/>
                  </a:lnTo>
                  <a:lnTo>
                    <a:pt x="276" y="184"/>
                  </a:lnTo>
                  <a:lnTo>
                    <a:pt x="276" y="185"/>
                  </a:lnTo>
                  <a:lnTo>
                    <a:pt x="276" y="186"/>
                  </a:lnTo>
                  <a:lnTo>
                    <a:pt x="275" y="188"/>
                  </a:lnTo>
                  <a:lnTo>
                    <a:pt x="275" y="190"/>
                  </a:lnTo>
                  <a:lnTo>
                    <a:pt x="273" y="191"/>
                  </a:lnTo>
                  <a:lnTo>
                    <a:pt x="273" y="193"/>
                  </a:lnTo>
                  <a:lnTo>
                    <a:pt x="273" y="194"/>
                  </a:lnTo>
                  <a:lnTo>
                    <a:pt x="273" y="194"/>
                  </a:lnTo>
                  <a:lnTo>
                    <a:pt x="273" y="194"/>
                  </a:lnTo>
                  <a:lnTo>
                    <a:pt x="273" y="196"/>
                  </a:lnTo>
                  <a:lnTo>
                    <a:pt x="272" y="199"/>
                  </a:lnTo>
                  <a:lnTo>
                    <a:pt x="270" y="205"/>
                  </a:lnTo>
                  <a:lnTo>
                    <a:pt x="269" y="209"/>
                  </a:lnTo>
                  <a:lnTo>
                    <a:pt x="264" y="212"/>
                  </a:lnTo>
                  <a:lnTo>
                    <a:pt x="260" y="214"/>
                  </a:lnTo>
                  <a:lnTo>
                    <a:pt x="254" y="212"/>
                  </a:lnTo>
                  <a:lnTo>
                    <a:pt x="246" y="206"/>
                  </a:lnTo>
                  <a:lnTo>
                    <a:pt x="246" y="206"/>
                  </a:lnTo>
                  <a:lnTo>
                    <a:pt x="245" y="205"/>
                  </a:lnTo>
                  <a:lnTo>
                    <a:pt x="242" y="203"/>
                  </a:lnTo>
                  <a:lnTo>
                    <a:pt x="239" y="202"/>
                  </a:lnTo>
                  <a:lnTo>
                    <a:pt x="236" y="202"/>
                  </a:lnTo>
                  <a:lnTo>
                    <a:pt x="233" y="203"/>
                  </a:lnTo>
                  <a:lnTo>
                    <a:pt x="231" y="206"/>
                  </a:lnTo>
                  <a:lnTo>
                    <a:pt x="231" y="212"/>
                  </a:lnTo>
                  <a:lnTo>
                    <a:pt x="233" y="220"/>
                  </a:lnTo>
                  <a:lnTo>
                    <a:pt x="233" y="220"/>
                  </a:lnTo>
                  <a:lnTo>
                    <a:pt x="233" y="221"/>
                  </a:lnTo>
                  <a:lnTo>
                    <a:pt x="233" y="224"/>
                  </a:lnTo>
                  <a:lnTo>
                    <a:pt x="231" y="226"/>
                  </a:lnTo>
                  <a:lnTo>
                    <a:pt x="230" y="227"/>
                  </a:lnTo>
                  <a:lnTo>
                    <a:pt x="230" y="230"/>
                  </a:lnTo>
                  <a:lnTo>
                    <a:pt x="228" y="232"/>
                  </a:lnTo>
                  <a:lnTo>
                    <a:pt x="228" y="233"/>
                  </a:lnTo>
                  <a:lnTo>
                    <a:pt x="227" y="233"/>
                  </a:lnTo>
                  <a:lnTo>
                    <a:pt x="225" y="244"/>
                  </a:lnTo>
                  <a:lnTo>
                    <a:pt x="225" y="244"/>
                  </a:lnTo>
                  <a:lnTo>
                    <a:pt x="225" y="244"/>
                  </a:lnTo>
                  <a:lnTo>
                    <a:pt x="224" y="245"/>
                  </a:lnTo>
                  <a:lnTo>
                    <a:pt x="222" y="247"/>
                  </a:lnTo>
                  <a:lnTo>
                    <a:pt x="222" y="248"/>
                  </a:lnTo>
                  <a:lnTo>
                    <a:pt x="221" y="250"/>
                  </a:lnTo>
                  <a:lnTo>
                    <a:pt x="220" y="254"/>
                  </a:lnTo>
                  <a:lnTo>
                    <a:pt x="219" y="260"/>
                  </a:lnTo>
                  <a:lnTo>
                    <a:pt x="219" y="266"/>
                  </a:lnTo>
                  <a:lnTo>
                    <a:pt x="219" y="266"/>
                  </a:lnTo>
                  <a:lnTo>
                    <a:pt x="219" y="269"/>
                  </a:lnTo>
                  <a:lnTo>
                    <a:pt x="216" y="272"/>
                  </a:lnTo>
                  <a:lnTo>
                    <a:pt x="213" y="277"/>
                  </a:lnTo>
                  <a:lnTo>
                    <a:pt x="210" y="280"/>
                  </a:lnTo>
                  <a:lnTo>
                    <a:pt x="207" y="284"/>
                  </a:lnTo>
                  <a:lnTo>
                    <a:pt x="204" y="289"/>
                  </a:lnTo>
                  <a:lnTo>
                    <a:pt x="203" y="293"/>
                  </a:lnTo>
                  <a:lnTo>
                    <a:pt x="201" y="298"/>
                  </a:lnTo>
                  <a:lnTo>
                    <a:pt x="201" y="298"/>
                  </a:lnTo>
                  <a:lnTo>
                    <a:pt x="201" y="299"/>
                  </a:lnTo>
                  <a:lnTo>
                    <a:pt x="201" y="301"/>
                  </a:lnTo>
                  <a:lnTo>
                    <a:pt x="201" y="302"/>
                  </a:lnTo>
                  <a:lnTo>
                    <a:pt x="201" y="305"/>
                  </a:lnTo>
                  <a:lnTo>
                    <a:pt x="201" y="307"/>
                  </a:lnTo>
                  <a:lnTo>
                    <a:pt x="201" y="308"/>
                  </a:lnTo>
                  <a:lnTo>
                    <a:pt x="201" y="310"/>
                  </a:lnTo>
                  <a:lnTo>
                    <a:pt x="201" y="310"/>
                  </a:lnTo>
                  <a:lnTo>
                    <a:pt x="206" y="311"/>
                  </a:lnTo>
                  <a:lnTo>
                    <a:pt x="200" y="319"/>
                  </a:lnTo>
                  <a:lnTo>
                    <a:pt x="204" y="325"/>
                  </a:lnTo>
                  <a:lnTo>
                    <a:pt x="189" y="335"/>
                  </a:lnTo>
                  <a:lnTo>
                    <a:pt x="189" y="335"/>
                  </a:lnTo>
                  <a:lnTo>
                    <a:pt x="189" y="335"/>
                  </a:lnTo>
                  <a:lnTo>
                    <a:pt x="189" y="335"/>
                  </a:lnTo>
                  <a:lnTo>
                    <a:pt x="186" y="334"/>
                  </a:lnTo>
                  <a:lnTo>
                    <a:pt x="183" y="334"/>
                  </a:lnTo>
                  <a:lnTo>
                    <a:pt x="179" y="334"/>
                  </a:lnTo>
                  <a:lnTo>
                    <a:pt x="176" y="335"/>
                  </a:lnTo>
                  <a:lnTo>
                    <a:pt x="171" y="340"/>
                  </a:lnTo>
                  <a:lnTo>
                    <a:pt x="170" y="344"/>
                  </a:lnTo>
                  <a:lnTo>
                    <a:pt x="170" y="344"/>
                  </a:lnTo>
                  <a:lnTo>
                    <a:pt x="168" y="343"/>
                  </a:lnTo>
                  <a:lnTo>
                    <a:pt x="167" y="342"/>
                  </a:lnTo>
                  <a:lnTo>
                    <a:pt x="164" y="342"/>
                  </a:lnTo>
                  <a:lnTo>
                    <a:pt x="159" y="341"/>
                  </a:lnTo>
                  <a:lnTo>
                    <a:pt x="157" y="341"/>
                  </a:lnTo>
                  <a:lnTo>
                    <a:pt x="156" y="342"/>
                  </a:lnTo>
                  <a:lnTo>
                    <a:pt x="156" y="344"/>
                  </a:lnTo>
                  <a:lnTo>
                    <a:pt x="157" y="350"/>
                  </a:lnTo>
                  <a:lnTo>
                    <a:pt x="157" y="350"/>
                  </a:lnTo>
                  <a:lnTo>
                    <a:pt x="157" y="352"/>
                  </a:lnTo>
                  <a:lnTo>
                    <a:pt x="156" y="353"/>
                  </a:lnTo>
                  <a:lnTo>
                    <a:pt x="154" y="353"/>
                  </a:lnTo>
                  <a:lnTo>
                    <a:pt x="151" y="355"/>
                  </a:lnTo>
                  <a:lnTo>
                    <a:pt x="149" y="356"/>
                  </a:lnTo>
                  <a:lnTo>
                    <a:pt x="147" y="358"/>
                  </a:lnTo>
                  <a:lnTo>
                    <a:pt x="146" y="358"/>
                  </a:lnTo>
                  <a:lnTo>
                    <a:pt x="146" y="358"/>
                  </a:lnTo>
                  <a:lnTo>
                    <a:pt x="146" y="358"/>
                  </a:lnTo>
                  <a:lnTo>
                    <a:pt x="144" y="359"/>
                  </a:lnTo>
                  <a:lnTo>
                    <a:pt x="141" y="361"/>
                  </a:lnTo>
                  <a:lnTo>
                    <a:pt x="137" y="362"/>
                  </a:lnTo>
                  <a:lnTo>
                    <a:pt x="131" y="364"/>
                  </a:lnTo>
                  <a:lnTo>
                    <a:pt x="126" y="364"/>
                  </a:lnTo>
                  <a:lnTo>
                    <a:pt x="123" y="364"/>
                  </a:lnTo>
                  <a:lnTo>
                    <a:pt x="120" y="362"/>
                  </a:lnTo>
                  <a:lnTo>
                    <a:pt x="118" y="358"/>
                  </a:lnTo>
                  <a:lnTo>
                    <a:pt x="118" y="358"/>
                  </a:lnTo>
                  <a:lnTo>
                    <a:pt x="118" y="358"/>
                  </a:lnTo>
                  <a:lnTo>
                    <a:pt x="117" y="361"/>
                  </a:lnTo>
                  <a:lnTo>
                    <a:pt x="114" y="364"/>
                  </a:lnTo>
                  <a:lnTo>
                    <a:pt x="111" y="367"/>
                  </a:lnTo>
                  <a:lnTo>
                    <a:pt x="107" y="371"/>
                  </a:lnTo>
                  <a:lnTo>
                    <a:pt x="102" y="373"/>
                  </a:lnTo>
                  <a:lnTo>
                    <a:pt x="98" y="373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1" y="371"/>
                  </a:lnTo>
                  <a:lnTo>
                    <a:pt x="88" y="371"/>
                  </a:lnTo>
                  <a:lnTo>
                    <a:pt x="85" y="370"/>
                  </a:lnTo>
                  <a:lnTo>
                    <a:pt x="82" y="368"/>
                  </a:lnTo>
                  <a:lnTo>
                    <a:pt x="78" y="367"/>
                  </a:lnTo>
                  <a:lnTo>
                    <a:pt x="74" y="362"/>
                  </a:lnTo>
                  <a:lnTo>
                    <a:pt x="69" y="358"/>
                  </a:lnTo>
                  <a:lnTo>
                    <a:pt x="66" y="352"/>
                  </a:lnTo>
                  <a:lnTo>
                    <a:pt x="66" y="352"/>
                  </a:lnTo>
                  <a:lnTo>
                    <a:pt x="65" y="349"/>
                  </a:lnTo>
                  <a:lnTo>
                    <a:pt x="65" y="346"/>
                  </a:lnTo>
                  <a:lnTo>
                    <a:pt x="65" y="343"/>
                  </a:lnTo>
                  <a:lnTo>
                    <a:pt x="63" y="342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" name="Freeform 77"/>
            <p:cNvSpPr>
              <a:spLocks/>
            </p:cNvSpPr>
            <p:nvPr/>
          </p:nvSpPr>
          <p:spPr bwMode="auto">
            <a:xfrm>
              <a:off x="3429013" y="4177232"/>
              <a:ext cx="91628" cy="193740"/>
            </a:xfrm>
            <a:custGeom>
              <a:avLst/>
              <a:gdLst>
                <a:gd name="T0" fmla="*/ 105 w 136"/>
                <a:gd name="T1" fmla="*/ 263 h 289"/>
                <a:gd name="T2" fmla="*/ 108 w 136"/>
                <a:gd name="T3" fmla="*/ 257 h 289"/>
                <a:gd name="T4" fmla="*/ 119 w 136"/>
                <a:gd name="T5" fmla="*/ 245 h 289"/>
                <a:gd name="T6" fmla="*/ 129 w 136"/>
                <a:gd name="T7" fmla="*/ 242 h 289"/>
                <a:gd name="T8" fmla="*/ 131 w 136"/>
                <a:gd name="T9" fmla="*/ 239 h 289"/>
                <a:gd name="T10" fmla="*/ 132 w 136"/>
                <a:gd name="T11" fmla="*/ 228 h 289"/>
                <a:gd name="T12" fmla="*/ 135 w 136"/>
                <a:gd name="T13" fmla="*/ 223 h 289"/>
                <a:gd name="T14" fmla="*/ 131 w 136"/>
                <a:gd name="T15" fmla="*/ 219 h 289"/>
                <a:gd name="T16" fmla="*/ 125 w 136"/>
                <a:gd name="T17" fmla="*/ 215 h 289"/>
                <a:gd name="T18" fmla="*/ 120 w 136"/>
                <a:gd name="T19" fmla="*/ 201 h 289"/>
                <a:gd name="T20" fmla="*/ 115 w 136"/>
                <a:gd name="T21" fmla="*/ 197 h 289"/>
                <a:gd name="T22" fmla="*/ 107 w 136"/>
                <a:gd name="T23" fmla="*/ 189 h 289"/>
                <a:gd name="T24" fmla="*/ 39 w 136"/>
                <a:gd name="T25" fmla="*/ 0 h 289"/>
                <a:gd name="T26" fmla="*/ 27 w 136"/>
                <a:gd name="T27" fmla="*/ 6 h 289"/>
                <a:gd name="T28" fmla="*/ 25 w 136"/>
                <a:gd name="T29" fmla="*/ 11 h 289"/>
                <a:gd name="T30" fmla="*/ 27 w 136"/>
                <a:gd name="T31" fmla="*/ 21 h 289"/>
                <a:gd name="T32" fmla="*/ 24 w 136"/>
                <a:gd name="T33" fmla="*/ 32 h 289"/>
                <a:gd name="T34" fmla="*/ 27 w 136"/>
                <a:gd name="T35" fmla="*/ 41 h 289"/>
                <a:gd name="T36" fmla="*/ 27 w 136"/>
                <a:gd name="T37" fmla="*/ 47 h 289"/>
                <a:gd name="T38" fmla="*/ 27 w 136"/>
                <a:gd name="T39" fmla="*/ 57 h 289"/>
                <a:gd name="T40" fmla="*/ 25 w 136"/>
                <a:gd name="T41" fmla="*/ 63 h 289"/>
                <a:gd name="T42" fmla="*/ 27 w 136"/>
                <a:gd name="T43" fmla="*/ 69 h 289"/>
                <a:gd name="T44" fmla="*/ 32 w 136"/>
                <a:gd name="T45" fmla="*/ 78 h 289"/>
                <a:gd name="T46" fmla="*/ 32 w 136"/>
                <a:gd name="T47" fmla="*/ 90 h 289"/>
                <a:gd name="T48" fmla="*/ 25 w 136"/>
                <a:gd name="T49" fmla="*/ 102 h 289"/>
                <a:gd name="T50" fmla="*/ 14 w 136"/>
                <a:gd name="T51" fmla="*/ 113 h 289"/>
                <a:gd name="T52" fmla="*/ 14 w 136"/>
                <a:gd name="T53" fmla="*/ 111 h 289"/>
                <a:gd name="T54" fmla="*/ 8 w 136"/>
                <a:gd name="T55" fmla="*/ 119 h 289"/>
                <a:gd name="T56" fmla="*/ 9 w 136"/>
                <a:gd name="T57" fmla="*/ 128 h 289"/>
                <a:gd name="T58" fmla="*/ 9 w 136"/>
                <a:gd name="T59" fmla="*/ 141 h 289"/>
                <a:gd name="T60" fmla="*/ 9 w 136"/>
                <a:gd name="T61" fmla="*/ 158 h 289"/>
                <a:gd name="T62" fmla="*/ 6 w 136"/>
                <a:gd name="T63" fmla="*/ 171 h 289"/>
                <a:gd name="T64" fmla="*/ 5 w 136"/>
                <a:gd name="T65" fmla="*/ 182 h 289"/>
                <a:gd name="T66" fmla="*/ 3 w 136"/>
                <a:gd name="T67" fmla="*/ 189 h 289"/>
                <a:gd name="T68" fmla="*/ 0 w 136"/>
                <a:gd name="T69" fmla="*/ 197 h 289"/>
                <a:gd name="T70" fmla="*/ 0 w 136"/>
                <a:gd name="T71" fmla="*/ 215 h 289"/>
                <a:gd name="T72" fmla="*/ 5 w 136"/>
                <a:gd name="T73" fmla="*/ 225 h 289"/>
                <a:gd name="T74" fmla="*/ 5 w 136"/>
                <a:gd name="T75" fmla="*/ 234 h 289"/>
                <a:gd name="T76" fmla="*/ 5 w 136"/>
                <a:gd name="T77" fmla="*/ 242 h 289"/>
                <a:gd name="T78" fmla="*/ 6 w 136"/>
                <a:gd name="T79" fmla="*/ 245 h 289"/>
                <a:gd name="T80" fmla="*/ 8 w 136"/>
                <a:gd name="T81" fmla="*/ 254 h 289"/>
                <a:gd name="T82" fmla="*/ 5 w 136"/>
                <a:gd name="T83" fmla="*/ 263 h 289"/>
                <a:gd name="T84" fmla="*/ 5 w 136"/>
                <a:gd name="T85" fmla="*/ 270 h 289"/>
                <a:gd name="T86" fmla="*/ 6 w 136"/>
                <a:gd name="T87" fmla="*/ 282 h 289"/>
                <a:gd name="T88" fmla="*/ 98 w 136"/>
                <a:gd name="T89" fmla="*/ 26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6" h="289">
                  <a:moveTo>
                    <a:pt x="98" y="269"/>
                  </a:moveTo>
                  <a:lnTo>
                    <a:pt x="104" y="263"/>
                  </a:lnTo>
                  <a:lnTo>
                    <a:pt x="105" y="263"/>
                  </a:lnTo>
                  <a:lnTo>
                    <a:pt x="105" y="260"/>
                  </a:lnTo>
                  <a:lnTo>
                    <a:pt x="107" y="258"/>
                  </a:lnTo>
                  <a:lnTo>
                    <a:pt x="108" y="257"/>
                  </a:lnTo>
                  <a:lnTo>
                    <a:pt x="110" y="252"/>
                  </a:lnTo>
                  <a:lnTo>
                    <a:pt x="115" y="248"/>
                  </a:lnTo>
                  <a:lnTo>
                    <a:pt x="119" y="245"/>
                  </a:lnTo>
                  <a:lnTo>
                    <a:pt x="123" y="242"/>
                  </a:lnTo>
                  <a:lnTo>
                    <a:pt x="126" y="242"/>
                  </a:lnTo>
                  <a:lnTo>
                    <a:pt x="129" y="242"/>
                  </a:lnTo>
                  <a:lnTo>
                    <a:pt x="131" y="242"/>
                  </a:lnTo>
                  <a:lnTo>
                    <a:pt x="132" y="242"/>
                  </a:lnTo>
                  <a:lnTo>
                    <a:pt x="131" y="239"/>
                  </a:lnTo>
                  <a:lnTo>
                    <a:pt x="131" y="236"/>
                  </a:lnTo>
                  <a:lnTo>
                    <a:pt x="132" y="231"/>
                  </a:lnTo>
                  <a:lnTo>
                    <a:pt x="132" y="228"/>
                  </a:lnTo>
                  <a:lnTo>
                    <a:pt x="134" y="227"/>
                  </a:lnTo>
                  <a:lnTo>
                    <a:pt x="134" y="224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2" y="221"/>
                  </a:lnTo>
                  <a:lnTo>
                    <a:pt x="131" y="219"/>
                  </a:lnTo>
                  <a:lnTo>
                    <a:pt x="129" y="218"/>
                  </a:lnTo>
                  <a:lnTo>
                    <a:pt x="126" y="216"/>
                  </a:lnTo>
                  <a:lnTo>
                    <a:pt x="125" y="215"/>
                  </a:lnTo>
                  <a:lnTo>
                    <a:pt x="125" y="209"/>
                  </a:lnTo>
                  <a:lnTo>
                    <a:pt x="123" y="204"/>
                  </a:lnTo>
                  <a:lnTo>
                    <a:pt x="120" y="201"/>
                  </a:lnTo>
                  <a:lnTo>
                    <a:pt x="119" y="198"/>
                  </a:lnTo>
                  <a:lnTo>
                    <a:pt x="116" y="197"/>
                  </a:lnTo>
                  <a:lnTo>
                    <a:pt x="115" y="197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07" y="189"/>
                  </a:lnTo>
                  <a:lnTo>
                    <a:pt x="51" y="3"/>
                  </a:lnTo>
                  <a:lnTo>
                    <a:pt x="45" y="1"/>
                  </a:lnTo>
                  <a:lnTo>
                    <a:pt x="39" y="0"/>
                  </a:lnTo>
                  <a:lnTo>
                    <a:pt x="35" y="1"/>
                  </a:lnTo>
                  <a:lnTo>
                    <a:pt x="30" y="3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2"/>
                  </a:lnTo>
                  <a:lnTo>
                    <a:pt x="30" y="20"/>
                  </a:lnTo>
                  <a:lnTo>
                    <a:pt x="27" y="21"/>
                  </a:lnTo>
                  <a:lnTo>
                    <a:pt x="27" y="27"/>
                  </a:lnTo>
                  <a:lnTo>
                    <a:pt x="24" y="29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2"/>
                  </a:lnTo>
                  <a:lnTo>
                    <a:pt x="27" y="45"/>
                  </a:lnTo>
                  <a:lnTo>
                    <a:pt x="27" y="47"/>
                  </a:lnTo>
                  <a:lnTo>
                    <a:pt x="27" y="51"/>
                  </a:lnTo>
                  <a:lnTo>
                    <a:pt x="27" y="54"/>
                  </a:lnTo>
                  <a:lnTo>
                    <a:pt x="27" y="57"/>
                  </a:lnTo>
                  <a:lnTo>
                    <a:pt x="24" y="62"/>
                  </a:lnTo>
                  <a:lnTo>
                    <a:pt x="24" y="63"/>
                  </a:lnTo>
                  <a:lnTo>
                    <a:pt x="25" y="63"/>
                  </a:lnTo>
                  <a:lnTo>
                    <a:pt x="27" y="64"/>
                  </a:lnTo>
                  <a:lnTo>
                    <a:pt x="27" y="66"/>
                  </a:lnTo>
                  <a:lnTo>
                    <a:pt x="27" y="69"/>
                  </a:lnTo>
                  <a:lnTo>
                    <a:pt x="29" y="71"/>
                  </a:lnTo>
                  <a:lnTo>
                    <a:pt x="30" y="75"/>
                  </a:lnTo>
                  <a:lnTo>
                    <a:pt x="32" y="78"/>
                  </a:lnTo>
                  <a:lnTo>
                    <a:pt x="32" y="83"/>
                  </a:lnTo>
                  <a:lnTo>
                    <a:pt x="32" y="86"/>
                  </a:lnTo>
                  <a:lnTo>
                    <a:pt x="32" y="90"/>
                  </a:lnTo>
                  <a:lnTo>
                    <a:pt x="30" y="95"/>
                  </a:lnTo>
                  <a:lnTo>
                    <a:pt x="27" y="98"/>
                  </a:lnTo>
                  <a:lnTo>
                    <a:pt x="25" y="102"/>
                  </a:lnTo>
                  <a:lnTo>
                    <a:pt x="19" y="107"/>
                  </a:lnTo>
                  <a:lnTo>
                    <a:pt x="14" y="111"/>
                  </a:lnTo>
                  <a:lnTo>
                    <a:pt x="14" y="113"/>
                  </a:lnTo>
                  <a:lnTo>
                    <a:pt x="14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8" y="122"/>
                  </a:lnTo>
                  <a:lnTo>
                    <a:pt x="9" y="125"/>
                  </a:lnTo>
                  <a:lnTo>
                    <a:pt x="9" y="128"/>
                  </a:lnTo>
                  <a:lnTo>
                    <a:pt x="9" y="132"/>
                  </a:lnTo>
                  <a:lnTo>
                    <a:pt x="9" y="137"/>
                  </a:lnTo>
                  <a:lnTo>
                    <a:pt x="9" y="141"/>
                  </a:lnTo>
                  <a:lnTo>
                    <a:pt x="9" y="147"/>
                  </a:lnTo>
                  <a:lnTo>
                    <a:pt x="9" y="152"/>
                  </a:lnTo>
                  <a:lnTo>
                    <a:pt x="9" y="158"/>
                  </a:lnTo>
                  <a:lnTo>
                    <a:pt x="8" y="162"/>
                  </a:lnTo>
                  <a:lnTo>
                    <a:pt x="8" y="167"/>
                  </a:lnTo>
                  <a:lnTo>
                    <a:pt x="6" y="171"/>
                  </a:lnTo>
                  <a:lnTo>
                    <a:pt x="6" y="176"/>
                  </a:lnTo>
                  <a:lnTo>
                    <a:pt x="5" y="179"/>
                  </a:lnTo>
                  <a:lnTo>
                    <a:pt x="5" y="182"/>
                  </a:lnTo>
                  <a:lnTo>
                    <a:pt x="3" y="185"/>
                  </a:lnTo>
                  <a:lnTo>
                    <a:pt x="3" y="188"/>
                  </a:lnTo>
                  <a:lnTo>
                    <a:pt x="3" y="189"/>
                  </a:lnTo>
                  <a:lnTo>
                    <a:pt x="3" y="189"/>
                  </a:lnTo>
                  <a:lnTo>
                    <a:pt x="2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0" y="209"/>
                  </a:lnTo>
                  <a:lnTo>
                    <a:pt x="0" y="215"/>
                  </a:lnTo>
                  <a:lnTo>
                    <a:pt x="0" y="221"/>
                  </a:lnTo>
                  <a:lnTo>
                    <a:pt x="3" y="225"/>
                  </a:lnTo>
                  <a:lnTo>
                    <a:pt x="5" y="225"/>
                  </a:lnTo>
                  <a:lnTo>
                    <a:pt x="5" y="228"/>
                  </a:lnTo>
                  <a:lnTo>
                    <a:pt x="5" y="231"/>
                  </a:lnTo>
                  <a:lnTo>
                    <a:pt x="5" y="234"/>
                  </a:lnTo>
                  <a:lnTo>
                    <a:pt x="5" y="237"/>
                  </a:lnTo>
                  <a:lnTo>
                    <a:pt x="5" y="240"/>
                  </a:lnTo>
                  <a:lnTo>
                    <a:pt x="5" y="242"/>
                  </a:lnTo>
                  <a:lnTo>
                    <a:pt x="5" y="243"/>
                  </a:lnTo>
                  <a:lnTo>
                    <a:pt x="5" y="243"/>
                  </a:lnTo>
                  <a:lnTo>
                    <a:pt x="6" y="245"/>
                  </a:lnTo>
                  <a:lnTo>
                    <a:pt x="6" y="248"/>
                  </a:lnTo>
                  <a:lnTo>
                    <a:pt x="8" y="251"/>
                  </a:lnTo>
                  <a:lnTo>
                    <a:pt x="8" y="254"/>
                  </a:lnTo>
                  <a:lnTo>
                    <a:pt x="8" y="257"/>
                  </a:lnTo>
                  <a:lnTo>
                    <a:pt x="8" y="260"/>
                  </a:lnTo>
                  <a:lnTo>
                    <a:pt x="5" y="263"/>
                  </a:lnTo>
                  <a:lnTo>
                    <a:pt x="5" y="264"/>
                  </a:lnTo>
                  <a:lnTo>
                    <a:pt x="5" y="266"/>
                  </a:lnTo>
                  <a:lnTo>
                    <a:pt x="5" y="270"/>
                  </a:lnTo>
                  <a:lnTo>
                    <a:pt x="5" y="273"/>
                  </a:lnTo>
                  <a:lnTo>
                    <a:pt x="5" y="278"/>
                  </a:lnTo>
                  <a:lnTo>
                    <a:pt x="6" y="282"/>
                  </a:lnTo>
                  <a:lnTo>
                    <a:pt x="8" y="285"/>
                  </a:lnTo>
                  <a:lnTo>
                    <a:pt x="12" y="288"/>
                  </a:lnTo>
                  <a:lnTo>
                    <a:pt x="98" y="26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6" name="Freeform 78"/>
            <p:cNvSpPr>
              <a:spLocks/>
            </p:cNvSpPr>
            <p:nvPr/>
          </p:nvSpPr>
          <p:spPr bwMode="auto">
            <a:xfrm>
              <a:off x="3429013" y="4177232"/>
              <a:ext cx="91628" cy="193740"/>
            </a:xfrm>
            <a:custGeom>
              <a:avLst/>
              <a:gdLst>
                <a:gd name="T0" fmla="*/ 104 w 136"/>
                <a:gd name="T1" fmla="*/ 263 h 289"/>
                <a:gd name="T2" fmla="*/ 107 w 136"/>
                <a:gd name="T3" fmla="*/ 258 h 289"/>
                <a:gd name="T4" fmla="*/ 110 w 136"/>
                <a:gd name="T5" fmla="*/ 252 h 289"/>
                <a:gd name="T6" fmla="*/ 123 w 136"/>
                <a:gd name="T7" fmla="*/ 242 h 289"/>
                <a:gd name="T8" fmla="*/ 131 w 136"/>
                <a:gd name="T9" fmla="*/ 242 h 289"/>
                <a:gd name="T10" fmla="*/ 131 w 136"/>
                <a:gd name="T11" fmla="*/ 239 h 289"/>
                <a:gd name="T12" fmla="*/ 132 w 136"/>
                <a:gd name="T13" fmla="*/ 228 h 289"/>
                <a:gd name="T14" fmla="*/ 135 w 136"/>
                <a:gd name="T15" fmla="*/ 223 h 289"/>
                <a:gd name="T16" fmla="*/ 132 w 136"/>
                <a:gd name="T17" fmla="*/ 221 h 289"/>
                <a:gd name="T18" fmla="*/ 126 w 136"/>
                <a:gd name="T19" fmla="*/ 216 h 289"/>
                <a:gd name="T20" fmla="*/ 125 w 136"/>
                <a:gd name="T21" fmla="*/ 209 h 289"/>
                <a:gd name="T22" fmla="*/ 119 w 136"/>
                <a:gd name="T23" fmla="*/ 198 h 289"/>
                <a:gd name="T24" fmla="*/ 112 w 136"/>
                <a:gd name="T25" fmla="*/ 195 h 289"/>
                <a:gd name="T26" fmla="*/ 51 w 136"/>
                <a:gd name="T27" fmla="*/ 3 h 289"/>
                <a:gd name="T28" fmla="*/ 39 w 136"/>
                <a:gd name="T29" fmla="*/ 0 h 289"/>
                <a:gd name="T30" fmla="*/ 27 w 136"/>
                <a:gd name="T31" fmla="*/ 6 h 289"/>
                <a:gd name="T32" fmla="*/ 25 w 136"/>
                <a:gd name="T33" fmla="*/ 11 h 289"/>
                <a:gd name="T34" fmla="*/ 27 w 136"/>
                <a:gd name="T35" fmla="*/ 21 h 289"/>
                <a:gd name="T36" fmla="*/ 24 w 136"/>
                <a:gd name="T37" fmla="*/ 32 h 289"/>
                <a:gd name="T38" fmla="*/ 27 w 136"/>
                <a:gd name="T39" fmla="*/ 41 h 289"/>
                <a:gd name="T40" fmla="*/ 27 w 136"/>
                <a:gd name="T41" fmla="*/ 45 h 289"/>
                <a:gd name="T42" fmla="*/ 27 w 136"/>
                <a:gd name="T43" fmla="*/ 54 h 289"/>
                <a:gd name="T44" fmla="*/ 24 w 136"/>
                <a:gd name="T45" fmla="*/ 62 h 289"/>
                <a:gd name="T46" fmla="*/ 27 w 136"/>
                <a:gd name="T47" fmla="*/ 64 h 289"/>
                <a:gd name="T48" fmla="*/ 29 w 136"/>
                <a:gd name="T49" fmla="*/ 71 h 289"/>
                <a:gd name="T50" fmla="*/ 32 w 136"/>
                <a:gd name="T51" fmla="*/ 83 h 289"/>
                <a:gd name="T52" fmla="*/ 30 w 136"/>
                <a:gd name="T53" fmla="*/ 95 h 289"/>
                <a:gd name="T54" fmla="*/ 19 w 136"/>
                <a:gd name="T55" fmla="*/ 107 h 289"/>
                <a:gd name="T56" fmla="*/ 14 w 136"/>
                <a:gd name="T57" fmla="*/ 113 h 289"/>
                <a:gd name="T58" fmla="*/ 14 w 136"/>
                <a:gd name="T59" fmla="*/ 111 h 289"/>
                <a:gd name="T60" fmla="*/ 8 w 136"/>
                <a:gd name="T61" fmla="*/ 119 h 289"/>
                <a:gd name="T62" fmla="*/ 9 w 136"/>
                <a:gd name="T63" fmla="*/ 125 h 289"/>
                <a:gd name="T64" fmla="*/ 9 w 136"/>
                <a:gd name="T65" fmla="*/ 137 h 289"/>
                <a:gd name="T66" fmla="*/ 9 w 136"/>
                <a:gd name="T67" fmla="*/ 152 h 289"/>
                <a:gd name="T68" fmla="*/ 8 w 136"/>
                <a:gd name="T69" fmla="*/ 167 h 289"/>
                <a:gd name="T70" fmla="*/ 5 w 136"/>
                <a:gd name="T71" fmla="*/ 179 h 289"/>
                <a:gd name="T72" fmla="*/ 3 w 136"/>
                <a:gd name="T73" fmla="*/ 185 h 289"/>
                <a:gd name="T74" fmla="*/ 3 w 136"/>
                <a:gd name="T75" fmla="*/ 189 h 289"/>
                <a:gd name="T76" fmla="*/ 0 w 136"/>
                <a:gd name="T77" fmla="*/ 197 h 289"/>
                <a:gd name="T78" fmla="*/ 0 w 136"/>
                <a:gd name="T79" fmla="*/ 215 h 289"/>
                <a:gd name="T80" fmla="*/ 3 w 136"/>
                <a:gd name="T81" fmla="*/ 225 h 289"/>
                <a:gd name="T82" fmla="*/ 5 w 136"/>
                <a:gd name="T83" fmla="*/ 231 h 289"/>
                <a:gd name="T84" fmla="*/ 5 w 136"/>
                <a:gd name="T85" fmla="*/ 240 h 289"/>
                <a:gd name="T86" fmla="*/ 5 w 136"/>
                <a:gd name="T87" fmla="*/ 243 h 289"/>
                <a:gd name="T88" fmla="*/ 6 w 136"/>
                <a:gd name="T89" fmla="*/ 248 h 289"/>
                <a:gd name="T90" fmla="*/ 8 w 136"/>
                <a:gd name="T91" fmla="*/ 257 h 289"/>
                <a:gd name="T92" fmla="*/ 5 w 136"/>
                <a:gd name="T93" fmla="*/ 263 h 289"/>
                <a:gd name="T94" fmla="*/ 5 w 136"/>
                <a:gd name="T95" fmla="*/ 270 h 289"/>
                <a:gd name="T96" fmla="*/ 6 w 136"/>
                <a:gd name="T97" fmla="*/ 282 h 289"/>
                <a:gd name="T98" fmla="*/ 98 w 136"/>
                <a:gd name="T99" fmla="*/ 26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6" h="289">
                  <a:moveTo>
                    <a:pt x="98" y="269"/>
                  </a:moveTo>
                  <a:lnTo>
                    <a:pt x="104" y="263"/>
                  </a:lnTo>
                  <a:lnTo>
                    <a:pt x="104" y="263"/>
                  </a:lnTo>
                  <a:lnTo>
                    <a:pt x="105" y="263"/>
                  </a:lnTo>
                  <a:lnTo>
                    <a:pt x="105" y="260"/>
                  </a:lnTo>
                  <a:lnTo>
                    <a:pt x="107" y="258"/>
                  </a:lnTo>
                  <a:lnTo>
                    <a:pt x="108" y="257"/>
                  </a:lnTo>
                  <a:lnTo>
                    <a:pt x="108" y="257"/>
                  </a:lnTo>
                  <a:lnTo>
                    <a:pt x="110" y="252"/>
                  </a:lnTo>
                  <a:lnTo>
                    <a:pt x="115" y="248"/>
                  </a:lnTo>
                  <a:lnTo>
                    <a:pt x="119" y="245"/>
                  </a:lnTo>
                  <a:lnTo>
                    <a:pt x="123" y="242"/>
                  </a:lnTo>
                  <a:lnTo>
                    <a:pt x="126" y="242"/>
                  </a:lnTo>
                  <a:lnTo>
                    <a:pt x="129" y="242"/>
                  </a:lnTo>
                  <a:lnTo>
                    <a:pt x="131" y="242"/>
                  </a:lnTo>
                  <a:lnTo>
                    <a:pt x="132" y="242"/>
                  </a:lnTo>
                  <a:lnTo>
                    <a:pt x="132" y="242"/>
                  </a:lnTo>
                  <a:lnTo>
                    <a:pt x="131" y="239"/>
                  </a:lnTo>
                  <a:lnTo>
                    <a:pt x="131" y="236"/>
                  </a:lnTo>
                  <a:lnTo>
                    <a:pt x="132" y="231"/>
                  </a:lnTo>
                  <a:lnTo>
                    <a:pt x="132" y="228"/>
                  </a:lnTo>
                  <a:lnTo>
                    <a:pt x="134" y="227"/>
                  </a:lnTo>
                  <a:lnTo>
                    <a:pt x="134" y="224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1" y="219"/>
                  </a:lnTo>
                  <a:lnTo>
                    <a:pt x="129" y="218"/>
                  </a:lnTo>
                  <a:lnTo>
                    <a:pt x="126" y="216"/>
                  </a:lnTo>
                  <a:lnTo>
                    <a:pt x="125" y="215"/>
                  </a:lnTo>
                  <a:lnTo>
                    <a:pt x="125" y="215"/>
                  </a:lnTo>
                  <a:lnTo>
                    <a:pt x="125" y="209"/>
                  </a:lnTo>
                  <a:lnTo>
                    <a:pt x="123" y="204"/>
                  </a:lnTo>
                  <a:lnTo>
                    <a:pt x="120" y="201"/>
                  </a:lnTo>
                  <a:lnTo>
                    <a:pt x="119" y="198"/>
                  </a:lnTo>
                  <a:lnTo>
                    <a:pt x="116" y="197"/>
                  </a:lnTo>
                  <a:lnTo>
                    <a:pt x="115" y="197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07" y="189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45" y="1"/>
                  </a:lnTo>
                  <a:lnTo>
                    <a:pt x="39" y="0"/>
                  </a:lnTo>
                  <a:lnTo>
                    <a:pt x="35" y="1"/>
                  </a:lnTo>
                  <a:lnTo>
                    <a:pt x="30" y="3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2"/>
                  </a:lnTo>
                  <a:lnTo>
                    <a:pt x="30" y="20"/>
                  </a:lnTo>
                  <a:lnTo>
                    <a:pt x="27" y="21"/>
                  </a:lnTo>
                  <a:lnTo>
                    <a:pt x="27" y="27"/>
                  </a:lnTo>
                  <a:lnTo>
                    <a:pt x="24" y="29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2"/>
                  </a:lnTo>
                  <a:lnTo>
                    <a:pt x="27" y="45"/>
                  </a:lnTo>
                  <a:lnTo>
                    <a:pt x="27" y="47"/>
                  </a:lnTo>
                  <a:lnTo>
                    <a:pt x="27" y="51"/>
                  </a:lnTo>
                  <a:lnTo>
                    <a:pt x="27" y="54"/>
                  </a:lnTo>
                  <a:lnTo>
                    <a:pt x="27" y="57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3"/>
                  </a:lnTo>
                  <a:lnTo>
                    <a:pt x="25" y="63"/>
                  </a:lnTo>
                  <a:lnTo>
                    <a:pt x="27" y="64"/>
                  </a:lnTo>
                  <a:lnTo>
                    <a:pt x="27" y="66"/>
                  </a:lnTo>
                  <a:lnTo>
                    <a:pt x="27" y="69"/>
                  </a:lnTo>
                  <a:lnTo>
                    <a:pt x="29" y="71"/>
                  </a:lnTo>
                  <a:lnTo>
                    <a:pt x="30" y="75"/>
                  </a:lnTo>
                  <a:lnTo>
                    <a:pt x="32" y="78"/>
                  </a:lnTo>
                  <a:lnTo>
                    <a:pt x="32" y="83"/>
                  </a:lnTo>
                  <a:lnTo>
                    <a:pt x="32" y="86"/>
                  </a:lnTo>
                  <a:lnTo>
                    <a:pt x="32" y="90"/>
                  </a:lnTo>
                  <a:lnTo>
                    <a:pt x="30" y="95"/>
                  </a:lnTo>
                  <a:lnTo>
                    <a:pt x="27" y="98"/>
                  </a:lnTo>
                  <a:lnTo>
                    <a:pt x="25" y="102"/>
                  </a:lnTo>
                  <a:lnTo>
                    <a:pt x="19" y="107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3"/>
                  </a:lnTo>
                  <a:lnTo>
                    <a:pt x="14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8" y="117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8" y="122"/>
                  </a:lnTo>
                  <a:lnTo>
                    <a:pt x="9" y="125"/>
                  </a:lnTo>
                  <a:lnTo>
                    <a:pt x="9" y="128"/>
                  </a:lnTo>
                  <a:lnTo>
                    <a:pt x="9" y="132"/>
                  </a:lnTo>
                  <a:lnTo>
                    <a:pt x="9" y="137"/>
                  </a:lnTo>
                  <a:lnTo>
                    <a:pt x="9" y="141"/>
                  </a:lnTo>
                  <a:lnTo>
                    <a:pt x="9" y="147"/>
                  </a:lnTo>
                  <a:lnTo>
                    <a:pt x="9" y="152"/>
                  </a:lnTo>
                  <a:lnTo>
                    <a:pt x="9" y="158"/>
                  </a:lnTo>
                  <a:lnTo>
                    <a:pt x="8" y="162"/>
                  </a:lnTo>
                  <a:lnTo>
                    <a:pt x="8" y="167"/>
                  </a:lnTo>
                  <a:lnTo>
                    <a:pt x="6" y="171"/>
                  </a:lnTo>
                  <a:lnTo>
                    <a:pt x="6" y="176"/>
                  </a:lnTo>
                  <a:lnTo>
                    <a:pt x="5" y="179"/>
                  </a:lnTo>
                  <a:lnTo>
                    <a:pt x="5" y="179"/>
                  </a:lnTo>
                  <a:lnTo>
                    <a:pt x="5" y="182"/>
                  </a:lnTo>
                  <a:lnTo>
                    <a:pt x="3" y="185"/>
                  </a:lnTo>
                  <a:lnTo>
                    <a:pt x="3" y="188"/>
                  </a:lnTo>
                  <a:lnTo>
                    <a:pt x="3" y="189"/>
                  </a:lnTo>
                  <a:lnTo>
                    <a:pt x="3" y="189"/>
                  </a:lnTo>
                  <a:lnTo>
                    <a:pt x="3" y="189"/>
                  </a:lnTo>
                  <a:lnTo>
                    <a:pt x="2" y="192"/>
                  </a:lnTo>
                  <a:lnTo>
                    <a:pt x="0" y="197"/>
                  </a:lnTo>
                  <a:lnTo>
                    <a:pt x="0" y="203"/>
                  </a:lnTo>
                  <a:lnTo>
                    <a:pt x="0" y="209"/>
                  </a:lnTo>
                  <a:lnTo>
                    <a:pt x="0" y="215"/>
                  </a:lnTo>
                  <a:lnTo>
                    <a:pt x="0" y="221"/>
                  </a:lnTo>
                  <a:lnTo>
                    <a:pt x="3" y="225"/>
                  </a:lnTo>
                  <a:lnTo>
                    <a:pt x="3" y="225"/>
                  </a:lnTo>
                  <a:lnTo>
                    <a:pt x="5" y="225"/>
                  </a:lnTo>
                  <a:lnTo>
                    <a:pt x="5" y="228"/>
                  </a:lnTo>
                  <a:lnTo>
                    <a:pt x="5" y="231"/>
                  </a:lnTo>
                  <a:lnTo>
                    <a:pt x="5" y="234"/>
                  </a:lnTo>
                  <a:lnTo>
                    <a:pt x="5" y="237"/>
                  </a:lnTo>
                  <a:lnTo>
                    <a:pt x="5" y="240"/>
                  </a:lnTo>
                  <a:lnTo>
                    <a:pt x="5" y="242"/>
                  </a:lnTo>
                  <a:lnTo>
                    <a:pt x="5" y="243"/>
                  </a:lnTo>
                  <a:lnTo>
                    <a:pt x="5" y="243"/>
                  </a:lnTo>
                  <a:lnTo>
                    <a:pt x="5" y="243"/>
                  </a:lnTo>
                  <a:lnTo>
                    <a:pt x="6" y="245"/>
                  </a:lnTo>
                  <a:lnTo>
                    <a:pt x="6" y="248"/>
                  </a:lnTo>
                  <a:lnTo>
                    <a:pt x="8" y="251"/>
                  </a:lnTo>
                  <a:lnTo>
                    <a:pt x="8" y="254"/>
                  </a:lnTo>
                  <a:lnTo>
                    <a:pt x="8" y="257"/>
                  </a:lnTo>
                  <a:lnTo>
                    <a:pt x="8" y="260"/>
                  </a:lnTo>
                  <a:lnTo>
                    <a:pt x="5" y="263"/>
                  </a:lnTo>
                  <a:lnTo>
                    <a:pt x="5" y="263"/>
                  </a:lnTo>
                  <a:lnTo>
                    <a:pt x="5" y="264"/>
                  </a:lnTo>
                  <a:lnTo>
                    <a:pt x="5" y="266"/>
                  </a:lnTo>
                  <a:lnTo>
                    <a:pt x="5" y="270"/>
                  </a:lnTo>
                  <a:lnTo>
                    <a:pt x="5" y="273"/>
                  </a:lnTo>
                  <a:lnTo>
                    <a:pt x="5" y="278"/>
                  </a:lnTo>
                  <a:lnTo>
                    <a:pt x="6" y="282"/>
                  </a:lnTo>
                  <a:lnTo>
                    <a:pt x="8" y="285"/>
                  </a:lnTo>
                  <a:lnTo>
                    <a:pt x="12" y="288"/>
                  </a:lnTo>
                  <a:lnTo>
                    <a:pt x="98" y="269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7" name="Freeform 79"/>
            <p:cNvSpPr>
              <a:spLocks/>
            </p:cNvSpPr>
            <p:nvPr/>
          </p:nvSpPr>
          <p:spPr bwMode="auto">
            <a:xfrm>
              <a:off x="3462167" y="3996532"/>
              <a:ext cx="204957" cy="330351"/>
            </a:xfrm>
            <a:custGeom>
              <a:avLst/>
              <a:gdLst>
                <a:gd name="T0" fmla="*/ 76 w 305"/>
                <a:gd name="T1" fmla="*/ 479 h 492"/>
                <a:gd name="T2" fmla="*/ 63 w 305"/>
                <a:gd name="T3" fmla="*/ 465 h 492"/>
                <a:gd name="T4" fmla="*/ 0 w 305"/>
                <a:gd name="T5" fmla="*/ 269 h 492"/>
                <a:gd name="T6" fmla="*/ 13 w 305"/>
                <a:gd name="T7" fmla="*/ 263 h 492"/>
                <a:gd name="T8" fmla="*/ 16 w 305"/>
                <a:gd name="T9" fmla="*/ 263 h 492"/>
                <a:gd name="T10" fmla="*/ 16 w 305"/>
                <a:gd name="T11" fmla="*/ 249 h 492"/>
                <a:gd name="T12" fmla="*/ 23 w 305"/>
                <a:gd name="T13" fmla="*/ 245 h 492"/>
                <a:gd name="T14" fmla="*/ 26 w 305"/>
                <a:gd name="T15" fmla="*/ 219 h 492"/>
                <a:gd name="T16" fmla="*/ 32 w 305"/>
                <a:gd name="T17" fmla="*/ 212 h 492"/>
                <a:gd name="T18" fmla="*/ 32 w 305"/>
                <a:gd name="T19" fmla="*/ 202 h 492"/>
                <a:gd name="T20" fmla="*/ 40 w 305"/>
                <a:gd name="T21" fmla="*/ 188 h 492"/>
                <a:gd name="T22" fmla="*/ 32 w 305"/>
                <a:gd name="T23" fmla="*/ 167 h 492"/>
                <a:gd name="T24" fmla="*/ 32 w 305"/>
                <a:gd name="T25" fmla="*/ 143 h 492"/>
                <a:gd name="T26" fmla="*/ 37 w 305"/>
                <a:gd name="T27" fmla="*/ 130 h 492"/>
                <a:gd name="T28" fmla="*/ 37 w 305"/>
                <a:gd name="T29" fmla="*/ 106 h 492"/>
                <a:gd name="T30" fmla="*/ 43 w 305"/>
                <a:gd name="T31" fmla="*/ 83 h 492"/>
                <a:gd name="T32" fmla="*/ 77 w 305"/>
                <a:gd name="T33" fmla="*/ 10 h 492"/>
                <a:gd name="T34" fmla="*/ 89 w 305"/>
                <a:gd name="T35" fmla="*/ 29 h 492"/>
                <a:gd name="T36" fmla="*/ 106 w 305"/>
                <a:gd name="T37" fmla="*/ 24 h 492"/>
                <a:gd name="T38" fmla="*/ 123 w 305"/>
                <a:gd name="T39" fmla="*/ 10 h 492"/>
                <a:gd name="T40" fmla="*/ 129 w 305"/>
                <a:gd name="T41" fmla="*/ 2 h 492"/>
                <a:gd name="T42" fmla="*/ 148 w 305"/>
                <a:gd name="T43" fmla="*/ 5 h 492"/>
                <a:gd name="T44" fmla="*/ 173 w 305"/>
                <a:gd name="T45" fmla="*/ 19 h 492"/>
                <a:gd name="T46" fmla="*/ 216 w 305"/>
                <a:gd name="T47" fmla="*/ 150 h 492"/>
                <a:gd name="T48" fmla="*/ 249 w 305"/>
                <a:gd name="T49" fmla="*/ 180 h 492"/>
                <a:gd name="T50" fmla="*/ 264 w 305"/>
                <a:gd name="T51" fmla="*/ 200 h 492"/>
                <a:gd name="T52" fmla="*/ 280 w 305"/>
                <a:gd name="T53" fmla="*/ 206 h 492"/>
                <a:gd name="T54" fmla="*/ 288 w 305"/>
                <a:gd name="T55" fmla="*/ 225 h 492"/>
                <a:gd name="T56" fmla="*/ 304 w 305"/>
                <a:gd name="T57" fmla="*/ 227 h 492"/>
                <a:gd name="T58" fmla="*/ 297 w 305"/>
                <a:gd name="T59" fmla="*/ 245 h 492"/>
                <a:gd name="T60" fmla="*/ 283 w 305"/>
                <a:gd name="T61" fmla="*/ 248 h 492"/>
                <a:gd name="T62" fmla="*/ 273 w 305"/>
                <a:gd name="T63" fmla="*/ 260 h 492"/>
                <a:gd name="T64" fmla="*/ 271 w 305"/>
                <a:gd name="T65" fmla="*/ 271 h 492"/>
                <a:gd name="T66" fmla="*/ 258 w 305"/>
                <a:gd name="T67" fmla="*/ 276 h 492"/>
                <a:gd name="T68" fmla="*/ 253 w 305"/>
                <a:gd name="T69" fmla="*/ 273 h 492"/>
                <a:gd name="T70" fmla="*/ 250 w 305"/>
                <a:gd name="T71" fmla="*/ 279 h 492"/>
                <a:gd name="T72" fmla="*/ 241 w 305"/>
                <a:gd name="T73" fmla="*/ 302 h 492"/>
                <a:gd name="T74" fmla="*/ 223 w 305"/>
                <a:gd name="T75" fmla="*/ 284 h 492"/>
                <a:gd name="T76" fmla="*/ 222 w 305"/>
                <a:gd name="T77" fmla="*/ 295 h 492"/>
                <a:gd name="T78" fmla="*/ 206 w 305"/>
                <a:gd name="T79" fmla="*/ 306 h 492"/>
                <a:gd name="T80" fmla="*/ 186 w 305"/>
                <a:gd name="T81" fmla="*/ 306 h 492"/>
                <a:gd name="T82" fmla="*/ 181 w 305"/>
                <a:gd name="T83" fmla="*/ 299 h 492"/>
                <a:gd name="T84" fmla="*/ 176 w 305"/>
                <a:gd name="T85" fmla="*/ 315 h 492"/>
                <a:gd name="T86" fmla="*/ 168 w 305"/>
                <a:gd name="T87" fmla="*/ 369 h 492"/>
                <a:gd name="T88" fmla="*/ 145 w 305"/>
                <a:gd name="T89" fmla="*/ 381 h 492"/>
                <a:gd name="T90" fmla="*/ 137 w 305"/>
                <a:gd name="T91" fmla="*/ 380 h 492"/>
                <a:gd name="T92" fmla="*/ 132 w 305"/>
                <a:gd name="T93" fmla="*/ 380 h 492"/>
                <a:gd name="T94" fmla="*/ 133 w 305"/>
                <a:gd name="T95" fmla="*/ 402 h 492"/>
                <a:gd name="T96" fmla="*/ 121 w 305"/>
                <a:gd name="T97" fmla="*/ 390 h 492"/>
                <a:gd name="T98" fmla="*/ 106 w 305"/>
                <a:gd name="T99" fmla="*/ 402 h 492"/>
                <a:gd name="T100" fmla="*/ 103 w 305"/>
                <a:gd name="T101" fmla="*/ 428 h 492"/>
                <a:gd name="T102" fmla="*/ 101 w 305"/>
                <a:gd name="T103" fmla="*/ 447 h 492"/>
                <a:gd name="T104" fmla="*/ 91 w 305"/>
                <a:gd name="T105" fmla="*/ 458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05" h="492">
                  <a:moveTo>
                    <a:pt x="83" y="491"/>
                  </a:moveTo>
                  <a:lnTo>
                    <a:pt x="82" y="489"/>
                  </a:lnTo>
                  <a:lnTo>
                    <a:pt x="80" y="488"/>
                  </a:lnTo>
                  <a:lnTo>
                    <a:pt x="77" y="486"/>
                  </a:lnTo>
                  <a:lnTo>
                    <a:pt x="76" y="485"/>
                  </a:lnTo>
                  <a:lnTo>
                    <a:pt x="76" y="479"/>
                  </a:lnTo>
                  <a:lnTo>
                    <a:pt x="74" y="474"/>
                  </a:lnTo>
                  <a:lnTo>
                    <a:pt x="71" y="471"/>
                  </a:lnTo>
                  <a:lnTo>
                    <a:pt x="70" y="468"/>
                  </a:lnTo>
                  <a:lnTo>
                    <a:pt x="67" y="467"/>
                  </a:lnTo>
                  <a:lnTo>
                    <a:pt x="66" y="467"/>
                  </a:lnTo>
                  <a:lnTo>
                    <a:pt x="63" y="465"/>
                  </a:lnTo>
                  <a:lnTo>
                    <a:pt x="63" y="465"/>
                  </a:lnTo>
                  <a:lnTo>
                    <a:pt x="58" y="458"/>
                  </a:lnTo>
                  <a:lnTo>
                    <a:pt x="1" y="273"/>
                  </a:lnTo>
                  <a:lnTo>
                    <a:pt x="0" y="273"/>
                  </a:lnTo>
                  <a:lnTo>
                    <a:pt x="0" y="272"/>
                  </a:lnTo>
                  <a:lnTo>
                    <a:pt x="0" y="269"/>
                  </a:lnTo>
                  <a:lnTo>
                    <a:pt x="0" y="266"/>
                  </a:lnTo>
                  <a:lnTo>
                    <a:pt x="1" y="263"/>
                  </a:lnTo>
                  <a:lnTo>
                    <a:pt x="2" y="261"/>
                  </a:lnTo>
                  <a:lnTo>
                    <a:pt x="5" y="260"/>
                  </a:lnTo>
                  <a:lnTo>
                    <a:pt x="8" y="261"/>
                  </a:lnTo>
                  <a:lnTo>
                    <a:pt x="13" y="263"/>
                  </a:lnTo>
                  <a:lnTo>
                    <a:pt x="13" y="265"/>
                  </a:lnTo>
                  <a:lnTo>
                    <a:pt x="14" y="265"/>
                  </a:lnTo>
                  <a:lnTo>
                    <a:pt x="14" y="266"/>
                  </a:lnTo>
                  <a:lnTo>
                    <a:pt x="16" y="266"/>
                  </a:lnTo>
                  <a:lnTo>
                    <a:pt x="16" y="265"/>
                  </a:lnTo>
                  <a:lnTo>
                    <a:pt x="16" y="263"/>
                  </a:lnTo>
                  <a:lnTo>
                    <a:pt x="17" y="260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6" y="252"/>
                  </a:lnTo>
                  <a:lnTo>
                    <a:pt x="16" y="251"/>
                  </a:lnTo>
                  <a:lnTo>
                    <a:pt x="16" y="249"/>
                  </a:lnTo>
                  <a:lnTo>
                    <a:pt x="16" y="248"/>
                  </a:lnTo>
                  <a:lnTo>
                    <a:pt x="17" y="246"/>
                  </a:lnTo>
                  <a:lnTo>
                    <a:pt x="20" y="248"/>
                  </a:lnTo>
                  <a:lnTo>
                    <a:pt x="26" y="249"/>
                  </a:lnTo>
                  <a:lnTo>
                    <a:pt x="25" y="248"/>
                  </a:lnTo>
                  <a:lnTo>
                    <a:pt x="23" y="245"/>
                  </a:lnTo>
                  <a:lnTo>
                    <a:pt x="22" y="241"/>
                  </a:lnTo>
                  <a:lnTo>
                    <a:pt x="20" y="236"/>
                  </a:lnTo>
                  <a:lnTo>
                    <a:pt x="19" y="232"/>
                  </a:lnTo>
                  <a:lnTo>
                    <a:pt x="20" y="227"/>
                  </a:lnTo>
                  <a:lnTo>
                    <a:pt x="22" y="222"/>
                  </a:lnTo>
                  <a:lnTo>
                    <a:pt x="26" y="219"/>
                  </a:lnTo>
                  <a:lnTo>
                    <a:pt x="26" y="219"/>
                  </a:lnTo>
                  <a:lnTo>
                    <a:pt x="28" y="218"/>
                  </a:lnTo>
                  <a:lnTo>
                    <a:pt x="29" y="216"/>
                  </a:lnTo>
                  <a:lnTo>
                    <a:pt x="30" y="215"/>
                  </a:lnTo>
                  <a:lnTo>
                    <a:pt x="31" y="213"/>
                  </a:lnTo>
                  <a:lnTo>
                    <a:pt x="32" y="212"/>
                  </a:lnTo>
                  <a:lnTo>
                    <a:pt x="32" y="210"/>
                  </a:lnTo>
                  <a:lnTo>
                    <a:pt x="34" y="210"/>
                  </a:lnTo>
                  <a:lnTo>
                    <a:pt x="34" y="209"/>
                  </a:lnTo>
                  <a:lnTo>
                    <a:pt x="32" y="208"/>
                  </a:lnTo>
                  <a:lnTo>
                    <a:pt x="32" y="205"/>
                  </a:lnTo>
                  <a:lnTo>
                    <a:pt x="32" y="202"/>
                  </a:lnTo>
                  <a:lnTo>
                    <a:pt x="34" y="199"/>
                  </a:lnTo>
                  <a:lnTo>
                    <a:pt x="35" y="195"/>
                  </a:lnTo>
                  <a:lnTo>
                    <a:pt x="37" y="192"/>
                  </a:lnTo>
                  <a:lnTo>
                    <a:pt x="41" y="189"/>
                  </a:lnTo>
                  <a:lnTo>
                    <a:pt x="40" y="189"/>
                  </a:lnTo>
                  <a:lnTo>
                    <a:pt x="40" y="188"/>
                  </a:lnTo>
                  <a:lnTo>
                    <a:pt x="40" y="185"/>
                  </a:lnTo>
                  <a:lnTo>
                    <a:pt x="38" y="182"/>
                  </a:lnTo>
                  <a:lnTo>
                    <a:pt x="37" y="179"/>
                  </a:lnTo>
                  <a:lnTo>
                    <a:pt x="35" y="176"/>
                  </a:lnTo>
                  <a:lnTo>
                    <a:pt x="34" y="172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1" y="159"/>
                  </a:lnTo>
                  <a:lnTo>
                    <a:pt x="31" y="155"/>
                  </a:lnTo>
                  <a:lnTo>
                    <a:pt x="31" y="150"/>
                  </a:lnTo>
                  <a:lnTo>
                    <a:pt x="32" y="146"/>
                  </a:lnTo>
                  <a:lnTo>
                    <a:pt x="32" y="143"/>
                  </a:lnTo>
                  <a:lnTo>
                    <a:pt x="35" y="139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4"/>
                  </a:lnTo>
                  <a:lnTo>
                    <a:pt x="37" y="133"/>
                  </a:lnTo>
                  <a:lnTo>
                    <a:pt x="37" y="130"/>
                  </a:lnTo>
                  <a:lnTo>
                    <a:pt x="37" y="126"/>
                  </a:lnTo>
                  <a:lnTo>
                    <a:pt x="37" y="123"/>
                  </a:lnTo>
                  <a:lnTo>
                    <a:pt x="37" y="119"/>
                  </a:lnTo>
                  <a:lnTo>
                    <a:pt x="37" y="115"/>
                  </a:lnTo>
                  <a:lnTo>
                    <a:pt x="37" y="110"/>
                  </a:lnTo>
                  <a:lnTo>
                    <a:pt x="37" y="106"/>
                  </a:lnTo>
                  <a:lnTo>
                    <a:pt x="37" y="101"/>
                  </a:lnTo>
                  <a:lnTo>
                    <a:pt x="37" y="98"/>
                  </a:lnTo>
                  <a:lnTo>
                    <a:pt x="38" y="93"/>
                  </a:lnTo>
                  <a:lnTo>
                    <a:pt x="40" y="89"/>
                  </a:lnTo>
                  <a:lnTo>
                    <a:pt x="41" y="86"/>
                  </a:lnTo>
                  <a:lnTo>
                    <a:pt x="43" y="83"/>
                  </a:lnTo>
                  <a:lnTo>
                    <a:pt x="66" y="13"/>
                  </a:lnTo>
                  <a:lnTo>
                    <a:pt x="67" y="11"/>
                  </a:lnTo>
                  <a:lnTo>
                    <a:pt x="68" y="11"/>
                  </a:lnTo>
                  <a:lnTo>
                    <a:pt x="71" y="10"/>
                  </a:lnTo>
                  <a:lnTo>
                    <a:pt x="74" y="8"/>
                  </a:lnTo>
                  <a:lnTo>
                    <a:pt x="77" y="10"/>
                  </a:lnTo>
                  <a:lnTo>
                    <a:pt x="80" y="11"/>
                  </a:lnTo>
                  <a:lnTo>
                    <a:pt x="83" y="16"/>
                  </a:lnTo>
                  <a:lnTo>
                    <a:pt x="86" y="24"/>
                  </a:lnTo>
                  <a:lnTo>
                    <a:pt x="86" y="26"/>
                  </a:lnTo>
                  <a:lnTo>
                    <a:pt x="88" y="27"/>
                  </a:lnTo>
                  <a:lnTo>
                    <a:pt x="89" y="29"/>
                  </a:lnTo>
                  <a:lnTo>
                    <a:pt x="91" y="30"/>
                  </a:lnTo>
                  <a:lnTo>
                    <a:pt x="93" y="32"/>
                  </a:lnTo>
                  <a:lnTo>
                    <a:pt x="97" y="32"/>
                  </a:lnTo>
                  <a:lnTo>
                    <a:pt x="100" y="29"/>
                  </a:lnTo>
                  <a:lnTo>
                    <a:pt x="106" y="26"/>
                  </a:lnTo>
                  <a:lnTo>
                    <a:pt x="106" y="24"/>
                  </a:lnTo>
                  <a:lnTo>
                    <a:pt x="109" y="23"/>
                  </a:lnTo>
                  <a:lnTo>
                    <a:pt x="112" y="20"/>
                  </a:lnTo>
                  <a:lnTo>
                    <a:pt x="115" y="17"/>
                  </a:lnTo>
                  <a:lnTo>
                    <a:pt x="118" y="14"/>
                  </a:lnTo>
                  <a:lnTo>
                    <a:pt x="121" y="11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29" y="8"/>
                  </a:lnTo>
                  <a:lnTo>
                    <a:pt x="129" y="8"/>
                  </a:lnTo>
                  <a:lnTo>
                    <a:pt x="129" y="7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30" y="1"/>
                  </a:lnTo>
                  <a:lnTo>
                    <a:pt x="133" y="0"/>
                  </a:lnTo>
                  <a:lnTo>
                    <a:pt x="137" y="1"/>
                  </a:lnTo>
                  <a:lnTo>
                    <a:pt x="143" y="2"/>
                  </a:lnTo>
                  <a:lnTo>
                    <a:pt x="145" y="4"/>
                  </a:lnTo>
                  <a:lnTo>
                    <a:pt x="148" y="5"/>
                  </a:lnTo>
                  <a:lnTo>
                    <a:pt x="152" y="8"/>
                  </a:lnTo>
                  <a:lnTo>
                    <a:pt x="157" y="11"/>
                  </a:lnTo>
                  <a:lnTo>
                    <a:pt x="163" y="13"/>
                  </a:lnTo>
                  <a:lnTo>
                    <a:pt x="168" y="16"/>
                  </a:lnTo>
                  <a:lnTo>
                    <a:pt x="172" y="17"/>
                  </a:lnTo>
                  <a:lnTo>
                    <a:pt x="173" y="19"/>
                  </a:lnTo>
                  <a:lnTo>
                    <a:pt x="181" y="26"/>
                  </a:lnTo>
                  <a:lnTo>
                    <a:pt x="214" y="139"/>
                  </a:lnTo>
                  <a:lnTo>
                    <a:pt x="214" y="140"/>
                  </a:lnTo>
                  <a:lnTo>
                    <a:pt x="214" y="143"/>
                  </a:lnTo>
                  <a:lnTo>
                    <a:pt x="214" y="146"/>
                  </a:lnTo>
                  <a:lnTo>
                    <a:pt x="216" y="150"/>
                  </a:lnTo>
                  <a:lnTo>
                    <a:pt x="220" y="156"/>
                  </a:lnTo>
                  <a:lnTo>
                    <a:pt x="225" y="159"/>
                  </a:lnTo>
                  <a:lnTo>
                    <a:pt x="234" y="162"/>
                  </a:lnTo>
                  <a:lnTo>
                    <a:pt x="244" y="163"/>
                  </a:lnTo>
                  <a:lnTo>
                    <a:pt x="249" y="166"/>
                  </a:lnTo>
                  <a:lnTo>
                    <a:pt x="249" y="180"/>
                  </a:lnTo>
                  <a:lnTo>
                    <a:pt x="256" y="188"/>
                  </a:lnTo>
                  <a:lnTo>
                    <a:pt x="256" y="188"/>
                  </a:lnTo>
                  <a:lnTo>
                    <a:pt x="258" y="191"/>
                  </a:lnTo>
                  <a:lnTo>
                    <a:pt x="259" y="194"/>
                  </a:lnTo>
                  <a:lnTo>
                    <a:pt x="261" y="197"/>
                  </a:lnTo>
                  <a:lnTo>
                    <a:pt x="264" y="200"/>
                  </a:lnTo>
                  <a:lnTo>
                    <a:pt x="267" y="202"/>
                  </a:lnTo>
                  <a:lnTo>
                    <a:pt x="270" y="202"/>
                  </a:lnTo>
                  <a:lnTo>
                    <a:pt x="273" y="200"/>
                  </a:lnTo>
                  <a:lnTo>
                    <a:pt x="273" y="200"/>
                  </a:lnTo>
                  <a:lnTo>
                    <a:pt x="276" y="203"/>
                  </a:lnTo>
                  <a:lnTo>
                    <a:pt x="280" y="206"/>
                  </a:lnTo>
                  <a:lnTo>
                    <a:pt x="285" y="209"/>
                  </a:lnTo>
                  <a:lnTo>
                    <a:pt x="288" y="212"/>
                  </a:lnTo>
                  <a:lnTo>
                    <a:pt x="292" y="215"/>
                  </a:lnTo>
                  <a:lnTo>
                    <a:pt x="295" y="218"/>
                  </a:lnTo>
                  <a:lnTo>
                    <a:pt x="295" y="218"/>
                  </a:lnTo>
                  <a:lnTo>
                    <a:pt x="288" y="225"/>
                  </a:lnTo>
                  <a:lnTo>
                    <a:pt x="294" y="233"/>
                  </a:lnTo>
                  <a:lnTo>
                    <a:pt x="294" y="233"/>
                  </a:lnTo>
                  <a:lnTo>
                    <a:pt x="297" y="230"/>
                  </a:lnTo>
                  <a:lnTo>
                    <a:pt x="300" y="229"/>
                  </a:lnTo>
                  <a:lnTo>
                    <a:pt x="303" y="227"/>
                  </a:lnTo>
                  <a:lnTo>
                    <a:pt x="304" y="227"/>
                  </a:lnTo>
                  <a:lnTo>
                    <a:pt x="304" y="228"/>
                  </a:lnTo>
                  <a:lnTo>
                    <a:pt x="304" y="232"/>
                  </a:lnTo>
                  <a:lnTo>
                    <a:pt x="300" y="241"/>
                  </a:lnTo>
                  <a:lnTo>
                    <a:pt x="300" y="241"/>
                  </a:lnTo>
                  <a:lnTo>
                    <a:pt x="298" y="243"/>
                  </a:lnTo>
                  <a:lnTo>
                    <a:pt x="297" y="245"/>
                  </a:lnTo>
                  <a:lnTo>
                    <a:pt x="294" y="248"/>
                  </a:lnTo>
                  <a:lnTo>
                    <a:pt x="292" y="251"/>
                  </a:lnTo>
                  <a:lnTo>
                    <a:pt x="291" y="252"/>
                  </a:lnTo>
                  <a:lnTo>
                    <a:pt x="289" y="254"/>
                  </a:lnTo>
                  <a:lnTo>
                    <a:pt x="289" y="255"/>
                  </a:lnTo>
                  <a:lnTo>
                    <a:pt x="283" y="248"/>
                  </a:lnTo>
                  <a:lnTo>
                    <a:pt x="279" y="252"/>
                  </a:lnTo>
                  <a:lnTo>
                    <a:pt x="282" y="260"/>
                  </a:lnTo>
                  <a:lnTo>
                    <a:pt x="276" y="261"/>
                  </a:lnTo>
                  <a:lnTo>
                    <a:pt x="276" y="261"/>
                  </a:lnTo>
                  <a:lnTo>
                    <a:pt x="274" y="261"/>
                  </a:lnTo>
                  <a:lnTo>
                    <a:pt x="273" y="260"/>
                  </a:lnTo>
                  <a:lnTo>
                    <a:pt x="273" y="260"/>
                  </a:lnTo>
                  <a:lnTo>
                    <a:pt x="270" y="260"/>
                  </a:lnTo>
                  <a:lnTo>
                    <a:pt x="270" y="261"/>
                  </a:lnTo>
                  <a:lnTo>
                    <a:pt x="270" y="263"/>
                  </a:lnTo>
                  <a:lnTo>
                    <a:pt x="271" y="268"/>
                  </a:lnTo>
                  <a:lnTo>
                    <a:pt x="271" y="271"/>
                  </a:lnTo>
                  <a:lnTo>
                    <a:pt x="270" y="272"/>
                  </a:lnTo>
                  <a:lnTo>
                    <a:pt x="268" y="273"/>
                  </a:lnTo>
                  <a:lnTo>
                    <a:pt x="265" y="275"/>
                  </a:lnTo>
                  <a:lnTo>
                    <a:pt x="262" y="276"/>
                  </a:lnTo>
                  <a:lnTo>
                    <a:pt x="259" y="276"/>
                  </a:lnTo>
                  <a:lnTo>
                    <a:pt x="258" y="276"/>
                  </a:lnTo>
                  <a:lnTo>
                    <a:pt x="255" y="275"/>
                  </a:lnTo>
                  <a:lnTo>
                    <a:pt x="252" y="272"/>
                  </a:lnTo>
                  <a:lnTo>
                    <a:pt x="252" y="272"/>
                  </a:lnTo>
                  <a:lnTo>
                    <a:pt x="253" y="273"/>
                  </a:lnTo>
                  <a:lnTo>
                    <a:pt x="253" y="273"/>
                  </a:lnTo>
                  <a:lnTo>
                    <a:pt x="253" y="273"/>
                  </a:lnTo>
                  <a:lnTo>
                    <a:pt x="253" y="272"/>
                  </a:lnTo>
                  <a:lnTo>
                    <a:pt x="253" y="272"/>
                  </a:lnTo>
                  <a:lnTo>
                    <a:pt x="252" y="272"/>
                  </a:lnTo>
                  <a:lnTo>
                    <a:pt x="252" y="273"/>
                  </a:lnTo>
                  <a:lnTo>
                    <a:pt x="250" y="276"/>
                  </a:lnTo>
                  <a:lnTo>
                    <a:pt x="250" y="279"/>
                  </a:lnTo>
                  <a:lnTo>
                    <a:pt x="250" y="287"/>
                  </a:lnTo>
                  <a:lnTo>
                    <a:pt x="249" y="288"/>
                  </a:lnTo>
                  <a:lnTo>
                    <a:pt x="247" y="293"/>
                  </a:lnTo>
                  <a:lnTo>
                    <a:pt x="244" y="294"/>
                  </a:lnTo>
                  <a:lnTo>
                    <a:pt x="244" y="295"/>
                  </a:lnTo>
                  <a:lnTo>
                    <a:pt x="241" y="302"/>
                  </a:lnTo>
                  <a:lnTo>
                    <a:pt x="235" y="295"/>
                  </a:lnTo>
                  <a:lnTo>
                    <a:pt x="235" y="290"/>
                  </a:lnTo>
                  <a:lnTo>
                    <a:pt x="226" y="285"/>
                  </a:lnTo>
                  <a:lnTo>
                    <a:pt x="226" y="284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2" y="284"/>
                  </a:lnTo>
                  <a:lnTo>
                    <a:pt x="220" y="285"/>
                  </a:lnTo>
                  <a:lnTo>
                    <a:pt x="220" y="287"/>
                  </a:lnTo>
                  <a:lnTo>
                    <a:pt x="220" y="290"/>
                  </a:lnTo>
                  <a:lnTo>
                    <a:pt x="222" y="294"/>
                  </a:lnTo>
                  <a:lnTo>
                    <a:pt x="222" y="295"/>
                  </a:lnTo>
                  <a:lnTo>
                    <a:pt x="220" y="296"/>
                  </a:lnTo>
                  <a:lnTo>
                    <a:pt x="217" y="299"/>
                  </a:lnTo>
                  <a:lnTo>
                    <a:pt x="214" y="301"/>
                  </a:lnTo>
                  <a:lnTo>
                    <a:pt x="211" y="304"/>
                  </a:lnTo>
                  <a:lnTo>
                    <a:pt x="208" y="305"/>
                  </a:lnTo>
                  <a:lnTo>
                    <a:pt x="206" y="306"/>
                  </a:lnTo>
                  <a:lnTo>
                    <a:pt x="205" y="306"/>
                  </a:lnTo>
                  <a:lnTo>
                    <a:pt x="206" y="318"/>
                  </a:lnTo>
                  <a:lnTo>
                    <a:pt x="189" y="318"/>
                  </a:lnTo>
                  <a:lnTo>
                    <a:pt x="195" y="308"/>
                  </a:lnTo>
                  <a:lnTo>
                    <a:pt x="186" y="308"/>
                  </a:lnTo>
                  <a:lnTo>
                    <a:pt x="186" y="306"/>
                  </a:lnTo>
                  <a:lnTo>
                    <a:pt x="186" y="304"/>
                  </a:lnTo>
                  <a:lnTo>
                    <a:pt x="184" y="299"/>
                  </a:lnTo>
                  <a:lnTo>
                    <a:pt x="184" y="296"/>
                  </a:lnTo>
                  <a:lnTo>
                    <a:pt x="183" y="295"/>
                  </a:lnTo>
                  <a:lnTo>
                    <a:pt x="182" y="295"/>
                  </a:lnTo>
                  <a:lnTo>
                    <a:pt x="181" y="299"/>
                  </a:lnTo>
                  <a:lnTo>
                    <a:pt x="178" y="308"/>
                  </a:lnTo>
                  <a:lnTo>
                    <a:pt x="178" y="308"/>
                  </a:lnTo>
                  <a:lnTo>
                    <a:pt x="178" y="309"/>
                  </a:lnTo>
                  <a:lnTo>
                    <a:pt x="178" y="311"/>
                  </a:lnTo>
                  <a:lnTo>
                    <a:pt x="178" y="314"/>
                  </a:lnTo>
                  <a:lnTo>
                    <a:pt x="176" y="315"/>
                  </a:lnTo>
                  <a:lnTo>
                    <a:pt x="176" y="318"/>
                  </a:lnTo>
                  <a:lnTo>
                    <a:pt x="176" y="318"/>
                  </a:lnTo>
                  <a:lnTo>
                    <a:pt x="176" y="320"/>
                  </a:lnTo>
                  <a:lnTo>
                    <a:pt x="178" y="348"/>
                  </a:lnTo>
                  <a:lnTo>
                    <a:pt x="173" y="357"/>
                  </a:lnTo>
                  <a:lnTo>
                    <a:pt x="168" y="369"/>
                  </a:lnTo>
                  <a:lnTo>
                    <a:pt x="163" y="362"/>
                  </a:lnTo>
                  <a:lnTo>
                    <a:pt x="154" y="365"/>
                  </a:lnTo>
                  <a:lnTo>
                    <a:pt x="152" y="381"/>
                  </a:lnTo>
                  <a:lnTo>
                    <a:pt x="145" y="380"/>
                  </a:lnTo>
                  <a:lnTo>
                    <a:pt x="145" y="381"/>
                  </a:lnTo>
                  <a:lnTo>
                    <a:pt x="145" y="381"/>
                  </a:lnTo>
                  <a:lnTo>
                    <a:pt x="145" y="384"/>
                  </a:lnTo>
                  <a:lnTo>
                    <a:pt x="143" y="384"/>
                  </a:lnTo>
                  <a:lnTo>
                    <a:pt x="143" y="386"/>
                  </a:lnTo>
                  <a:lnTo>
                    <a:pt x="142" y="386"/>
                  </a:lnTo>
                  <a:lnTo>
                    <a:pt x="140" y="384"/>
                  </a:lnTo>
                  <a:lnTo>
                    <a:pt x="137" y="380"/>
                  </a:lnTo>
                  <a:lnTo>
                    <a:pt x="137" y="378"/>
                  </a:lnTo>
                  <a:lnTo>
                    <a:pt x="136" y="378"/>
                  </a:lnTo>
                  <a:lnTo>
                    <a:pt x="136" y="377"/>
                  </a:lnTo>
                  <a:lnTo>
                    <a:pt x="135" y="377"/>
                  </a:lnTo>
                  <a:lnTo>
                    <a:pt x="133" y="378"/>
                  </a:lnTo>
                  <a:lnTo>
                    <a:pt x="132" y="380"/>
                  </a:lnTo>
                  <a:lnTo>
                    <a:pt x="132" y="384"/>
                  </a:lnTo>
                  <a:lnTo>
                    <a:pt x="130" y="392"/>
                  </a:lnTo>
                  <a:lnTo>
                    <a:pt x="132" y="392"/>
                  </a:lnTo>
                  <a:lnTo>
                    <a:pt x="132" y="395"/>
                  </a:lnTo>
                  <a:lnTo>
                    <a:pt x="132" y="399"/>
                  </a:lnTo>
                  <a:lnTo>
                    <a:pt x="133" y="402"/>
                  </a:lnTo>
                  <a:lnTo>
                    <a:pt x="132" y="404"/>
                  </a:lnTo>
                  <a:lnTo>
                    <a:pt x="130" y="402"/>
                  </a:lnTo>
                  <a:lnTo>
                    <a:pt x="129" y="397"/>
                  </a:lnTo>
                  <a:lnTo>
                    <a:pt x="124" y="387"/>
                  </a:lnTo>
                  <a:lnTo>
                    <a:pt x="124" y="387"/>
                  </a:lnTo>
                  <a:lnTo>
                    <a:pt x="121" y="390"/>
                  </a:lnTo>
                  <a:lnTo>
                    <a:pt x="119" y="392"/>
                  </a:lnTo>
                  <a:lnTo>
                    <a:pt x="116" y="394"/>
                  </a:lnTo>
                  <a:lnTo>
                    <a:pt x="112" y="397"/>
                  </a:lnTo>
                  <a:lnTo>
                    <a:pt x="109" y="399"/>
                  </a:lnTo>
                  <a:lnTo>
                    <a:pt x="107" y="402"/>
                  </a:lnTo>
                  <a:lnTo>
                    <a:pt x="106" y="402"/>
                  </a:lnTo>
                  <a:lnTo>
                    <a:pt x="103" y="422"/>
                  </a:lnTo>
                  <a:lnTo>
                    <a:pt x="107" y="423"/>
                  </a:lnTo>
                  <a:lnTo>
                    <a:pt x="107" y="428"/>
                  </a:lnTo>
                  <a:lnTo>
                    <a:pt x="107" y="428"/>
                  </a:lnTo>
                  <a:lnTo>
                    <a:pt x="104" y="428"/>
                  </a:lnTo>
                  <a:lnTo>
                    <a:pt x="103" y="428"/>
                  </a:lnTo>
                  <a:lnTo>
                    <a:pt x="100" y="430"/>
                  </a:lnTo>
                  <a:lnTo>
                    <a:pt x="99" y="432"/>
                  </a:lnTo>
                  <a:lnTo>
                    <a:pt x="97" y="435"/>
                  </a:lnTo>
                  <a:lnTo>
                    <a:pt x="99" y="440"/>
                  </a:lnTo>
                  <a:lnTo>
                    <a:pt x="101" y="447"/>
                  </a:lnTo>
                  <a:lnTo>
                    <a:pt x="101" y="447"/>
                  </a:lnTo>
                  <a:lnTo>
                    <a:pt x="100" y="449"/>
                  </a:lnTo>
                  <a:lnTo>
                    <a:pt x="99" y="452"/>
                  </a:lnTo>
                  <a:lnTo>
                    <a:pt x="96" y="455"/>
                  </a:lnTo>
                  <a:lnTo>
                    <a:pt x="93" y="456"/>
                  </a:lnTo>
                  <a:lnTo>
                    <a:pt x="91" y="458"/>
                  </a:lnTo>
                  <a:lnTo>
                    <a:pt x="91" y="458"/>
                  </a:lnTo>
                  <a:lnTo>
                    <a:pt x="91" y="460"/>
                  </a:lnTo>
                  <a:lnTo>
                    <a:pt x="91" y="479"/>
                  </a:lnTo>
                  <a:lnTo>
                    <a:pt x="83" y="491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" name="Freeform 80"/>
            <p:cNvSpPr>
              <a:spLocks/>
            </p:cNvSpPr>
            <p:nvPr/>
          </p:nvSpPr>
          <p:spPr bwMode="auto">
            <a:xfrm>
              <a:off x="3462167" y="3996532"/>
              <a:ext cx="204957" cy="330351"/>
            </a:xfrm>
            <a:custGeom>
              <a:avLst/>
              <a:gdLst>
                <a:gd name="T0" fmla="*/ 76 w 305"/>
                <a:gd name="T1" fmla="*/ 485 h 492"/>
                <a:gd name="T2" fmla="*/ 67 w 305"/>
                <a:gd name="T3" fmla="*/ 467 h 492"/>
                <a:gd name="T4" fmla="*/ 0 w 305"/>
                <a:gd name="T5" fmla="*/ 273 h 492"/>
                <a:gd name="T6" fmla="*/ 2 w 305"/>
                <a:gd name="T7" fmla="*/ 261 h 492"/>
                <a:gd name="T8" fmla="*/ 14 w 305"/>
                <a:gd name="T9" fmla="*/ 265 h 492"/>
                <a:gd name="T10" fmla="*/ 17 w 305"/>
                <a:gd name="T11" fmla="*/ 255 h 492"/>
                <a:gd name="T12" fmla="*/ 16 w 305"/>
                <a:gd name="T13" fmla="*/ 248 h 492"/>
                <a:gd name="T14" fmla="*/ 23 w 305"/>
                <a:gd name="T15" fmla="*/ 245 h 492"/>
                <a:gd name="T16" fmla="*/ 26 w 305"/>
                <a:gd name="T17" fmla="*/ 219 h 492"/>
                <a:gd name="T18" fmla="*/ 31 w 305"/>
                <a:gd name="T19" fmla="*/ 213 h 492"/>
                <a:gd name="T20" fmla="*/ 32 w 305"/>
                <a:gd name="T21" fmla="*/ 208 h 492"/>
                <a:gd name="T22" fmla="*/ 41 w 305"/>
                <a:gd name="T23" fmla="*/ 189 h 492"/>
                <a:gd name="T24" fmla="*/ 37 w 305"/>
                <a:gd name="T25" fmla="*/ 179 h 492"/>
                <a:gd name="T26" fmla="*/ 31 w 305"/>
                <a:gd name="T27" fmla="*/ 155 h 492"/>
                <a:gd name="T28" fmla="*/ 38 w 305"/>
                <a:gd name="T29" fmla="*/ 136 h 492"/>
                <a:gd name="T30" fmla="*/ 37 w 305"/>
                <a:gd name="T31" fmla="*/ 123 h 492"/>
                <a:gd name="T32" fmla="*/ 37 w 305"/>
                <a:gd name="T33" fmla="*/ 98 h 492"/>
                <a:gd name="T34" fmla="*/ 66 w 305"/>
                <a:gd name="T35" fmla="*/ 13 h 492"/>
                <a:gd name="T36" fmla="*/ 80 w 305"/>
                <a:gd name="T37" fmla="*/ 11 h 492"/>
                <a:gd name="T38" fmla="*/ 89 w 305"/>
                <a:gd name="T39" fmla="*/ 29 h 492"/>
                <a:gd name="T40" fmla="*/ 106 w 305"/>
                <a:gd name="T41" fmla="*/ 26 h 492"/>
                <a:gd name="T42" fmla="*/ 121 w 305"/>
                <a:gd name="T43" fmla="*/ 11 h 492"/>
                <a:gd name="T44" fmla="*/ 129 w 305"/>
                <a:gd name="T45" fmla="*/ 7 h 492"/>
                <a:gd name="T46" fmla="*/ 143 w 305"/>
                <a:gd name="T47" fmla="*/ 2 h 492"/>
                <a:gd name="T48" fmla="*/ 163 w 305"/>
                <a:gd name="T49" fmla="*/ 13 h 492"/>
                <a:gd name="T50" fmla="*/ 214 w 305"/>
                <a:gd name="T51" fmla="*/ 139 h 492"/>
                <a:gd name="T52" fmla="*/ 225 w 305"/>
                <a:gd name="T53" fmla="*/ 159 h 492"/>
                <a:gd name="T54" fmla="*/ 256 w 305"/>
                <a:gd name="T55" fmla="*/ 188 h 492"/>
                <a:gd name="T56" fmla="*/ 267 w 305"/>
                <a:gd name="T57" fmla="*/ 202 h 492"/>
                <a:gd name="T58" fmla="*/ 280 w 305"/>
                <a:gd name="T59" fmla="*/ 206 h 492"/>
                <a:gd name="T60" fmla="*/ 288 w 305"/>
                <a:gd name="T61" fmla="*/ 225 h 492"/>
                <a:gd name="T62" fmla="*/ 303 w 305"/>
                <a:gd name="T63" fmla="*/ 227 h 492"/>
                <a:gd name="T64" fmla="*/ 300 w 305"/>
                <a:gd name="T65" fmla="*/ 241 h 492"/>
                <a:gd name="T66" fmla="*/ 289 w 305"/>
                <a:gd name="T67" fmla="*/ 254 h 492"/>
                <a:gd name="T68" fmla="*/ 276 w 305"/>
                <a:gd name="T69" fmla="*/ 261 h 492"/>
                <a:gd name="T70" fmla="*/ 270 w 305"/>
                <a:gd name="T71" fmla="*/ 261 h 492"/>
                <a:gd name="T72" fmla="*/ 268 w 305"/>
                <a:gd name="T73" fmla="*/ 273 h 492"/>
                <a:gd name="T74" fmla="*/ 255 w 305"/>
                <a:gd name="T75" fmla="*/ 275 h 492"/>
                <a:gd name="T76" fmla="*/ 253 w 305"/>
                <a:gd name="T77" fmla="*/ 273 h 492"/>
                <a:gd name="T78" fmla="*/ 250 w 305"/>
                <a:gd name="T79" fmla="*/ 279 h 492"/>
                <a:gd name="T80" fmla="*/ 244 w 305"/>
                <a:gd name="T81" fmla="*/ 295 h 492"/>
                <a:gd name="T82" fmla="*/ 226 w 305"/>
                <a:gd name="T83" fmla="*/ 284 h 492"/>
                <a:gd name="T84" fmla="*/ 220 w 305"/>
                <a:gd name="T85" fmla="*/ 290 h 492"/>
                <a:gd name="T86" fmla="*/ 214 w 305"/>
                <a:gd name="T87" fmla="*/ 301 h 492"/>
                <a:gd name="T88" fmla="*/ 189 w 305"/>
                <a:gd name="T89" fmla="*/ 318 h 492"/>
                <a:gd name="T90" fmla="*/ 184 w 305"/>
                <a:gd name="T91" fmla="*/ 299 h 492"/>
                <a:gd name="T92" fmla="*/ 178 w 305"/>
                <a:gd name="T93" fmla="*/ 308 h 492"/>
                <a:gd name="T94" fmla="*/ 176 w 305"/>
                <a:gd name="T95" fmla="*/ 318 h 492"/>
                <a:gd name="T96" fmla="*/ 163 w 305"/>
                <a:gd name="T97" fmla="*/ 362 h 492"/>
                <a:gd name="T98" fmla="*/ 145 w 305"/>
                <a:gd name="T99" fmla="*/ 381 h 492"/>
                <a:gd name="T100" fmla="*/ 137 w 305"/>
                <a:gd name="T101" fmla="*/ 380 h 492"/>
                <a:gd name="T102" fmla="*/ 133 w 305"/>
                <a:gd name="T103" fmla="*/ 378 h 492"/>
                <a:gd name="T104" fmla="*/ 132 w 305"/>
                <a:gd name="T105" fmla="*/ 395 h 492"/>
                <a:gd name="T106" fmla="*/ 124 w 305"/>
                <a:gd name="T107" fmla="*/ 387 h 492"/>
                <a:gd name="T108" fmla="*/ 112 w 305"/>
                <a:gd name="T109" fmla="*/ 397 h 492"/>
                <a:gd name="T110" fmla="*/ 107 w 305"/>
                <a:gd name="T111" fmla="*/ 428 h 492"/>
                <a:gd name="T112" fmla="*/ 99 w 305"/>
                <a:gd name="T113" fmla="*/ 432 h 492"/>
                <a:gd name="T114" fmla="*/ 100 w 305"/>
                <a:gd name="T115" fmla="*/ 449 h 492"/>
                <a:gd name="T116" fmla="*/ 91 w 305"/>
                <a:gd name="T117" fmla="*/ 46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5" h="492">
                  <a:moveTo>
                    <a:pt x="83" y="491"/>
                  </a:moveTo>
                  <a:lnTo>
                    <a:pt x="83" y="491"/>
                  </a:lnTo>
                  <a:lnTo>
                    <a:pt x="82" y="489"/>
                  </a:lnTo>
                  <a:lnTo>
                    <a:pt x="80" y="488"/>
                  </a:lnTo>
                  <a:lnTo>
                    <a:pt x="77" y="486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79"/>
                  </a:lnTo>
                  <a:lnTo>
                    <a:pt x="74" y="474"/>
                  </a:lnTo>
                  <a:lnTo>
                    <a:pt x="71" y="471"/>
                  </a:lnTo>
                  <a:lnTo>
                    <a:pt x="70" y="468"/>
                  </a:lnTo>
                  <a:lnTo>
                    <a:pt x="67" y="467"/>
                  </a:lnTo>
                  <a:lnTo>
                    <a:pt x="66" y="467"/>
                  </a:lnTo>
                  <a:lnTo>
                    <a:pt x="63" y="465"/>
                  </a:lnTo>
                  <a:lnTo>
                    <a:pt x="63" y="465"/>
                  </a:lnTo>
                  <a:lnTo>
                    <a:pt x="58" y="458"/>
                  </a:lnTo>
                  <a:lnTo>
                    <a:pt x="1" y="273"/>
                  </a:lnTo>
                  <a:lnTo>
                    <a:pt x="0" y="273"/>
                  </a:lnTo>
                  <a:lnTo>
                    <a:pt x="0" y="273"/>
                  </a:lnTo>
                  <a:lnTo>
                    <a:pt x="0" y="272"/>
                  </a:lnTo>
                  <a:lnTo>
                    <a:pt x="0" y="269"/>
                  </a:lnTo>
                  <a:lnTo>
                    <a:pt x="0" y="266"/>
                  </a:lnTo>
                  <a:lnTo>
                    <a:pt x="1" y="263"/>
                  </a:lnTo>
                  <a:lnTo>
                    <a:pt x="2" y="261"/>
                  </a:lnTo>
                  <a:lnTo>
                    <a:pt x="5" y="260"/>
                  </a:lnTo>
                  <a:lnTo>
                    <a:pt x="8" y="261"/>
                  </a:lnTo>
                  <a:lnTo>
                    <a:pt x="13" y="263"/>
                  </a:lnTo>
                  <a:lnTo>
                    <a:pt x="13" y="263"/>
                  </a:lnTo>
                  <a:lnTo>
                    <a:pt x="13" y="265"/>
                  </a:lnTo>
                  <a:lnTo>
                    <a:pt x="14" y="265"/>
                  </a:lnTo>
                  <a:lnTo>
                    <a:pt x="14" y="266"/>
                  </a:lnTo>
                  <a:lnTo>
                    <a:pt x="16" y="266"/>
                  </a:lnTo>
                  <a:lnTo>
                    <a:pt x="16" y="265"/>
                  </a:lnTo>
                  <a:lnTo>
                    <a:pt x="16" y="263"/>
                  </a:lnTo>
                  <a:lnTo>
                    <a:pt x="17" y="260"/>
                  </a:lnTo>
                  <a:lnTo>
                    <a:pt x="17" y="255"/>
                  </a:lnTo>
                  <a:lnTo>
                    <a:pt x="17" y="255"/>
                  </a:lnTo>
                  <a:lnTo>
                    <a:pt x="17" y="254"/>
                  </a:lnTo>
                  <a:lnTo>
                    <a:pt x="16" y="252"/>
                  </a:lnTo>
                  <a:lnTo>
                    <a:pt x="16" y="251"/>
                  </a:lnTo>
                  <a:lnTo>
                    <a:pt x="16" y="249"/>
                  </a:lnTo>
                  <a:lnTo>
                    <a:pt x="16" y="248"/>
                  </a:lnTo>
                  <a:lnTo>
                    <a:pt x="17" y="246"/>
                  </a:lnTo>
                  <a:lnTo>
                    <a:pt x="20" y="248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5" y="248"/>
                  </a:lnTo>
                  <a:lnTo>
                    <a:pt x="23" y="245"/>
                  </a:lnTo>
                  <a:lnTo>
                    <a:pt x="22" y="241"/>
                  </a:lnTo>
                  <a:lnTo>
                    <a:pt x="20" y="236"/>
                  </a:lnTo>
                  <a:lnTo>
                    <a:pt x="19" y="232"/>
                  </a:lnTo>
                  <a:lnTo>
                    <a:pt x="20" y="227"/>
                  </a:lnTo>
                  <a:lnTo>
                    <a:pt x="22" y="222"/>
                  </a:lnTo>
                  <a:lnTo>
                    <a:pt x="26" y="219"/>
                  </a:lnTo>
                  <a:lnTo>
                    <a:pt x="26" y="219"/>
                  </a:lnTo>
                  <a:lnTo>
                    <a:pt x="26" y="219"/>
                  </a:lnTo>
                  <a:lnTo>
                    <a:pt x="28" y="218"/>
                  </a:lnTo>
                  <a:lnTo>
                    <a:pt x="29" y="216"/>
                  </a:lnTo>
                  <a:lnTo>
                    <a:pt x="30" y="215"/>
                  </a:lnTo>
                  <a:lnTo>
                    <a:pt x="31" y="213"/>
                  </a:lnTo>
                  <a:lnTo>
                    <a:pt x="32" y="212"/>
                  </a:lnTo>
                  <a:lnTo>
                    <a:pt x="32" y="210"/>
                  </a:lnTo>
                  <a:lnTo>
                    <a:pt x="34" y="210"/>
                  </a:lnTo>
                  <a:lnTo>
                    <a:pt x="34" y="210"/>
                  </a:lnTo>
                  <a:lnTo>
                    <a:pt x="34" y="209"/>
                  </a:lnTo>
                  <a:lnTo>
                    <a:pt x="32" y="208"/>
                  </a:lnTo>
                  <a:lnTo>
                    <a:pt x="32" y="205"/>
                  </a:lnTo>
                  <a:lnTo>
                    <a:pt x="32" y="202"/>
                  </a:lnTo>
                  <a:lnTo>
                    <a:pt x="34" y="199"/>
                  </a:lnTo>
                  <a:lnTo>
                    <a:pt x="35" y="195"/>
                  </a:lnTo>
                  <a:lnTo>
                    <a:pt x="37" y="192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0" y="189"/>
                  </a:lnTo>
                  <a:lnTo>
                    <a:pt x="40" y="188"/>
                  </a:lnTo>
                  <a:lnTo>
                    <a:pt x="40" y="185"/>
                  </a:lnTo>
                  <a:lnTo>
                    <a:pt x="38" y="182"/>
                  </a:lnTo>
                  <a:lnTo>
                    <a:pt x="37" y="179"/>
                  </a:lnTo>
                  <a:lnTo>
                    <a:pt x="35" y="176"/>
                  </a:lnTo>
                  <a:lnTo>
                    <a:pt x="34" y="172"/>
                  </a:lnTo>
                  <a:lnTo>
                    <a:pt x="32" y="167"/>
                  </a:lnTo>
                  <a:lnTo>
                    <a:pt x="32" y="163"/>
                  </a:lnTo>
                  <a:lnTo>
                    <a:pt x="31" y="159"/>
                  </a:lnTo>
                  <a:lnTo>
                    <a:pt x="31" y="155"/>
                  </a:lnTo>
                  <a:lnTo>
                    <a:pt x="31" y="150"/>
                  </a:lnTo>
                  <a:lnTo>
                    <a:pt x="32" y="146"/>
                  </a:lnTo>
                  <a:lnTo>
                    <a:pt x="32" y="143"/>
                  </a:lnTo>
                  <a:lnTo>
                    <a:pt x="35" y="139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4"/>
                  </a:lnTo>
                  <a:lnTo>
                    <a:pt x="37" y="133"/>
                  </a:lnTo>
                  <a:lnTo>
                    <a:pt x="37" y="130"/>
                  </a:lnTo>
                  <a:lnTo>
                    <a:pt x="37" y="126"/>
                  </a:lnTo>
                  <a:lnTo>
                    <a:pt x="37" y="123"/>
                  </a:lnTo>
                  <a:lnTo>
                    <a:pt x="37" y="119"/>
                  </a:lnTo>
                  <a:lnTo>
                    <a:pt x="37" y="115"/>
                  </a:lnTo>
                  <a:lnTo>
                    <a:pt x="37" y="110"/>
                  </a:lnTo>
                  <a:lnTo>
                    <a:pt x="37" y="106"/>
                  </a:lnTo>
                  <a:lnTo>
                    <a:pt x="37" y="101"/>
                  </a:lnTo>
                  <a:lnTo>
                    <a:pt x="37" y="98"/>
                  </a:lnTo>
                  <a:lnTo>
                    <a:pt x="38" y="93"/>
                  </a:lnTo>
                  <a:lnTo>
                    <a:pt x="40" y="89"/>
                  </a:lnTo>
                  <a:lnTo>
                    <a:pt x="41" y="86"/>
                  </a:lnTo>
                  <a:lnTo>
                    <a:pt x="43" y="8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7" y="11"/>
                  </a:lnTo>
                  <a:lnTo>
                    <a:pt x="68" y="11"/>
                  </a:lnTo>
                  <a:lnTo>
                    <a:pt x="71" y="10"/>
                  </a:lnTo>
                  <a:lnTo>
                    <a:pt x="74" y="8"/>
                  </a:lnTo>
                  <a:lnTo>
                    <a:pt x="77" y="10"/>
                  </a:lnTo>
                  <a:lnTo>
                    <a:pt x="80" y="11"/>
                  </a:lnTo>
                  <a:lnTo>
                    <a:pt x="83" y="16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6"/>
                  </a:lnTo>
                  <a:lnTo>
                    <a:pt x="88" y="27"/>
                  </a:lnTo>
                  <a:lnTo>
                    <a:pt x="89" y="29"/>
                  </a:lnTo>
                  <a:lnTo>
                    <a:pt x="91" y="30"/>
                  </a:lnTo>
                  <a:lnTo>
                    <a:pt x="93" y="32"/>
                  </a:lnTo>
                  <a:lnTo>
                    <a:pt x="97" y="32"/>
                  </a:lnTo>
                  <a:lnTo>
                    <a:pt x="100" y="29"/>
                  </a:lnTo>
                  <a:lnTo>
                    <a:pt x="106" y="26"/>
                  </a:lnTo>
                  <a:lnTo>
                    <a:pt x="106" y="26"/>
                  </a:lnTo>
                  <a:lnTo>
                    <a:pt x="106" y="24"/>
                  </a:lnTo>
                  <a:lnTo>
                    <a:pt x="109" y="23"/>
                  </a:lnTo>
                  <a:lnTo>
                    <a:pt x="112" y="20"/>
                  </a:lnTo>
                  <a:lnTo>
                    <a:pt x="115" y="17"/>
                  </a:lnTo>
                  <a:lnTo>
                    <a:pt x="118" y="14"/>
                  </a:lnTo>
                  <a:lnTo>
                    <a:pt x="121" y="11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29" y="8"/>
                  </a:lnTo>
                  <a:lnTo>
                    <a:pt x="129" y="8"/>
                  </a:lnTo>
                  <a:lnTo>
                    <a:pt x="129" y="8"/>
                  </a:lnTo>
                  <a:lnTo>
                    <a:pt x="129" y="7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30" y="1"/>
                  </a:lnTo>
                  <a:lnTo>
                    <a:pt x="133" y="0"/>
                  </a:lnTo>
                  <a:lnTo>
                    <a:pt x="137" y="1"/>
                  </a:lnTo>
                  <a:lnTo>
                    <a:pt x="143" y="2"/>
                  </a:lnTo>
                  <a:lnTo>
                    <a:pt x="143" y="2"/>
                  </a:lnTo>
                  <a:lnTo>
                    <a:pt x="145" y="4"/>
                  </a:lnTo>
                  <a:lnTo>
                    <a:pt x="148" y="5"/>
                  </a:lnTo>
                  <a:lnTo>
                    <a:pt x="152" y="8"/>
                  </a:lnTo>
                  <a:lnTo>
                    <a:pt x="157" y="11"/>
                  </a:lnTo>
                  <a:lnTo>
                    <a:pt x="163" y="13"/>
                  </a:lnTo>
                  <a:lnTo>
                    <a:pt x="168" y="16"/>
                  </a:lnTo>
                  <a:lnTo>
                    <a:pt x="172" y="17"/>
                  </a:lnTo>
                  <a:lnTo>
                    <a:pt x="173" y="19"/>
                  </a:lnTo>
                  <a:lnTo>
                    <a:pt x="181" y="26"/>
                  </a:lnTo>
                  <a:lnTo>
                    <a:pt x="214" y="139"/>
                  </a:lnTo>
                  <a:lnTo>
                    <a:pt x="214" y="139"/>
                  </a:lnTo>
                  <a:lnTo>
                    <a:pt x="214" y="140"/>
                  </a:lnTo>
                  <a:lnTo>
                    <a:pt x="214" y="143"/>
                  </a:lnTo>
                  <a:lnTo>
                    <a:pt x="214" y="146"/>
                  </a:lnTo>
                  <a:lnTo>
                    <a:pt x="216" y="150"/>
                  </a:lnTo>
                  <a:lnTo>
                    <a:pt x="220" y="156"/>
                  </a:lnTo>
                  <a:lnTo>
                    <a:pt x="225" y="159"/>
                  </a:lnTo>
                  <a:lnTo>
                    <a:pt x="234" y="162"/>
                  </a:lnTo>
                  <a:lnTo>
                    <a:pt x="244" y="163"/>
                  </a:lnTo>
                  <a:lnTo>
                    <a:pt x="249" y="166"/>
                  </a:lnTo>
                  <a:lnTo>
                    <a:pt x="249" y="180"/>
                  </a:lnTo>
                  <a:lnTo>
                    <a:pt x="256" y="188"/>
                  </a:lnTo>
                  <a:lnTo>
                    <a:pt x="256" y="188"/>
                  </a:lnTo>
                  <a:lnTo>
                    <a:pt x="256" y="188"/>
                  </a:lnTo>
                  <a:lnTo>
                    <a:pt x="258" y="191"/>
                  </a:lnTo>
                  <a:lnTo>
                    <a:pt x="259" y="194"/>
                  </a:lnTo>
                  <a:lnTo>
                    <a:pt x="261" y="197"/>
                  </a:lnTo>
                  <a:lnTo>
                    <a:pt x="264" y="200"/>
                  </a:lnTo>
                  <a:lnTo>
                    <a:pt x="267" y="202"/>
                  </a:lnTo>
                  <a:lnTo>
                    <a:pt x="270" y="202"/>
                  </a:lnTo>
                  <a:lnTo>
                    <a:pt x="273" y="200"/>
                  </a:lnTo>
                  <a:lnTo>
                    <a:pt x="273" y="200"/>
                  </a:lnTo>
                  <a:lnTo>
                    <a:pt x="273" y="200"/>
                  </a:lnTo>
                  <a:lnTo>
                    <a:pt x="276" y="203"/>
                  </a:lnTo>
                  <a:lnTo>
                    <a:pt x="280" y="206"/>
                  </a:lnTo>
                  <a:lnTo>
                    <a:pt x="285" y="209"/>
                  </a:lnTo>
                  <a:lnTo>
                    <a:pt x="288" y="212"/>
                  </a:lnTo>
                  <a:lnTo>
                    <a:pt x="292" y="215"/>
                  </a:lnTo>
                  <a:lnTo>
                    <a:pt x="295" y="218"/>
                  </a:lnTo>
                  <a:lnTo>
                    <a:pt x="295" y="218"/>
                  </a:lnTo>
                  <a:lnTo>
                    <a:pt x="288" y="225"/>
                  </a:lnTo>
                  <a:lnTo>
                    <a:pt x="294" y="233"/>
                  </a:lnTo>
                  <a:lnTo>
                    <a:pt x="294" y="233"/>
                  </a:lnTo>
                  <a:lnTo>
                    <a:pt x="294" y="233"/>
                  </a:lnTo>
                  <a:lnTo>
                    <a:pt x="297" y="230"/>
                  </a:lnTo>
                  <a:lnTo>
                    <a:pt x="300" y="229"/>
                  </a:lnTo>
                  <a:lnTo>
                    <a:pt x="303" y="227"/>
                  </a:lnTo>
                  <a:lnTo>
                    <a:pt x="304" y="227"/>
                  </a:lnTo>
                  <a:lnTo>
                    <a:pt x="304" y="228"/>
                  </a:lnTo>
                  <a:lnTo>
                    <a:pt x="304" y="232"/>
                  </a:lnTo>
                  <a:lnTo>
                    <a:pt x="300" y="241"/>
                  </a:lnTo>
                  <a:lnTo>
                    <a:pt x="300" y="241"/>
                  </a:lnTo>
                  <a:lnTo>
                    <a:pt x="300" y="241"/>
                  </a:lnTo>
                  <a:lnTo>
                    <a:pt x="298" y="243"/>
                  </a:lnTo>
                  <a:lnTo>
                    <a:pt x="297" y="245"/>
                  </a:lnTo>
                  <a:lnTo>
                    <a:pt x="294" y="248"/>
                  </a:lnTo>
                  <a:lnTo>
                    <a:pt x="292" y="251"/>
                  </a:lnTo>
                  <a:lnTo>
                    <a:pt x="291" y="252"/>
                  </a:lnTo>
                  <a:lnTo>
                    <a:pt x="289" y="254"/>
                  </a:lnTo>
                  <a:lnTo>
                    <a:pt x="289" y="255"/>
                  </a:lnTo>
                  <a:lnTo>
                    <a:pt x="283" y="248"/>
                  </a:lnTo>
                  <a:lnTo>
                    <a:pt x="279" y="252"/>
                  </a:lnTo>
                  <a:lnTo>
                    <a:pt x="282" y="260"/>
                  </a:lnTo>
                  <a:lnTo>
                    <a:pt x="276" y="261"/>
                  </a:lnTo>
                  <a:lnTo>
                    <a:pt x="276" y="261"/>
                  </a:lnTo>
                  <a:lnTo>
                    <a:pt x="276" y="261"/>
                  </a:lnTo>
                  <a:lnTo>
                    <a:pt x="274" y="261"/>
                  </a:lnTo>
                  <a:lnTo>
                    <a:pt x="273" y="260"/>
                  </a:lnTo>
                  <a:lnTo>
                    <a:pt x="273" y="260"/>
                  </a:lnTo>
                  <a:lnTo>
                    <a:pt x="270" y="260"/>
                  </a:lnTo>
                  <a:lnTo>
                    <a:pt x="270" y="261"/>
                  </a:lnTo>
                  <a:lnTo>
                    <a:pt x="270" y="263"/>
                  </a:lnTo>
                  <a:lnTo>
                    <a:pt x="271" y="268"/>
                  </a:lnTo>
                  <a:lnTo>
                    <a:pt x="271" y="268"/>
                  </a:lnTo>
                  <a:lnTo>
                    <a:pt x="271" y="271"/>
                  </a:lnTo>
                  <a:lnTo>
                    <a:pt x="270" y="272"/>
                  </a:lnTo>
                  <a:lnTo>
                    <a:pt x="268" y="273"/>
                  </a:lnTo>
                  <a:lnTo>
                    <a:pt x="265" y="275"/>
                  </a:lnTo>
                  <a:lnTo>
                    <a:pt x="262" y="276"/>
                  </a:lnTo>
                  <a:lnTo>
                    <a:pt x="259" y="276"/>
                  </a:lnTo>
                  <a:lnTo>
                    <a:pt x="258" y="276"/>
                  </a:lnTo>
                  <a:lnTo>
                    <a:pt x="255" y="275"/>
                  </a:lnTo>
                  <a:lnTo>
                    <a:pt x="255" y="275"/>
                  </a:lnTo>
                  <a:lnTo>
                    <a:pt x="252" y="272"/>
                  </a:lnTo>
                  <a:lnTo>
                    <a:pt x="252" y="272"/>
                  </a:lnTo>
                  <a:lnTo>
                    <a:pt x="253" y="273"/>
                  </a:lnTo>
                  <a:lnTo>
                    <a:pt x="253" y="273"/>
                  </a:lnTo>
                  <a:lnTo>
                    <a:pt x="253" y="273"/>
                  </a:lnTo>
                  <a:lnTo>
                    <a:pt x="253" y="273"/>
                  </a:lnTo>
                  <a:lnTo>
                    <a:pt x="253" y="272"/>
                  </a:lnTo>
                  <a:lnTo>
                    <a:pt x="253" y="272"/>
                  </a:lnTo>
                  <a:lnTo>
                    <a:pt x="252" y="272"/>
                  </a:lnTo>
                  <a:lnTo>
                    <a:pt x="252" y="273"/>
                  </a:lnTo>
                  <a:lnTo>
                    <a:pt x="250" y="276"/>
                  </a:lnTo>
                  <a:lnTo>
                    <a:pt x="250" y="279"/>
                  </a:lnTo>
                  <a:lnTo>
                    <a:pt x="250" y="287"/>
                  </a:lnTo>
                  <a:lnTo>
                    <a:pt x="250" y="287"/>
                  </a:lnTo>
                  <a:lnTo>
                    <a:pt x="249" y="288"/>
                  </a:lnTo>
                  <a:lnTo>
                    <a:pt x="247" y="293"/>
                  </a:lnTo>
                  <a:lnTo>
                    <a:pt x="244" y="294"/>
                  </a:lnTo>
                  <a:lnTo>
                    <a:pt x="244" y="295"/>
                  </a:lnTo>
                  <a:lnTo>
                    <a:pt x="241" y="302"/>
                  </a:lnTo>
                  <a:lnTo>
                    <a:pt x="235" y="295"/>
                  </a:lnTo>
                  <a:lnTo>
                    <a:pt x="235" y="290"/>
                  </a:lnTo>
                  <a:lnTo>
                    <a:pt x="226" y="285"/>
                  </a:lnTo>
                  <a:lnTo>
                    <a:pt x="226" y="285"/>
                  </a:lnTo>
                  <a:lnTo>
                    <a:pt x="226" y="284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2" y="284"/>
                  </a:lnTo>
                  <a:lnTo>
                    <a:pt x="220" y="285"/>
                  </a:lnTo>
                  <a:lnTo>
                    <a:pt x="220" y="287"/>
                  </a:lnTo>
                  <a:lnTo>
                    <a:pt x="220" y="290"/>
                  </a:lnTo>
                  <a:lnTo>
                    <a:pt x="222" y="294"/>
                  </a:lnTo>
                  <a:lnTo>
                    <a:pt x="222" y="294"/>
                  </a:lnTo>
                  <a:lnTo>
                    <a:pt x="222" y="295"/>
                  </a:lnTo>
                  <a:lnTo>
                    <a:pt x="220" y="296"/>
                  </a:lnTo>
                  <a:lnTo>
                    <a:pt x="217" y="299"/>
                  </a:lnTo>
                  <a:lnTo>
                    <a:pt x="214" y="301"/>
                  </a:lnTo>
                  <a:lnTo>
                    <a:pt x="211" y="304"/>
                  </a:lnTo>
                  <a:lnTo>
                    <a:pt x="208" y="305"/>
                  </a:lnTo>
                  <a:lnTo>
                    <a:pt x="206" y="306"/>
                  </a:lnTo>
                  <a:lnTo>
                    <a:pt x="205" y="306"/>
                  </a:lnTo>
                  <a:lnTo>
                    <a:pt x="206" y="318"/>
                  </a:lnTo>
                  <a:lnTo>
                    <a:pt x="189" y="318"/>
                  </a:lnTo>
                  <a:lnTo>
                    <a:pt x="195" y="308"/>
                  </a:lnTo>
                  <a:lnTo>
                    <a:pt x="186" y="308"/>
                  </a:lnTo>
                  <a:lnTo>
                    <a:pt x="186" y="308"/>
                  </a:lnTo>
                  <a:lnTo>
                    <a:pt x="186" y="306"/>
                  </a:lnTo>
                  <a:lnTo>
                    <a:pt x="186" y="304"/>
                  </a:lnTo>
                  <a:lnTo>
                    <a:pt x="184" y="299"/>
                  </a:lnTo>
                  <a:lnTo>
                    <a:pt x="184" y="296"/>
                  </a:lnTo>
                  <a:lnTo>
                    <a:pt x="183" y="295"/>
                  </a:lnTo>
                  <a:lnTo>
                    <a:pt x="182" y="295"/>
                  </a:lnTo>
                  <a:lnTo>
                    <a:pt x="181" y="299"/>
                  </a:lnTo>
                  <a:lnTo>
                    <a:pt x="178" y="308"/>
                  </a:lnTo>
                  <a:lnTo>
                    <a:pt x="178" y="308"/>
                  </a:lnTo>
                  <a:lnTo>
                    <a:pt x="178" y="308"/>
                  </a:lnTo>
                  <a:lnTo>
                    <a:pt x="178" y="309"/>
                  </a:lnTo>
                  <a:lnTo>
                    <a:pt x="178" y="311"/>
                  </a:lnTo>
                  <a:lnTo>
                    <a:pt x="178" y="314"/>
                  </a:lnTo>
                  <a:lnTo>
                    <a:pt x="176" y="315"/>
                  </a:lnTo>
                  <a:lnTo>
                    <a:pt x="176" y="318"/>
                  </a:lnTo>
                  <a:lnTo>
                    <a:pt x="176" y="318"/>
                  </a:lnTo>
                  <a:lnTo>
                    <a:pt x="176" y="320"/>
                  </a:lnTo>
                  <a:lnTo>
                    <a:pt x="178" y="348"/>
                  </a:lnTo>
                  <a:lnTo>
                    <a:pt x="173" y="357"/>
                  </a:lnTo>
                  <a:lnTo>
                    <a:pt x="168" y="369"/>
                  </a:lnTo>
                  <a:lnTo>
                    <a:pt x="163" y="362"/>
                  </a:lnTo>
                  <a:lnTo>
                    <a:pt x="154" y="365"/>
                  </a:lnTo>
                  <a:lnTo>
                    <a:pt x="152" y="381"/>
                  </a:lnTo>
                  <a:lnTo>
                    <a:pt x="145" y="380"/>
                  </a:lnTo>
                  <a:lnTo>
                    <a:pt x="145" y="380"/>
                  </a:lnTo>
                  <a:lnTo>
                    <a:pt x="145" y="381"/>
                  </a:lnTo>
                  <a:lnTo>
                    <a:pt x="145" y="381"/>
                  </a:lnTo>
                  <a:lnTo>
                    <a:pt x="145" y="384"/>
                  </a:lnTo>
                  <a:lnTo>
                    <a:pt x="143" y="384"/>
                  </a:lnTo>
                  <a:lnTo>
                    <a:pt x="143" y="386"/>
                  </a:lnTo>
                  <a:lnTo>
                    <a:pt x="142" y="386"/>
                  </a:lnTo>
                  <a:lnTo>
                    <a:pt x="140" y="384"/>
                  </a:lnTo>
                  <a:lnTo>
                    <a:pt x="137" y="380"/>
                  </a:lnTo>
                  <a:lnTo>
                    <a:pt x="137" y="380"/>
                  </a:lnTo>
                  <a:lnTo>
                    <a:pt x="137" y="378"/>
                  </a:lnTo>
                  <a:lnTo>
                    <a:pt x="136" y="378"/>
                  </a:lnTo>
                  <a:lnTo>
                    <a:pt x="136" y="377"/>
                  </a:lnTo>
                  <a:lnTo>
                    <a:pt x="135" y="377"/>
                  </a:lnTo>
                  <a:lnTo>
                    <a:pt x="133" y="378"/>
                  </a:lnTo>
                  <a:lnTo>
                    <a:pt x="132" y="380"/>
                  </a:lnTo>
                  <a:lnTo>
                    <a:pt x="132" y="384"/>
                  </a:lnTo>
                  <a:lnTo>
                    <a:pt x="130" y="392"/>
                  </a:lnTo>
                  <a:lnTo>
                    <a:pt x="130" y="392"/>
                  </a:lnTo>
                  <a:lnTo>
                    <a:pt x="132" y="392"/>
                  </a:lnTo>
                  <a:lnTo>
                    <a:pt x="132" y="395"/>
                  </a:lnTo>
                  <a:lnTo>
                    <a:pt x="132" y="399"/>
                  </a:lnTo>
                  <a:lnTo>
                    <a:pt x="133" y="402"/>
                  </a:lnTo>
                  <a:lnTo>
                    <a:pt x="132" y="404"/>
                  </a:lnTo>
                  <a:lnTo>
                    <a:pt x="130" y="402"/>
                  </a:lnTo>
                  <a:lnTo>
                    <a:pt x="129" y="397"/>
                  </a:lnTo>
                  <a:lnTo>
                    <a:pt x="124" y="387"/>
                  </a:lnTo>
                  <a:lnTo>
                    <a:pt x="124" y="387"/>
                  </a:lnTo>
                  <a:lnTo>
                    <a:pt x="124" y="387"/>
                  </a:lnTo>
                  <a:lnTo>
                    <a:pt x="121" y="390"/>
                  </a:lnTo>
                  <a:lnTo>
                    <a:pt x="119" y="392"/>
                  </a:lnTo>
                  <a:lnTo>
                    <a:pt x="116" y="394"/>
                  </a:lnTo>
                  <a:lnTo>
                    <a:pt x="112" y="397"/>
                  </a:lnTo>
                  <a:lnTo>
                    <a:pt x="109" y="399"/>
                  </a:lnTo>
                  <a:lnTo>
                    <a:pt x="107" y="402"/>
                  </a:lnTo>
                  <a:lnTo>
                    <a:pt x="106" y="402"/>
                  </a:lnTo>
                  <a:lnTo>
                    <a:pt x="103" y="422"/>
                  </a:lnTo>
                  <a:lnTo>
                    <a:pt x="107" y="423"/>
                  </a:lnTo>
                  <a:lnTo>
                    <a:pt x="107" y="428"/>
                  </a:lnTo>
                  <a:lnTo>
                    <a:pt x="107" y="428"/>
                  </a:lnTo>
                  <a:lnTo>
                    <a:pt x="107" y="428"/>
                  </a:lnTo>
                  <a:lnTo>
                    <a:pt x="104" y="428"/>
                  </a:lnTo>
                  <a:lnTo>
                    <a:pt x="103" y="428"/>
                  </a:lnTo>
                  <a:lnTo>
                    <a:pt x="100" y="430"/>
                  </a:lnTo>
                  <a:lnTo>
                    <a:pt x="99" y="432"/>
                  </a:lnTo>
                  <a:lnTo>
                    <a:pt x="97" y="435"/>
                  </a:lnTo>
                  <a:lnTo>
                    <a:pt x="99" y="440"/>
                  </a:lnTo>
                  <a:lnTo>
                    <a:pt x="101" y="447"/>
                  </a:lnTo>
                  <a:lnTo>
                    <a:pt x="101" y="447"/>
                  </a:lnTo>
                  <a:lnTo>
                    <a:pt x="101" y="447"/>
                  </a:lnTo>
                  <a:lnTo>
                    <a:pt x="100" y="449"/>
                  </a:lnTo>
                  <a:lnTo>
                    <a:pt x="99" y="452"/>
                  </a:lnTo>
                  <a:lnTo>
                    <a:pt x="96" y="455"/>
                  </a:lnTo>
                  <a:lnTo>
                    <a:pt x="93" y="456"/>
                  </a:lnTo>
                  <a:lnTo>
                    <a:pt x="91" y="458"/>
                  </a:lnTo>
                  <a:lnTo>
                    <a:pt x="91" y="458"/>
                  </a:lnTo>
                  <a:lnTo>
                    <a:pt x="91" y="460"/>
                  </a:lnTo>
                  <a:lnTo>
                    <a:pt x="91" y="479"/>
                  </a:lnTo>
                  <a:lnTo>
                    <a:pt x="83" y="49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9" name="Freeform 81"/>
            <p:cNvSpPr>
              <a:spLocks/>
            </p:cNvSpPr>
            <p:nvPr/>
          </p:nvSpPr>
          <p:spPr bwMode="auto">
            <a:xfrm>
              <a:off x="3608651" y="4196482"/>
              <a:ext cx="11454" cy="14282"/>
            </a:xfrm>
            <a:custGeom>
              <a:avLst/>
              <a:gdLst>
                <a:gd name="T0" fmla="*/ 8 w 17"/>
                <a:gd name="T1" fmla="*/ 0 h 21"/>
                <a:gd name="T2" fmla="*/ 16 w 17"/>
                <a:gd name="T3" fmla="*/ 6 h 21"/>
                <a:gd name="T4" fmla="*/ 12 w 17"/>
                <a:gd name="T5" fmla="*/ 13 h 21"/>
                <a:gd name="T6" fmla="*/ 9 w 17"/>
                <a:gd name="T7" fmla="*/ 14 h 21"/>
                <a:gd name="T8" fmla="*/ 9 w 17"/>
                <a:gd name="T9" fmla="*/ 14 h 21"/>
                <a:gd name="T10" fmla="*/ 11 w 17"/>
                <a:gd name="T11" fmla="*/ 16 h 21"/>
                <a:gd name="T12" fmla="*/ 11 w 17"/>
                <a:gd name="T13" fmla="*/ 17 h 21"/>
                <a:gd name="T14" fmla="*/ 11 w 17"/>
                <a:gd name="T15" fmla="*/ 20 h 21"/>
                <a:gd name="T16" fmla="*/ 9 w 17"/>
                <a:gd name="T17" fmla="*/ 20 h 21"/>
                <a:gd name="T18" fmla="*/ 8 w 17"/>
                <a:gd name="T19" fmla="*/ 20 h 21"/>
                <a:gd name="T20" fmla="*/ 5 w 17"/>
                <a:gd name="T21" fmla="*/ 19 h 21"/>
                <a:gd name="T22" fmla="*/ 0 w 17"/>
                <a:gd name="T23" fmla="*/ 16 h 21"/>
                <a:gd name="T24" fmla="*/ 0 w 17"/>
                <a:gd name="T25" fmla="*/ 14 h 21"/>
                <a:gd name="T26" fmla="*/ 0 w 17"/>
                <a:gd name="T27" fmla="*/ 10 h 21"/>
                <a:gd name="T28" fmla="*/ 0 w 17"/>
                <a:gd name="T29" fmla="*/ 8 h 21"/>
                <a:gd name="T30" fmla="*/ 2 w 17"/>
                <a:gd name="T31" fmla="*/ 7 h 21"/>
                <a:gd name="T32" fmla="*/ 8 w 17"/>
                <a:gd name="T3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21">
                  <a:moveTo>
                    <a:pt x="8" y="0"/>
                  </a:moveTo>
                  <a:lnTo>
                    <a:pt x="16" y="6"/>
                  </a:lnTo>
                  <a:lnTo>
                    <a:pt x="12" y="13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1" y="20"/>
                  </a:lnTo>
                  <a:lnTo>
                    <a:pt x="9" y="20"/>
                  </a:lnTo>
                  <a:lnTo>
                    <a:pt x="8" y="20"/>
                  </a:lnTo>
                  <a:lnTo>
                    <a:pt x="5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7"/>
                  </a:lnTo>
                  <a:lnTo>
                    <a:pt x="8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0" name="Freeform 82"/>
            <p:cNvSpPr>
              <a:spLocks/>
            </p:cNvSpPr>
            <p:nvPr/>
          </p:nvSpPr>
          <p:spPr bwMode="auto">
            <a:xfrm>
              <a:off x="3608651" y="4196482"/>
              <a:ext cx="11454" cy="14282"/>
            </a:xfrm>
            <a:custGeom>
              <a:avLst/>
              <a:gdLst>
                <a:gd name="T0" fmla="*/ 8 w 17"/>
                <a:gd name="T1" fmla="*/ 0 h 21"/>
                <a:gd name="T2" fmla="*/ 16 w 17"/>
                <a:gd name="T3" fmla="*/ 6 h 21"/>
                <a:gd name="T4" fmla="*/ 12 w 17"/>
                <a:gd name="T5" fmla="*/ 13 h 21"/>
                <a:gd name="T6" fmla="*/ 9 w 17"/>
                <a:gd name="T7" fmla="*/ 14 h 21"/>
                <a:gd name="T8" fmla="*/ 9 w 17"/>
                <a:gd name="T9" fmla="*/ 14 h 21"/>
                <a:gd name="T10" fmla="*/ 9 w 17"/>
                <a:gd name="T11" fmla="*/ 14 h 21"/>
                <a:gd name="T12" fmla="*/ 11 w 17"/>
                <a:gd name="T13" fmla="*/ 16 h 21"/>
                <a:gd name="T14" fmla="*/ 11 w 17"/>
                <a:gd name="T15" fmla="*/ 17 h 21"/>
                <a:gd name="T16" fmla="*/ 11 w 17"/>
                <a:gd name="T17" fmla="*/ 20 h 21"/>
                <a:gd name="T18" fmla="*/ 9 w 17"/>
                <a:gd name="T19" fmla="*/ 20 h 21"/>
                <a:gd name="T20" fmla="*/ 8 w 17"/>
                <a:gd name="T21" fmla="*/ 20 h 21"/>
                <a:gd name="T22" fmla="*/ 5 w 17"/>
                <a:gd name="T23" fmla="*/ 19 h 21"/>
                <a:gd name="T24" fmla="*/ 0 w 17"/>
                <a:gd name="T25" fmla="*/ 16 h 21"/>
                <a:gd name="T26" fmla="*/ 0 w 17"/>
                <a:gd name="T27" fmla="*/ 16 h 21"/>
                <a:gd name="T28" fmla="*/ 0 w 17"/>
                <a:gd name="T29" fmla="*/ 14 h 21"/>
                <a:gd name="T30" fmla="*/ 0 w 17"/>
                <a:gd name="T31" fmla="*/ 10 h 21"/>
                <a:gd name="T32" fmla="*/ 0 w 17"/>
                <a:gd name="T33" fmla="*/ 8 h 21"/>
                <a:gd name="T34" fmla="*/ 2 w 17"/>
                <a:gd name="T35" fmla="*/ 7 h 21"/>
                <a:gd name="T36" fmla="*/ 8 w 17"/>
                <a:gd name="T3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" h="21">
                  <a:moveTo>
                    <a:pt x="8" y="0"/>
                  </a:moveTo>
                  <a:lnTo>
                    <a:pt x="16" y="6"/>
                  </a:lnTo>
                  <a:lnTo>
                    <a:pt x="12" y="13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1" y="20"/>
                  </a:lnTo>
                  <a:lnTo>
                    <a:pt x="9" y="20"/>
                  </a:lnTo>
                  <a:lnTo>
                    <a:pt x="8" y="20"/>
                  </a:lnTo>
                  <a:lnTo>
                    <a:pt x="5" y="19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7"/>
                  </a:lnTo>
                  <a:lnTo>
                    <a:pt x="8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1" name="Freeform 83"/>
            <p:cNvSpPr>
              <a:spLocks/>
            </p:cNvSpPr>
            <p:nvPr/>
          </p:nvSpPr>
          <p:spPr bwMode="auto">
            <a:xfrm>
              <a:off x="3397666" y="4339923"/>
              <a:ext cx="187475" cy="95628"/>
            </a:xfrm>
            <a:custGeom>
              <a:avLst/>
              <a:gdLst>
                <a:gd name="T0" fmla="*/ 1 w 279"/>
                <a:gd name="T1" fmla="*/ 57 h 142"/>
                <a:gd name="T2" fmla="*/ 14 w 279"/>
                <a:gd name="T3" fmla="*/ 56 h 142"/>
                <a:gd name="T4" fmla="*/ 35 w 279"/>
                <a:gd name="T5" fmla="*/ 51 h 142"/>
                <a:gd name="T6" fmla="*/ 53 w 279"/>
                <a:gd name="T7" fmla="*/ 46 h 142"/>
                <a:gd name="T8" fmla="*/ 145 w 279"/>
                <a:gd name="T9" fmla="*/ 27 h 142"/>
                <a:gd name="T10" fmla="*/ 154 w 279"/>
                <a:gd name="T11" fmla="*/ 16 h 142"/>
                <a:gd name="T12" fmla="*/ 166 w 279"/>
                <a:gd name="T13" fmla="*/ 2 h 142"/>
                <a:gd name="T14" fmla="*/ 178 w 279"/>
                <a:gd name="T15" fmla="*/ 0 h 142"/>
                <a:gd name="T16" fmla="*/ 178 w 279"/>
                <a:gd name="T17" fmla="*/ 0 h 142"/>
                <a:gd name="T18" fmla="*/ 182 w 279"/>
                <a:gd name="T19" fmla="*/ 11 h 142"/>
                <a:gd name="T20" fmla="*/ 192 w 279"/>
                <a:gd name="T21" fmla="*/ 18 h 142"/>
                <a:gd name="T22" fmla="*/ 196 w 279"/>
                <a:gd name="T23" fmla="*/ 22 h 142"/>
                <a:gd name="T24" fmla="*/ 186 w 279"/>
                <a:gd name="T25" fmla="*/ 33 h 142"/>
                <a:gd name="T26" fmla="*/ 184 w 279"/>
                <a:gd name="T27" fmla="*/ 43 h 142"/>
                <a:gd name="T28" fmla="*/ 181 w 279"/>
                <a:gd name="T29" fmla="*/ 60 h 142"/>
                <a:gd name="T30" fmla="*/ 205 w 279"/>
                <a:gd name="T31" fmla="*/ 65 h 142"/>
                <a:gd name="T32" fmla="*/ 215 w 279"/>
                <a:gd name="T33" fmla="*/ 76 h 142"/>
                <a:gd name="T34" fmla="*/ 219 w 279"/>
                <a:gd name="T35" fmla="*/ 89 h 142"/>
                <a:gd name="T36" fmla="*/ 226 w 279"/>
                <a:gd name="T37" fmla="*/ 89 h 142"/>
                <a:gd name="T38" fmla="*/ 226 w 279"/>
                <a:gd name="T39" fmla="*/ 93 h 142"/>
                <a:gd name="T40" fmla="*/ 236 w 279"/>
                <a:gd name="T41" fmla="*/ 101 h 142"/>
                <a:gd name="T42" fmla="*/ 258 w 279"/>
                <a:gd name="T43" fmla="*/ 101 h 142"/>
                <a:gd name="T44" fmla="*/ 269 w 279"/>
                <a:gd name="T45" fmla="*/ 87 h 142"/>
                <a:gd name="T46" fmla="*/ 264 w 279"/>
                <a:gd name="T47" fmla="*/ 76 h 142"/>
                <a:gd name="T48" fmla="*/ 252 w 279"/>
                <a:gd name="T49" fmla="*/ 68 h 142"/>
                <a:gd name="T50" fmla="*/ 247 w 279"/>
                <a:gd name="T51" fmla="*/ 71 h 142"/>
                <a:gd name="T52" fmla="*/ 247 w 279"/>
                <a:gd name="T53" fmla="*/ 65 h 142"/>
                <a:gd name="T54" fmla="*/ 262 w 279"/>
                <a:gd name="T55" fmla="*/ 68 h 142"/>
                <a:gd name="T56" fmla="*/ 278 w 279"/>
                <a:gd name="T57" fmla="*/ 95 h 142"/>
                <a:gd name="T58" fmla="*/ 278 w 279"/>
                <a:gd name="T59" fmla="*/ 102 h 142"/>
                <a:gd name="T60" fmla="*/ 278 w 279"/>
                <a:gd name="T61" fmla="*/ 105 h 142"/>
                <a:gd name="T62" fmla="*/ 272 w 279"/>
                <a:gd name="T63" fmla="*/ 104 h 142"/>
                <a:gd name="T64" fmla="*/ 261 w 279"/>
                <a:gd name="T65" fmla="*/ 111 h 142"/>
                <a:gd name="T66" fmla="*/ 250 w 279"/>
                <a:gd name="T67" fmla="*/ 113 h 142"/>
                <a:gd name="T68" fmla="*/ 242 w 279"/>
                <a:gd name="T69" fmla="*/ 123 h 142"/>
                <a:gd name="T70" fmla="*/ 231 w 279"/>
                <a:gd name="T71" fmla="*/ 132 h 142"/>
                <a:gd name="T72" fmla="*/ 228 w 279"/>
                <a:gd name="T73" fmla="*/ 112 h 142"/>
                <a:gd name="T74" fmla="*/ 219 w 279"/>
                <a:gd name="T75" fmla="*/ 109 h 142"/>
                <a:gd name="T76" fmla="*/ 217 w 279"/>
                <a:gd name="T77" fmla="*/ 128 h 142"/>
                <a:gd name="T78" fmla="*/ 217 w 279"/>
                <a:gd name="T79" fmla="*/ 122 h 142"/>
                <a:gd name="T80" fmla="*/ 208 w 279"/>
                <a:gd name="T81" fmla="*/ 126 h 142"/>
                <a:gd name="T82" fmla="*/ 208 w 279"/>
                <a:gd name="T83" fmla="*/ 134 h 142"/>
                <a:gd name="T84" fmla="*/ 196 w 279"/>
                <a:gd name="T85" fmla="*/ 141 h 142"/>
                <a:gd name="T86" fmla="*/ 193 w 279"/>
                <a:gd name="T87" fmla="*/ 135 h 142"/>
                <a:gd name="T88" fmla="*/ 192 w 279"/>
                <a:gd name="T89" fmla="*/ 131 h 142"/>
                <a:gd name="T90" fmla="*/ 169 w 279"/>
                <a:gd name="T91" fmla="*/ 108 h 142"/>
                <a:gd name="T92" fmla="*/ 130 w 279"/>
                <a:gd name="T93" fmla="*/ 102 h 142"/>
                <a:gd name="T94" fmla="*/ 56 w 279"/>
                <a:gd name="T95" fmla="*/ 12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9" h="142">
                  <a:moveTo>
                    <a:pt x="4" y="132"/>
                  </a:moveTo>
                  <a:lnTo>
                    <a:pt x="0" y="132"/>
                  </a:lnTo>
                  <a:lnTo>
                    <a:pt x="1" y="59"/>
                  </a:lnTo>
                  <a:lnTo>
                    <a:pt x="1" y="57"/>
                  </a:lnTo>
                  <a:lnTo>
                    <a:pt x="4" y="57"/>
                  </a:lnTo>
                  <a:lnTo>
                    <a:pt x="7" y="57"/>
                  </a:lnTo>
                  <a:lnTo>
                    <a:pt x="10" y="56"/>
                  </a:lnTo>
                  <a:lnTo>
                    <a:pt x="14" y="56"/>
                  </a:lnTo>
                  <a:lnTo>
                    <a:pt x="20" y="55"/>
                  </a:lnTo>
                  <a:lnTo>
                    <a:pt x="25" y="54"/>
                  </a:lnTo>
                  <a:lnTo>
                    <a:pt x="30" y="52"/>
                  </a:lnTo>
                  <a:lnTo>
                    <a:pt x="35" y="51"/>
                  </a:lnTo>
                  <a:lnTo>
                    <a:pt x="40" y="49"/>
                  </a:lnTo>
                  <a:lnTo>
                    <a:pt x="46" y="48"/>
                  </a:lnTo>
                  <a:lnTo>
                    <a:pt x="50" y="46"/>
                  </a:lnTo>
                  <a:lnTo>
                    <a:pt x="53" y="46"/>
                  </a:lnTo>
                  <a:lnTo>
                    <a:pt x="56" y="45"/>
                  </a:lnTo>
                  <a:lnTo>
                    <a:pt x="58" y="45"/>
                  </a:lnTo>
                  <a:lnTo>
                    <a:pt x="59" y="45"/>
                  </a:lnTo>
                  <a:lnTo>
                    <a:pt x="145" y="27"/>
                  </a:lnTo>
                  <a:lnTo>
                    <a:pt x="151" y="21"/>
                  </a:lnTo>
                  <a:lnTo>
                    <a:pt x="152" y="21"/>
                  </a:lnTo>
                  <a:lnTo>
                    <a:pt x="152" y="18"/>
                  </a:lnTo>
                  <a:lnTo>
                    <a:pt x="154" y="16"/>
                  </a:lnTo>
                  <a:lnTo>
                    <a:pt x="154" y="15"/>
                  </a:lnTo>
                  <a:lnTo>
                    <a:pt x="157" y="9"/>
                  </a:lnTo>
                  <a:lnTo>
                    <a:pt x="162" y="5"/>
                  </a:lnTo>
                  <a:lnTo>
                    <a:pt x="166" y="2"/>
                  </a:lnTo>
                  <a:lnTo>
                    <a:pt x="170" y="0"/>
                  </a:lnTo>
                  <a:lnTo>
                    <a:pt x="173" y="0"/>
                  </a:lnTo>
                  <a:lnTo>
                    <a:pt x="176" y="0"/>
                  </a:lnTo>
                  <a:lnTo>
                    <a:pt x="178" y="0"/>
                  </a:lnTo>
                  <a:lnTo>
                    <a:pt x="179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2"/>
                  </a:lnTo>
                  <a:lnTo>
                    <a:pt x="179" y="5"/>
                  </a:lnTo>
                  <a:lnTo>
                    <a:pt x="181" y="8"/>
                  </a:lnTo>
                  <a:lnTo>
                    <a:pt x="182" y="11"/>
                  </a:lnTo>
                  <a:lnTo>
                    <a:pt x="186" y="13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92" y="18"/>
                  </a:lnTo>
                  <a:lnTo>
                    <a:pt x="195" y="18"/>
                  </a:lnTo>
                  <a:lnTo>
                    <a:pt x="196" y="19"/>
                  </a:lnTo>
                  <a:lnTo>
                    <a:pt x="197" y="19"/>
                  </a:lnTo>
                  <a:lnTo>
                    <a:pt x="196" y="22"/>
                  </a:lnTo>
                  <a:lnTo>
                    <a:pt x="193" y="25"/>
                  </a:lnTo>
                  <a:lnTo>
                    <a:pt x="186" y="29"/>
                  </a:lnTo>
                  <a:lnTo>
                    <a:pt x="186" y="30"/>
                  </a:lnTo>
                  <a:lnTo>
                    <a:pt x="186" y="33"/>
                  </a:lnTo>
                  <a:lnTo>
                    <a:pt x="186" y="38"/>
                  </a:lnTo>
                  <a:lnTo>
                    <a:pt x="186" y="38"/>
                  </a:lnTo>
                  <a:lnTo>
                    <a:pt x="185" y="39"/>
                  </a:lnTo>
                  <a:lnTo>
                    <a:pt x="184" y="43"/>
                  </a:lnTo>
                  <a:lnTo>
                    <a:pt x="181" y="48"/>
                  </a:lnTo>
                  <a:lnTo>
                    <a:pt x="179" y="54"/>
                  </a:lnTo>
                  <a:lnTo>
                    <a:pt x="179" y="57"/>
                  </a:lnTo>
                  <a:lnTo>
                    <a:pt x="181" y="60"/>
                  </a:lnTo>
                  <a:lnTo>
                    <a:pt x="185" y="60"/>
                  </a:lnTo>
                  <a:lnTo>
                    <a:pt x="192" y="59"/>
                  </a:lnTo>
                  <a:lnTo>
                    <a:pt x="197" y="60"/>
                  </a:lnTo>
                  <a:lnTo>
                    <a:pt x="205" y="65"/>
                  </a:lnTo>
                  <a:lnTo>
                    <a:pt x="209" y="72"/>
                  </a:lnTo>
                  <a:lnTo>
                    <a:pt x="214" y="72"/>
                  </a:lnTo>
                  <a:lnTo>
                    <a:pt x="214" y="74"/>
                  </a:lnTo>
                  <a:lnTo>
                    <a:pt x="215" y="76"/>
                  </a:lnTo>
                  <a:lnTo>
                    <a:pt x="215" y="79"/>
                  </a:lnTo>
                  <a:lnTo>
                    <a:pt x="216" y="84"/>
                  </a:lnTo>
                  <a:lnTo>
                    <a:pt x="217" y="86"/>
                  </a:lnTo>
                  <a:lnTo>
                    <a:pt x="219" y="89"/>
                  </a:lnTo>
                  <a:lnTo>
                    <a:pt x="220" y="89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6" y="89"/>
                  </a:lnTo>
                  <a:lnTo>
                    <a:pt x="226" y="90"/>
                  </a:lnTo>
                  <a:lnTo>
                    <a:pt x="226" y="92"/>
                  </a:lnTo>
                  <a:lnTo>
                    <a:pt x="226" y="92"/>
                  </a:lnTo>
                  <a:lnTo>
                    <a:pt x="226" y="93"/>
                  </a:lnTo>
                  <a:lnTo>
                    <a:pt x="228" y="95"/>
                  </a:lnTo>
                  <a:lnTo>
                    <a:pt x="229" y="96"/>
                  </a:lnTo>
                  <a:lnTo>
                    <a:pt x="232" y="99"/>
                  </a:lnTo>
                  <a:lnTo>
                    <a:pt x="236" y="101"/>
                  </a:lnTo>
                  <a:lnTo>
                    <a:pt x="244" y="102"/>
                  </a:lnTo>
                  <a:lnTo>
                    <a:pt x="252" y="102"/>
                  </a:lnTo>
                  <a:lnTo>
                    <a:pt x="255" y="101"/>
                  </a:lnTo>
                  <a:lnTo>
                    <a:pt x="258" y="101"/>
                  </a:lnTo>
                  <a:lnTo>
                    <a:pt x="261" y="98"/>
                  </a:lnTo>
                  <a:lnTo>
                    <a:pt x="265" y="95"/>
                  </a:lnTo>
                  <a:lnTo>
                    <a:pt x="268" y="92"/>
                  </a:lnTo>
                  <a:lnTo>
                    <a:pt x="269" y="87"/>
                  </a:lnTo>
                  <a:lnTo>
                    <a:pt x="269" y="84"/>
                  </a:lnTo>
                  <a:lnTo>
                    <a:pt x="266" y="81"/>
                  </a:lnTo>
                  <a:lnTo>
                    <a:pt x="265" y="79"/>
                  </a:lnTo>
                  <a:lnTo>
                    <a:pt x="264" y="76"/>
                  </a:lnTo>
                  <a:lnTo>
                    <a:pt x="261" y="75"/>
                  </a:lnTo>
                  <a:lnTo>
                    <a:pt x="258" y="71"/>
                  </a:lnTo>
                  <a:lnTo>
                    <a:pt x="255" y="69"/>
                  </a:lnTo>
                  <a:lnTo>
                    <a:pt x="252" y="68"/>
                  </a:lnTo>
                  <a:lnTo>
                    <a:pt x="250" y="68"/>
                  </a:lnTo>
                  <a:lnTo>
                    <a:pt x="247" y="71"/>
                  </a:lnTo>
                  <a:lnTo>
                    <a:pt x="247" y="71"/>
                  </a:lnTo>
                  <a:lnTo>
                    <a:pt x="247" y="71"/>
                  </a:lnTo>
                  <a:lnTo>
                    <a:pt x="247" y="72"/>
                  </a:lnTo>
                  <a:lnTo>
                    <a:pt x="247" y="72"/>
                  </a:lnTo>
                  <a:lnTo>
                    <a:pt x="247" y="65"/>
                  </a:lnTo>
                  <a:lnTo>
                    <a:pt x="247" y="65"/>
                  </a:lnTo>
                  <a:lnTo>
                    <a:pt x="249" y="63"/>
                  </a:lnTo>
                  <a:lnTo>
                    <a:pt x="252" y="63"/>
                  </a:lnTo>
                  <a:lnTo>
                    <a:pt x="258" y="65"/>
                  </a:lnTo>
                  <a:lnTo>
                    <a:pt x="262" y="68"/>
                  </a:lnTo>
                  <a:lnTo>
                    <a:pt x="268" y="74"/>
                  </a:lnTo>
                  <a:lnTo>
                    <a:pt x="274" y="82"/>
                  </a:lnTo>
                  <a:lnTo>
                    <a:pt x="278" y="95"/>
                  </a:lnTo>
                  <a:lnTo>
                    <a:pt x="278" y="95"/>
                  </a:lnTo>
                  <a:lnTo>
                    <a:pt x="278" y="96"/>
                  </a:lnTo>
                  <a:lnTo>
                    <a:pt x="278" y="98"/>
                  </a:lnTo>
                  <a:lnTo>
                    <a:pt x="278" y="101"/>
                  </a:lnTo>
                  <a:lnTo>
                    <a:pt x="278" y="102"/>
                  </a:lnTo>
                  <a:lnTo>
                    <a:pt x="278" y="104"/>
                  </a:lnTo>
                  <a:lnTo>
                    <a:pt x="278" y="105"/>
                  </a:lnTo>
                  <a:lnTo>
                    <a:pt x="278" y="105"/>
                  </a:lnTo>
                  <a:lnTo>
                    <a:pt x="278" y="105"/>
                  </a:lnTo>
                  <a:lnTo>
                    <a:pt x="277" y="105"/>
                  </a:lnTo>
                  <a:lnTo>
                    <a:pt x="275" y="104"/>
                  </a:lnTo>
                  <a:lnTo>
                    <a:pt x="274" y="104"/>
                  </a:lnTo>
                  <a:lnTo>
                    <a:pt x="272" y="104"/>
                  </a:lnTo>
                  <a:lnTo>
                    <a:pt x="269" y="105"/>
                  </a:lnTo>
                  <a:lnTo>
                    <a:pt x="265" y="106"/>
                  </a:lnTo>
                  <a:lnTo>
                    <a:pt x="262" y="109"/>
                  </a:lnTo>
                  <a:lnTo>
                    <a:pt x="261" y="111"/>
                  </a:lnTo>
                  <a:lnTo>
                    <a:pt x="259" y="111"/>
                  </a:lnTo>
                  <a:lnTo>
                    <a:pt x="256" y="111"/>
                  </a:lnTo>
                  <a:lnTo>
                    <a:pt x="253" y="112"/>
                  </a:lnTo>
                  <a:lnTo>
                    <a:pt x="250" y="113"/>
                  </a:lnTo>
                  <a:lnTo>
                    <a:pt x="247" y="116"/>
                  </a:lnTo>
                  <a:lnTo>
                    <a:pt x="245" y="119"/>
                  </a:lnTo>
                  <a:lnTo>
                    <a:pt x="242" y="122"/>
                  </a:lnTo>
                  <a:lnTo>
                    <a:pt x="242" y="123"/>
                  </a:lnTo>
                  <a:lnTo>
                    <a:pt x="241" y="123"/>
                  </a:lnTo>
                  <a:lnTo>
                    <a:pt x="239" y="123"/>
                  </a:lnTo>
                  <a:lnTo>
                    <a:pt x="239" y="125"/>
                  </a:lnTo>
                  <a:lnTo>
                    <a:pt x="231" y="132"/>
                  </a:lnTo>
                  <a:lnTo>
                    <a:pt x="226" y="129"/>
                  </a:lnTo>
                  <a:lnTo>
                    <a:pt x="228" y="117"/>
                  </a:lnTo>
                  <a:lnTo>
                    <a:pt x="228" y="114"/>
                  </a:lnTo>
                  <a:lnTo>
                    <a:pt x="228" y="112"/>
                  </a:lnTo>
                  <a:lnTo>
                    <a:pt x="226" y="111"/>
                  </a:lnTo>
                  <a:lnTo>
                    <a:pt x="223" y="108"/>
                  </a:lnTo>
                  <a:lnTo>
                    <a:pt x="222" y="108"/>
                  </a:lnTo>
                  <a:lnTo>
                    <a:pt x="219" y="109"/>
                  </a:lnTo>
                  <a:lnTo>
                    <a:pt x="217" y="113"/>
                  </a:lnTo>
                  <a:lnTo>
                    <a:pt x="217" y="119"/>
                  </a:lnTo>
                  <a:lnTo>
                    <a:pt x="217" y="126"/>
                  </a:lnTo>
                  <a:lnTo>
                    <a:pt x="217" y="128"/>
                  </a:lnTo>
                  <a:lnTo>
                    <a:pt x="217" y="129"/>
                  </a:lnTo>
                  <a:lnTo>
                    <a:pt x="217" y="128"/>
                  </a:lnTo>
                  <a:lnTo>
                    <a:pt x="217" y="125"/>
                  </a:lnTo>
                  <a:lnTo>
                    <a:pt x="217" y="122"/>
                  </a:lnTo>
                  <a:lnTo>
                    <a:pt x="217" y="120"/>
                  </a:lnTo>
                  <a:lnTo>
                    <a:pt x="217" y="119"/>
                  </a:lnTo>
                  <a:lnTo>
                    <a:pt x="211" y="126"/>
                  </a:lnTo>
                  <a:lnTo>
                    <a:pt x="208" y="126"/>
                  </a:lnTo>
                  <a:lnTo>
                    <a:pt x="208" y="126"/>
                  </a:lnTo>
                  <a:lnTo>
                    <a:pt x="208" y="128"/>
                  </a:lnTo>
                  <a:lnTo>
                    <a:pt x="208" y="131"/>
                  </a:lnTo>
                  <a:lnTo>
                    <a:pt x="208" y="134"/>
                  </a:lnTo>
                  <a:lnTo>
                    <a:pt x="206" y="137"/>
                  </a:lnTo>
                  <a:lnTo>
                    <a:pt x="203" y="139"/>
                  </a:lnTo>
                  <a:lnTo>
                    <a:pt x="200" y="141"/>
                  </a:lnTo>
                  <a:lnTo>
                    <a:pt x="196" y="141"/>
                  </a:lnTo>
                  <a:lnTo>
                    <a:pt x="195" y="141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3" y="135"/>
                  </a:lnTo>
                  <a:lnTo>
                    <a:pt x="192" y="134"/>
                  </a:lnTo>
                  <a:lnTo>
                    <a:pt x="192" y="132"/>
                  </a:lnTo>
                  <a:lnTo>
                    <a:pt x="192" y="131"/>
                  </a:lnTo>
                  <a:lnTo>
                    <a:pt x="192" y="131"/>
                  </a:lnTo>
                  <a:lnTo>
                    <a:pt x="186" y="126"/>
                  </a:lnTo>
                  <a:lnTo>
                    <a:pt x="179" y="122"/>
                  </a:lnTo>
                  <a:lnTo>
                    <a:pt x="173" y="120"/>
                  </a:lnTo>
                  <a:lnTo>
                    <a:pt x="169" y="108"/>
                  </a:lnTo>
                  <a:lnTo>
                    <a:pt x="163" y="108"/>
                  </a:lnTo>
                  <a:lnTo>
                    <a:pt x="159" y="96"/>
                  </a:lnTo>
                  <a:lnTo>
                    <a:pt x="130" y="104"/>
                  </a:lnTo>
                  <a:lnTo>
                    <a:pt x="130" y="102"/>
                  </a:lnTo>
                  <a:lnTo>
                    <a:pt x="59" y="120"/>
                  </a:lnTo>
                  <a:lnTo>
                    <a:pt x="61" y="123"/>
                  </a:lnTo>
                  <a:lnTo>
                    <a:pt x="56" y="125"/>
                  </a:lnTo>
                  <a:lnTo>
                    <a:pt x="56" y="120"/>
                  </a:lnTo>
                  <a:lnTo>
                    <a:pt x="4" y="132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2" name="Freeform 84"/>
            <p:cNvSpPr>
              <a:spLocks/>
            </p:cNvSpPr>
            <p:nvPr/>
          </p:nvSpPr>
          <p:spPr bwMode="auto">
            <a:xfrm>
              <a:off x="3397666" y="4339923"/>
              <a:ext cx="187475" cy="95628"/>
            </a:xfrm>
            <a:custGeom>
              <a:avLst/>
              <a:gdLst>
                <a:gd name="T0" fmla="*/ 1 w 279"/>
                <a:gd name="T1" fmla="*/ 59 h 142"/>
                <a:gd name="T2" fmla="*/ 10 w 279"/>
                <a:gd name="T3" fmla="*/ 56 h 142"/>
                <a:gd name="T4" fmla="*/ 30 w 279"/>
                <a:gd name="T5" fmla="*/ 52 h 142"/>
                <a:gd name="T6" fmla="*/ 50 w 279"/>
                <a:gd name="T7" fmla="*/ 46 h 142"/>
                <a:gd name="T8" fmla="*/ 59 w 279"/>
                <a:gd name="T9" fmla="*/ 45 h 142"/>
                <a:gd name="T10" fmla="*/ 152 w 279"/>
                <a:gd name="T11" fmla="*/ 21 h 142"/>
                <a:gd name="T12" fmla="*/ 154 w 279"/>
                <a:gd name="T13" fmla="*/ 15 h 142"/>
                <a:gd name="T14" fmla="*/ 170 w 279"/>
                <a:gd name="T15" fmla="*/ 0 h 142"/>
                <a:gd name="T16" fmla="*/ 179 w 279"/>
                <a:gd name="T17" fmla="*/ 0 h 142"/>
                <a:gd name="T18" fmla="*/ 178 w 279"/>
                <a:gd name="T19" fmla="*/ 0 h 142"/>
                <a:gd name="T20" fmla="*/ 182 w 279"/>
                <a:gd name="T21" fmla="*/ 11 h 142"/>
                <a:gd name="T22" fmla="*/ 190 w 279"/>
                <a:gd name="T23" fmla="*/ 18 h 142"/>
                <a:gd name="T24" fmla="*/ 197 w 279"/>
                <a:gd name="T25" fmla="*/ 19 h 142"/>
                <a:gd name="T26" fmla="*/ 186 w 279"/>
                <a:gd name="T27" fmla="*/ 29 h 142"/>
                <a:gd name="T28" fmla="*/ 186 w 279"/>
                <a:gd name="T29" fmla="*/ 38 h 142"/>
                <a:gd name="T30" fmla="*/ 181 w 279"/>
                <a:gd name="T31" fmla="*/ 48 h 142"/>
                <a:gd name="T32" fmla="*/ 185 w 279"/>
                <a:gd name="T33" fmla="*/ 60 h 142"/>
                <a:gd name="T34" fmla="*/ 209 w 279"/>
                <a:gd name="T35" fmla="*/ 72 h 142"/>
                <a:gd name="T36" fmla="*/ 215 w 279"/>
                <a:gd name="T37" fmla="*/ 76 h 142"/>
                <a:gd name="T38" fmla="*/ 219 w 279"/>
                <a:gd name="T39" fmla="*/ 89 h 142"/>
                <a:gd name="T40" fmla="*/ 225 w 279"/>
                <a:gd name="T41" fmla="*/ 87 h 142"/>
                <a:gd name="T42" fmla="*/ 226 w 279"/>
                <a:gd name="T43" fmla="*/ 92 h 142"/>
                <a:gd name="T44" fmla="*/ 229 w 279"/>
                <a:gd name="T45" fmla="*/ 96 h 142"/>
                <a:gd name="T46" fmla="*/ 252 w 279"/>
                <a:gd name="T47" fmla="*/ 102 h 142"/>
                <a:gd name="T48" fmla="*/ 261 w 279"/>
                <a:gd name="T49" fmla="*/ 98 h 142"/>
                <a:gd name="T50" fmla="*/ 269 w 279"/>
                <a:gd name="T51" fmla="*/ 84 h 142"/>
                <a:gd name="T52" fmla="*/ 264 w 279"/>
                <a:gd name="T53" fmla="*/ 76 h 142"/>
                <a:gd name="T54" fmla="*/ 252 w 279"/>
                <a:gd name="T55" fmla="*/ 68 h 142"/>
                <a:gd name="T56" fmla="*/ 247 w 279"/>
                <a:gd name="T57" fmla="*/ 71 h 142"/>
                <a:gd name="T58" fmla="*/ 247 w 279"/>
                <a:gd name="T59" fmla="*/ 65 h 142"/>
                <a:gd name="T60" fmla="*/ 252 w 279"/>
                <a:gd name="T61" fmla="*/ 63 h 142"/>
                <a:gd name="T62" fmla="*/ 274 w 279"/>
                <a:gd name="T63" fmla="*/ 82 h 142"/>
                <a:gd name="T64" fmla="*/ 278 w 279"/>
                <a:gd name="T65" fmla="*/ 96 h 142"/>
                <a:gd name="T66" fmla="*/ 278 w 279"/>
                <a:gd name="T67" fmla="*/ 104 h 142"/>
                <a:gd name="T68" fmla="*/ 278 w 279"/>
                <a:gd name="T69" fmla="*/ 105 h 142"/>
                <a:gd name="T70" fmla="*/ 272 w 279"/>
                <a:gd name="T71" fmla="*/ 104 h 142"/>
                <a:gd name="T72" fmla="*/ 262 w 279"/>
                <a:gd name="T73" fmla="*/ 109 h 142"/>
                <a:gd name="T74" fmla="*/ 253 w 279"/>
                <a:gd name="T75" fmla="*/ 112 h 142"/>
                <a:gd name="T76" fmla="*/ 242 w 279"/>
                <a:gd name="T77" fmla="*/ 122 h 142"/>
                <a:gd name="T78" fmla="*/ 239 w 279"/>
                <a:gd name="T79" fmla="*/ 123 h 142"/>
                <a:gd name="T80" fmla="*/ 228 w 279"/>
                <a:gd name="T81" fmla="*/ 117 h 142"/>
                <a:gd name="T82" fmla="*/ 226 w 279"/>
                <a:gd name="T83" fmla="*/ 111 h 142"/>
                <a:gd name="T84" fmla="*/ 217 w 279"/>
                <a:gd name="T85" fmla="*/ 113 h 142"/>
                <a:gd name="T86" fmla="*/ 217 w 279"/>
                <a:gd name="T87" fmla="*/ 128 h 142"/>
                <a:gd name="T88" fmla="*/ 217 w 279"/>
                <a:gd name="T89" fmla="*/ 122 h 142"/>
                <a:gd name="T90" fmla="*/ 208 w 279"/>
                <a:gd name="T91" fmla="*/ 126 h 142"/>
                <a:gd name="T92" fmla="*/ 208 w 279"/>
                <a:gd name="T93" fmla="*/ 131 h 142"/>
                <a:gd name="T94" fmla="*/ 200 w 279"/>
                <a:gd name="T95" fmla="*/ 141 h 142"/>
                <a:gd name="T96" fmla="*/ 195 w 279"/>
                <a:gd name="T97" fmla="*/ 139 h 142"/>
                <a:gd name="T98" fmla="*/ 192 w 279"/>
                <a:gd name="T99" fmla="*/ 132 h 142"/>
                <a:gd name="T100" fmla="*/ 179 w 279"/>
                <a:gd name="T101" fmla="*/ 122 h 142"/>
                <a:gd name="T102" fmla="*/ 159 w 279"/>
                <a:gd name="T103" fmla="*/ 96 h 142"/>
                <a:gd name="T104" fmla="*/ 61 w 279"/>
                <a:gd name="T105" fmla="*/ 12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79" h="142">
                  <a:moveTo>
                    <a:pt x="4" y="132"/>
                  </a:moveTo>
                  <a:lnTo>
                    <a:pt x="0" y="132"/>
                  </a:lnTo>
                  <a:lnTo>
                    <a:pt x="1" y="59"/>
                  </a:lnTo>
                  <a:lnTo>
                    <a:pt x="1" y="59"/>
                  </a:lnTo>
                  <a:lnTo>
                    <a:pt x="1" y="57"/>
                  </a:lnTo>
                  <a:lnTo>
                    <a:pt x="4" y="57"/>
                  </a:lnTo>
                  <a:lnTo>
                    <a:pt x="7" y="57"/>
                  </a:lnTo>
                  <a:lnTo>
                    <a:pt x="10" y="56"/>
                  </a:lnTo>
                  <a:lnTo>
                    <a:pt x="14" y="56"/>
                  </a:lnTo>
                  <a:lnTo>
                    <a:pt x="20" y="55"/>
                  </a:lnTo>
                  <a:lnTo>
                    <a:pt x="25" y="54"/>
                  </a:lnTo>
                  <a:lnTo>
                    <a:pt x="30" y="52"/>
                  </a:lnTo>
                  <a:lnTo>
                    <a:pt x="35" y="51"/>
                  </a:lnTo>
                  <a:lnTo>
                    <a:pt x="40" y="49"/>
                  </a:lnTo>
                  <a:lnTo>
                    <a:pt x="46" y="48"/>
                  </a:lnTo>
                  <a:lnTo>
                    <a:pt x="50" y="46"/>
                  </a:lnTo>
                  <a:lnTo>
                    <a:pt x="53" y="46"/>
                  </a:lnTo>
                  <a:lnTo>
                    <a:pt x="56" y="45"/>
                  </a:lnTo>
                  <a:lnTo>
                    <a:pt x="58" y="45"/>
                  </a:lnTo>
                  <a:lnTo>
                    <a:pt x="59" y="45"/>
                  </a:lnTo>
                  <a:lnTo>
                    <a:pt x="145" y="27"/>
                  </a:lnTo>
                  <a:lnTo>
                    <a:pt x="151" y="21"/>
                  </a:lnTo>
                  <a:lnTo>
                    <a:pt x="151" y="21"/>
                  </a:lnTo>
                  <a:lnTo>
                    <a:pt x="152" y="21"/>
                  </a:lnTo>
                  <a:lnTo>
                    <a:pt x="152" y="18"/>
                  </a:lnTo>
                  <a:lnTo>
                    <a:pt x="154" y="16"/>
                  </a:lnTo>
                  <a:lnTo>
                    <a:pt x="154" y="15"/>
                  </a:lnTo>
                  <a:lnTo>
                    <a:pt x="154" y="15"/>
                  </a:lnTo>
                  <a:lnTo>
                    <a:pt x="157" y="9"/>
                  </a:lnTo>
                  <a:lnTo>
                    <a:pt x="162" y="5"/>
                  </a:lnTo>
                  <a:lnTo>
                    <a:pt x="166" y="2"/>
                  </a:lnTo>
                  <a:lnTo>
                    <a:pt x="170" y="0"/>
                  </a:lnTo>
                  <a:lnTo>
                    <a:pt x="173" y="0"/>
                  </a:lnTo>
                  <a:lnTo>
                    <a:pt x="176" y="0"/>
                  </a:lnTo>
                  <a:lnTo>
                    <a:pt x="178" y="0"/>
                  </a:lnTo>
                  <a:lnTo>
                    <a:pt x="179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2"/>
                  </a:lnTo>
                  <a:lnTo>
                    <a:pt x="179" y="5"/>
                  </a:lnTo>
                  <a:lnTo>
                    <a:pt x="181" y="8"/>
                  </a:lnTo>
                  <a:lnTo>
                    <a:pt x="182" y="11"/>
                  </a:lnTo>
                  <a:lnTo>
                    <a:pt x="186" y="13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92" y="18"/>
                  </a:lnTo>
                  <a:lnTo>
                    <a:pt x="195" y="18"/>
                  </a:lnTo>
                  <a:lnTo>
                    <a:pt x="196" y="19"/>
                  </a:lnTo>
                  <a:lnTo>
                    <a:pt x="197" y="19"/>
                  </a:lnTo>
                  <a:lnTo>
                    <a:pt x="196" y="22"/>
                  </a:lnTo>
                  <a:lnTo>
                    <a:pt x="193" y="25"/>
                  </a:lnTo>
                  <a:lnTo>
                    <a:pt x="186" y="29"/>
                  </a:lnTo>
                  <a:lnTo>
                    <a:pt x="186" y="29"/>
                  </a:lnTo>
                  <a:lnTo>
                    <a:pt x="186" y="30"/>
                  </a:lnTo>
                  <a:lnTo>
                    <a:pt x="186" y="33"/>
                  </a:lnTo>
                  <a:lnTo>
                    <a:pt x="186" y="38"/>
                  </a:lnTo>
                  <a:lnTo>
                    <a:pt x="186" y="38"/>
                  </a:lnTo>
                  <a:lnTo>
                    <a:pt x="186" y="38"/>
                  </a:lnTo>
                  <a:lnTo>
                    <a:pt x="185" y="39"/>
                  </a:lnTo>
                  <a:lnTo>
                    <a:pt x="184" y="43"/>
                  </a:lnTo>
                  <a:lnTo>
                    <a:pt x="181" y="48"/>
                  </a:lnTo>
                  <a:lnTo>
                    <a:pt x="179" y="54"/>
                  </a:lnTo>
                  <a:lnTo>
                    <a:pt x="179" y="57"/>
                  </a:lnTo>
                  <a:lnTo>
                    <a:pt x="181" y="60"/>
                  </a:lnTo>
                  <a:lnTo>
                    <a:pt x="185" y="60"/>
                  </a:lnTo>
                  <a:lnTo>
                    <a:pt x="192" y="59"/>
                  </a:lnTo>
                  <a:lnTo>
                    <a:pt x="197" y="60"/>
                  </a:lnTo>
                  <a:lnTo>
                    <a:pt x="205" y="65"/>
                  </a:lnTo>
                  <a:lnTo>
                    <a:pt x="209" y="72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4"/>
                  </a:lnTo>
                  <a:lnTo>
                    <a:pt x="215" y="76"/>
                  </a:lnTo>
                  <a:lnTo>
                    <a:pt x="215" y="79"/>
                  </a:lnTo>
                  <a:lnTo>
                    <a:pt x="216" y="84"/>
                  </a:lnTo>
                  <a:lnTo>
                    <a:pt x="217" y="86"/>
                  </a:lnTo>
                  <a:lnTo>
                    <a:pt x="219" y="89"/>
                  </a:lnTo>
                  <a:lnTo>
                    <a:pt x="220" y="89"/>
                  </a:lnTo>
                  <a:lnTo>
                    <a:pt x="223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6" y="89"/>
                  </a:lnTo>
                  <a:lnTo>
                    <a:pt x="226" y="90"/>
                  </a:lnTo>
                  <a:lnTo>
                    <a:pt x="226" y="92"/>
                  </a:lnTo>
                  <a:lnTo>
                    <a:pt x="226" y="92"/>
                  </a:lnTo>
                  <a:lnTo>
                    <a:pt x="226" y="92"/>
                  </a:lnTo>
                  <a:lnTo>
                    <a:pt x="226" y="93"/>
                  </a:lnTo>
                  <a:lnTo>
                    <a:pt x="228" y="95"/>
                  </a:lnTo>
                  <a:lnTo>
                    <a:pt x="229" y="96"/>
                  </a:lnTo>
                  <a:lnTo>
                    <a:pt x="232" y="99"/>
                  </a:lnTo>
                  <a:lnTo>
                    <a:pt x="236" y="101"/>
                  </a:lnTo>
                  <a:lnTo>
                    <a:pt x="244" y="102"/>
                  </a:lnTo>
                  <a:lnTo>
                    <a:pt x="252" y="102"/>
                  </a:lnTo>
                  <a:lnTo>
                    <a:pt x="252" y="102"/>
                  </a:lnTo>
                  <a:lnTo>
                    <a:pt x="255" y="101"/>
                  </a:lnTo>
                  <a:lnTo>
                    <a:pt x="258" y="101"/>
                  </a:lnTo>
                  <a:lnTo>
                    <a:pt x="261" y="98"/>
                  </a:lnTo>
                  <a:lnTo>
                    <a:pt x="265" y="95"/>
                  </a:lnTo>
                  <a:lnTo>
                    <a:pt x="268" y="92"/>
                  </a:lnTo>
                  <a:lnTo>
                    <a:pt x="269" y="87"/>
                  </a:lnTo>
                  <a:lnTo>
                    <a:pt x="269" y="84"/>
                  </a:lnTo>
                  <a:lnTo>
                    <a:pt x="266" y="81"/>
                  </a:lnTo>
                  <a:lnTo>
                    <a:pt x="266" y="81"/>
                  </a:lnTo>
                  <a:lnTo>
                    <a:pt x="265" y="79"/>
                  </a:lnTo>
                  <a:lnTo>
                    <a:pt x="264" y="76"/>
                  </a:lnTo>
                  <a:lnTo>
                    <a:pt x="261" y="75"/>
                  </a:lnTo>
                  <a:lnTo>
                    <a:pt x="258" y="71"/>
                  </a:lnTo>
                  <a:lnTo>
                    <a:pt x="255" y="69"/>
                  </a:lnTo>
                  <a:lnTo>
                    <a:pt x="252" y="68"/>
                  </a:lnTo>
                  <a:lnTo>
                    <a:pt x="250" y="68"/>
                  </a:lnTo>
                  <a:lnTo>
                    <a:pt x="247" y="71"/>
                  </a:lnTo>
                  <a:lnTo>
                    <a:pt x="247" y="71"/>
                  </a:lnTo>
                  <a:lnTo>
                    <a:pt x="247" y="71"/>
                  </a:lnTo>
                  <a:lnTo>
                    <a:pt x="247" y="71"/>
                  </a:lnTo>
                  <a:lnTo>
                    <a:pt x="247" y="72"/>
                  </a:lnTo>
                  <a:lnTo>
                    <a:pt x="247" y="72"/>
                  </a:lnTo>
                  <a:lnTo>
                    <a:pt x="247" y="65"/>
                  </a:lnTo>
                  <a:lnTo>
                    <a:pt x="247" y="65"/>
                  </a:lnTo>
                  <a:lnTo>
                    <a:pt x="247" y="65"/>
                  </a:lnTo>
                  <a:lnTo>
                    <a:pt x="249" y="63"/>
                  </a:lnTo>
                  <a:lnTo>
                    <a:pt x="252" y="63"/>
                  </a:lnTo>
                  <a:lnTo>
                    <a:pt x="258" y="65"/>
                  </a:lnTo>
                  <a:lnTo>
                    <a:pt x="262" y="68"/>
                  </a:lnTo>
                  <a:lnTo>
                    <a:pt x="268" y="74"/>
                  </a:lnTo>
                  <a:lnTo>
                    <a:pt x="274" y="82"/>
                  </a:lnTo>
                  <a:lnTo>
                    <a:pt x="278" y="95"/>
                  </a:lnTo>
                  <a:lnTo>
                    <a:pt x="278" y="95"/>
                  </a:lnTo>
                  <a:lnTo>
                    <a:pt x="278" y="95"/>
                  </a:lnTo>
                  <a:lnTo>
                    <a:pt x="278" y="96"/>
                  </a:lnTo>
                  <a:lnTo>
                    <a:pt x="278" y="98"/>
                  </a:lnTo>
                  <a:lnTo>
                    <a:pt x="278" y="101"/>
                  </a:lnTo>
                  <a:lnTo>
                    <a:pt x="278" y="102"/>
                  </a:lnTo>
                  <a:lnTo>
                    <a:pt x="278" y="104"/>
                  </a:lnTo>
                  <a:lnTo>
                    <a:pt x="278" y="105"/>
                  </a:lnTo>
                  <a:lnTo>
                    <a:pt x="278" y="105"/>
                  </a:lnTo>
                  <a:lnTo>
                    <a:pt x="278" y="105"/>
                  </a:lnTo>
                  <a:lnTo>
                    <a:pt x="278" y="105"/>
                  </a:lnTo>
                  <a:lnTo>
                    <a:pt x="277" y="105"/>
                  </a:lnTo>
                  <a:lnTo>
                    <a:pt x="275" y="104"/>
                  </a:lnTo>
                  <a:lnTo>
                    <a:pt x="274" y="104"/>
                  </a:lnTo>
                  <a:lnTo>
                    <a:pt x="272" y="104"/>
                  </a:lnTo>
                  <a:lnTo>
                    <a:pt x="269" y="105"/>
                  </a:lnTo>
                  <a:lnTo>
                    <a:pt x="265" y="106"/>
                  </a:lnTo>
                  <a:lnTo>
                    <a:pt x="262" y="109"/>
                  </a:lnTo>
                  <a:lnTo>
                    <a:pt x="262" y="109"/>
                  </a:lnTo>
                  <a:lnTo>
                    <a:pt x="261" y="111"/>
                  </a:lnTo>
                  <a:lnTo>
                    <a:pt x="259" y="111"/>
                  </a:lnTo>
                  <a:lnTo>
                    <a:pt x="256" y="111"/>
                  </a:lnTo>
                  <a:lnTo>
                    <a:pt x="253" y="112"/>
                  </a:lnTo>
                  <a:lnTo>
                    <a:pt x="250" y="113"/>
                  </a:lnTo>
                  <a:lnTo>
                    <a:pt x="247" y="116"/>
                  </a:lnTo>
                  <a:lnTo>
                    <a:pt x="245" y="119"/>
                  </a:lnTo>
                  <a:lnTo>
                    <a:pt x="242" y="122"/>
                  </a:lnTo>
                  <a:lnTo>
                    <a:pt x="242" y="122"/>
                  </a:lnTo>
                  <a:lnTo>
                    <a:pt x="242" y="123"/>
                  </a:lnTo>
                  <a:lnTo>
                    <a:pt x="241" y="123"/>
                  </a:lnTo>
                  <a:lnTo>
                    <a:pt x="239" y="123"/>
                  </a:lnTo>
                  <a:lnTo>
                    <a:pt x="239" y="125"/>
                  </a:lnTo>
                  <a:lnTo>
                    <a:pt x="231" y="132"/>
                  </a:lnTo>
                  <a:lnTo>
                    <a:pt x="226" y="129"/>
                  </a:lnTo>
                  <a:lnTo>
                    <a:pt x="228" y="117"/>
                  </a:lnTo>
                  <a:lnTo>
                    <a:pt x="228" y="117"/>
                  </a:lnTo>
                  <a:lnTo>
                    <a:pt x="228" y="114"/>
                  </a:lnTo>
                  <a:lnTo>
                    <a:pt x="228" y="112"/>
                  </a:lnTo>
                  <a:lnTo>
                    <a:pt x="226" y="111"/>
                  </a:lnTo>
                  <a:lnTo>
                    <a:pt x="223" y="108"/>
                  </a:lnTo>
                  <a:lnTo>
                    <a:pt x="222" y="108"/>
                  </a:lnTo>
                  <a:lnTo>
                    <a:pt x="219" y="109"/>
                  </a:lnTo>
                  <a:lnTo>
                    <a:pt x="217" y="113"/>
                  </a:lnTo>
                  <a:lnTo>
                    <a:pt x="217" y="119"/>
                  </a:lnTo>
                  <a:lnTo>
                    <a:pt x="217" y="119"/>
                  </a:lnTo>
                  <a:lnTo>
                    <a:pt x="217" y="126"/>
                  </a:lnTo>
                  <a:lnTo>
                    <a:pt x="217" y="128"/>
                  </a:lnTo>
                  <a:lnTo>
                    <a:pt x="217" y="129"/>
                  </a:lnTo>
                  <a:lnTo>
                    <a:pt x="217" y="128"/>
                  </a:lnTo>
                  <a:lnTo>
                    <a:pt x="217" y="125"/>
                  </a:lnTo>
                  <a:lnTo>
                    <a:pt x="217" y="122"/>
                  </a:lnTo>
                  <a:lnTo>
                    <a:pt x="217" y="120"/>
                  </a:lnTo>
                  <a:lnTo>
                    <a:pt x="217" y="119"/>
                  </a:lnTo>
                  <a:lnTo>
                    <a:pt x="211" y="126"/>
                  </a:lnTo>
                  <a:lnTo>
                    <a:pt x="208" y="126"/>
                  </a:lnTo>
                  <a:lnTo>
                    <a:pt x="208" y="126"/>
                  </a:lnTo>
                  <a:lnTo>
                    <a:pt x="208" y="126"/>
                  </a:lnTo>
                  <a:lnTo>
                    <a:pt x="208" y="128"/>
                  </a:lnTo>
                  <a:lnTo>
                    <a:pt x="208" y="131"/>
                  </a:lnTo>
                  <a:lnTo>
                    <a:pt x="208" y="134"/>
                  </a:lnTo>
                  <a:lnTo>
                    <a:pt x="206" y="137"/>
                  </a:lnTo>
                  <a:lnTo>
                    <a:pt x="203" y="139"/>
                  </a:lnTo>
                  <a:lnTo>
                    <a:pt x="200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5" y="141"/>
                  </a:lnTo>
                  <a:lnTo>
                    <a:pt x="195" y="139"/>
                  </a:lnTo>
                  <a:lnTo>
                    <a:pt x="195" y="138"/>
                  </a:lnTo>
                  <a:lnTo>
                    <a:pt x="193" y="135"/>
                  </a:lnTo>
                  <a:lnTo>
                    <a:pt x="192" y="134"/>
                  </a:lnTo>
                  <a:lnTo>
                    <a:pt x="192" y="132"/>
                  </a:lnTo>
                  <a:lnTo>
                    <a:pt x="192" y="131"/>
                  </a:lnTo>
                  <a:lnTo>
                    <a:pt x="192" y="131"/>
                  </a:lnTo>
                  <a:lnTo>
                    <a:pt x="186" y="126"/>
                  </a:lnTo>
                  <a:lnTo>
                    <a:pt x="179" y="122"/>
                  </a:lnTo>
                  <a:lnTo>
                    <a:pt x="173" y="120"/>
                  </a:lnTo>
                  <a:lnTo>
                    <a:pt x="169" y="108"/>
                  </a:lnTo>
                  <a:lnTo>
                    <a:pt x="163" y="108"/>
                  </a:lnTo>
                  <a:lnTo>
                    <a:pt x="159" y="96"/>
                  </a:lnTo>
                  <a:lnTo>
                    <a:pt x="130" y="104"/>
                  </a:lnTo>
                  <a:lnTo>
                    <a:pt x="130" y="102"/>
                  </a:lnTo>
                  <a:lnTo>
                    <a:pt x="59" y="120"/>
                  </a:lnTo>
                  <a:lnTo>
                    <a:pt x="61" y="123"/>
                  </a:lnTo>
                  <a:lnTo>
                    <a:pt x="56" y="125"/>
                  </a:lnTo>
                  <a:lnTo>
                    <a:pt x="56" y="120"/>
                  </a:lnTo>
                  <a:lnTo>
                    <a:pt x="4" y="132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3" name="Freeform 85"/>
            <p:cNvSpPr>
              <a:spLocks/>
            </p:cNvSpPr>
            <p:nvPr/>
          </p:nvSpPr>
          <p:spPr bwMode="auto">
            <a:xfrm>
              <a:off x="3578510" y="4431205"/>
              <a:ext cx="14468" cy="11799"/>
            </a:xfrm>
            <a:custGeom>
              <a:avLst/>
              <a:gdLst>
                <a:gd name="T0" fmla="*/ 0 w 22"/>
                <a:gd name="T1" fmla="*/ 16 h 17"/>
                <a:gd name="T2" fmla="*/ 0 w 22"/>
                <a:gd name="T3" fmla="*/ 16 h 17"/>
                <a:gd name="T4" fmla="*/ 5 w 22"/>
                <a:gd name="T5" fmla="*/ 16 h 17"/>
                <a:gd name="T6" fmla="*/ 9 w 22"/>
                <a:gd name="T7" fmla="*/ 16 h 17"/>
                <a:gd name="T8" fmla="*/ 15 w 22"/>
                <a:gd name="T9" fmla="*/ 13 h 17"/>
                <a:gd name="T10" fmla="*/ 20 w 22"/>
                <a:gd name="T11" fmla="*/ 12 h 17"/>
                <a:gd name="T12" fmla="*/ 21 w 22"/>
                <a:gd name="T13" fmla="*/ 9 h 17"/>
                <a:gd name="T14" fmla="*/ 20 w 22"/>
                <a:gd name="T15" fmla="*/ 6 h 17"/>
                <a:gd name="T16" fmla="*/ 15 w 22"/>
                <a:gd name="T17" fmla="*/ 2 h 17"/>
                <a:gd name="T18" fmla="*/ 15 w 22"/>
                <a:gd name="T19" fmla="*/ 0 h 17"/>
                <a:gd name="T20" fmla="*/ 14 w 22"/>
                <a:gd name="T21" fmla="*/ 0 h 17"/>
                <a:gd name="T22" fmla="*/ 12 w 22"/>
                <a:gd name="T23" fmla="*/ 3 h 17"/>
                <a:gd name="T24" fmla="*/ 12 w 22"/>
                <a:gd name="T25" fmla="*/ 7 h 17"/>
                <a:gd name="T26" fmla="*/ 11 w 22"/>
                <a:gd name="T27" fmla="*/ 7 h 17"/>
                <a:gd name="T28" fmla="*/ 9 w 22"/>
                <a:gd name="T29" fmla="*/ 7 h 17"/>
                <a:gd name="T30" fmla="*/ 6 w 22"/>
                <a:gd name="T31" fmla="*/ 7 h 17"/>
                <a:gd name="T32" fmla="*/ 5 w 22"/>
                <a:gd name="T33" fmla="*/ 7 h 17"/>
                <a:gd name="T34" fmla="*/ 2 w 22"/>
                <a:gd name="T35" fmla="*/ 9 h 17"/>
                <a:gd name="T36" fmla="*/ 0 w 22"/>
                <a:gd name="T37" fmla="*/ 10 h 17"/>
                <a:gd name="T38" fmla="*/ 0 w 22"/>
                <a:gd name="T39" fmla="*/ 12 h 17"/>
                <a:gd name="T40" fmla="*/ 0 w 22"/>
                <a:gd name="T4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17">
                  <a:moveTo>
                    <a:pt x="0" y="16"/>
                  </a:moveTo>
                  <a:lnTo>
                    <a:pt x="0" y="16"/>
                  </a:lnTo>
                  <a:lnTo>
                    <a:pt x="5" y="16"/>
                  </a:lnTo>
                  <a:lnTo>
                    <a:pt x="9" y="16"/>
                  </a:lnTo>
                  <a:lnTo>
                    <a:pt x="15" y="13"/>
                  </a:lnTo>
                  <a:lnTo>
                    <a:pt x="20" y="12"/>
                  </a:lnTo>
                  <a:lnTo>
                    <a:pt x="21" y="9"/>
                  </a:lnTo>
                  <a:lnTo>
                    <a:pt x="20" y="6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2" y="3"/>
                  </a:lnTo>
                  <a:lnTo>
                    <a:pt x="12" y="7"/>
                  </a:lnTo>
                  <a:lnTo>
                    <a:pt x="11" y="7"/>
                  </a:lnTo>
                  <a:lnTo>
                    <a:pt x="9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2" y="9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4" name="Freeform 86"/>
            <p:cNvSpPr>
              <a:spLocks/>
            </p:cNvSpPr>
            <p:nvPr/>
          </p:nvSpPr>
          <p:spPr bwMode="auto">
            <a:xfrm>
              <a:off x="3578510" y="4431205"/>
              <a:ext cx="14468" cy="11799"/>
            </a:xfrm>
            <a:custGeom>
              <a:avLst/>
              <a:gdLst>
                <a:gd name="T0" fmla="*/ 0 w 22"/>
                <a:gd name="T1" fmla="*/ 16 h 17"/>
                <a:gd name="T2" fmla="*/ 0 w 22"/>
                <a:gd name="T3" fmla="*/ 16 h 17"/>
                <a:gd name="T4" fmla="*/ 0 w 22"/>
                <a:gd name="T5" fmla="*/ 16 h 17"/>
                <a:gd name="T6" fmla="*/ 5 w 22"/>
                <a:gd name="T7" fmla="*/ 16 h 17"/>
                <a:gd name="T8" fmla="*/ 9 w 22"/>
                <a:gd name="T9" fmla="*/ 16 h 17"/>
                <a:gd name="T10" fmla="*/ 15 w 22"/>
                <a:gd name="T11" fmla="*/ 13 h 17"/>
                <a:gd name="T12" fmla="*/ 20 w 22"/>
                <a:gd name="T13" fmla="*/ 12 h 17"/>
                <a:gd name="T14" fmla="*/ 21 w 22"/>
                <a:gd name="T15" fmla="*/ 9 h 17"/>
                <a:gd name="T16" fmla="*/ 20 w 22"/>
                <a:gd name="T17" fmla="*/ 6 h 17"/>
                <a:gd name="T18" fmla="*/ 15 w 22"/>
                <a:gd name="T19" fmla="*/ 2 h 17"/>
                <a:gd name="T20" fmla="*/ 15 w 22"/>
                <a:gd name="T21" fmla="*/ 2 h 17"/>
                <a:gd name="T22" fmla="*/ 15 w 22"/>
                <a:gd name="T23" fmla="*/ 0 h 17"/>
                <a:gd name="T24" fmla="*/ 14 w 22"/>
                <a:gd name="T25" fmla="*/ 0 h 17"/>
                <a:gd name="T26" fmla="*/ 12 w 22"/>
                <a:gd name="T27" fmla="*/ 3 h 17"/>
                <a:gd name="T28" fmla="*/ 12 w 22"/>
                <a:gd name="T29" fmla="*/ 7 h 17"/>
                <a:gd name="T30" fmla="*/ 12 w 22"/>
                <a:gd name="T31" fmla="*/ 7 h 17"/>
                <a:gd name="T32" fmla="*/ 11 w 22"/>
                <a:gd name="T33" fmla="*/ 7 h 17"/>
                <a:gd name="T34" fmla="*/ 9 w 22"/>
                <a:gd name="T35" fmla="*/ 7 h 17"/>
                <a:gd name="T36" fmla="*/ 6 w 22"/>
                <a:gd name="T37" fmla="*/ 7 h 17"/>
                <a:gd name="T38" fmla="*/ 5 w 22"/>
                <a:gd name="T39" fmla="*/ 7 h 17"/>
                <a:gd name="T40" fmla="*/ 2 w 22"/>
                <a:gd name="T41" fmla="*/ 9 h 17"/>
                <a:gd name="T42" fmla="*/ 0 w 22"/>
                <a:gd name="T43" fmla="*/ 10 h 17"/>
                <a:gd name="T44" fmla="*/ 0 w 22"/>
                <a:gd name="T45" fmla="*/ 12 h 17"/>
                <a:gd name="T46" fmla="*/ 0 w 22"/>
                <a:gd name="T47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17">
                  <a:moveTo>
                    <a:pt x="0" y="16"/>
                  </a:moveTo>
                  <a:lnTo>
                    <a:pt x="0" y="16"/>
                  </a:lnTo>
                  <a:lnTo>
                    <a:pt x="0" y="16"/>
                  </a:lnTo>
                  <a:lnTo>
                    <a:pt x="5" y="16"/>
                  </a:lnTo>
                  <a:lnTo>
                    <a:pt x="9" y="16"/>
                  </a:lnTo>
                  <a:lnTo>
                    <a:pt x="15" y="13"/>
                  </a:lnTo>
                  <a:lnTo>
                    <a:pt x="20" y="12"/>
                  </a:lnTo>
                  <a:lnTo>
                    <a:pt x="21" y="9"/>
                  </a:lnTo>
                  <a:lnTo>
                    <a:pt x="20" y="6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2" y="3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7"/>
                  </a:lnTo>
                  <a:lnTo>
                    <a:pt x="9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2" y="9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5" name="Freeform 87"/>
            <p:cNvSpPr>
              <a:spLocks/>
            </p:cNvSpPr>
            <p:nvPr/>
          </p:nvSpPr>
          <p:spPr bwMode="auto">
            <a:xfrm>
              <a:off x="3547767" y="4432447"/>
              <a:ext cx="16276" cy="14903"/>
            </a:xfrm>
            <a:custGeom>
              <a:avLst/>
              <a:gdLst>
                <a:gd name="T0" fmla="*/ 0 w 25"/>
                <a:gd name="T1" fmla="*/ 15 h 22"/>
                <a:gd name="T2" fmla="*/ 2 w 25"/>
                <a:gd name="T3" fmla="*/ 21 h 22"/>
                <a:gd name="T4" fmla="*/ 3 w 25"/>
                <a:gd name="T5" fmla="*/ 21 h 22"/>
                <a:gd name="T6" fmla="*/ 5 w 25"/>
                <a:gd name="T7" fmla="*/ 19 h 22"/>
                <a:gd name="T8" fmla="*/ 6 w 25"/>
                <a:gd name="T9" fmla="*/ 16 h 22"/>
                <a:gd name="T10" fmla="*/ 9 w 25"/>
                <a:gd name="T11" fmla="*/ 15 h 22"/>
                <a:gd name="T12" fmla="*/ 13 w 25"/>
                <a:gd name="T13" fmla="*/ 12 h 22"/>
                <a:gd name="T14" fmla="*/ 16 w 25"/>
                <a:gd name="T15" fmla="*/ 9 h 22"/>
                <a:gd name="T16" fmla="*/ 21 w 25"/>
                <a:gd name="T17" fmla="*/ 9 h 22"/>
                <a:gd name="T18" fmla="*/ 24 w 25"/>
                <a:gd name="T19" fmla="*/ 7 h 22"/>
                <a:gd name="T20" fmla="*/ 24 w 25"/>
                <a:gd name="T21" fmla="*/ 6 h 22"/>
                <a:gd name="T22" fmla="*/ 24 w 25"/>
                <a:gd name="T23" fmla="*/ 3 h 22"/>
                <a:gd name="T24" fmla="*/ 22 w 25"/>
                <a:gd name="T25" fmla="*/ 1 h 22"/>
                <a:gd name="T26" fmla="*/ 18 w 25"/>
                <a:gd name="T27" fmla="*/ 1 h 22"/>
                <a:gd name="T28" fmla="*/ 16 w 25"/>
                <a:gd name="T29" fmla="*/ 1 h 22"/>
                <a:gd name="T30" fmla="*/ 15 w 25"/>
                <a:gd name="T31" fmla="*/ 0 h 22"/>
                <a:gd name="T32" fmla="*/ 12 w 25"/>
                <a:gd name="T33" fmla="*/ 0 h 22"/>
                <a:gd name="T34" fmla="*/ 10 w 25"/>
                <a:gd name="T35" fmla="*/ 0 h 22"/>
                <a:gd name="T36" fmla="*/ 8 w 25"/>
                <a:gd name="T37" fmla="*/ 1 h 22"/>
                <a:gd name="T38" fmla="*/ 8 w 25"/>
                <a:gd name="T39" fmla="*/ 4 h 22"/>
                <a:gd name="T40" fmla="*/ 6 w 25"/>
                <a:gd name="T41" fmla="*/ 7 h 22"/>
                <a:gd name="T42" fmla="*/ 6 w 25"/>
                <a:gd name="T43" fmla="*/ 10 h 22"/>
                <a:gd name="T44" fmla="*/ 2 w 25"/>
                <a:gd name="T45" fmla="*/ 13 h 22"/>
                <a:gd name="T46" fmla="*/ 0 w 25"/>
                <a:gd name="T47" fmla="*/ 1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2">
                  <a:moveTo>
                    <a:pt x="0" y="15"/>
                  </a:moveTo>
                  <a:lnTo>
                    <a:pt x="2" y="21"/>
                  </a:lnTo>
                  <a:lnTo>
                    <a:pt x="3" y="21"/>
                  </a:lnTo>
                  <a:lnTo>
                    <a:pt x="5" y="19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3" y="12"/>
                  </a:lnTo>
                  <a:lnTo>
                    <a:pt x="16" y="9"/>
                  </a:lnTo>
                  <a:lnTo>
                    <a:pt x="21" y="9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3"/>
                  </a:lnTo>
                  <a:lnTo>
                    <a:pt x="22" y="1"/>
                  </a:lnTo>
                  <a:lnTo>
                    <a:pt x="18" y="1"/>
                  </a:lnTo>
                  <a:lnTo>
                    <a:pt x="16" y="1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1"/>
                  </a:lnTo>
                  <a:lnTo>
                    <a:pt x="8" y="4"/>
                  </a:lnTo>
                  <a:lnTo>
                    <a:pt x="6" y="7"/>
                  </a:lnTo>
                  <a:lnTo>
                    <a:pt x="6" y="10"/>
                  </a:lnTo>
                  <a:lnTo>
                    <a:pt x="2" y="13"/>
                  </a:lnTo>
                  <a:lnTo>
                    <a:pt x="0" y="1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6" name="Freeform 88"/>
            <p:cNvSpPr>
              <a:spLocks/>
            </p:cNvSpPr>
            <p:nvPr/>
          </p:nvSpPr>
          <p:spPr bwMode="auto">
            <a:xfrm>
              <a:off x="3547767" y="4432447"/>
              <a:ext cx="16276" cy="14903"/>
            </a:xfrm>
            <a:custGeom>
              <a:avLst/>
              <a:gdLst>
                <a:gd name="T0" fmla="*/ 0 w 25"/>
                <a:gd name="T1" fmla="*/ 15 h 22"/>
                <a:gd name="T2" fmla="*/ 2 w 25"/>
                <a:gd name="T3" fmla="*/ 21 h 22"/>
                <a:gd name="T4" fmla="*/ 2 w 25"/>
                <a:gd name="T5" fmla="*/ 21 h 22"/>
                <a:gd name="T6" fmla="*/ 3 w 25"/>
                <a:gd name="T7" fmla="*/ 21 h 22"/>
                <a:gd name="T8" fmla="*/ 5 w 25"/>
                <a:gd name="T9" fmla="*/ 19 h 22"/>
                <a:gd name="T10" fmla="*/ 6 w 25"/>
                <a:gd name="T11" fmla="*/ 16 h 22"/>
                <a:gd name="T12" fmla="*/ 9 w 25"/>
                <a:gd name="T13" fmla="*/ 15 h 22"/>
                <a:gd name="T14" fmla="*/ 13 w 25"/>
                <a:gd name="T15" fmla="*/ 12 h 22"/>
                <a:gd name="T16" fmla="*/ 16 w 25"/>
                <a:gd name="T17" fmla="*/ 9 h 22"/>
                <a:gd name="T18" fmla="*/ 21 w 25"/>
                <a:gd name="T19" fmla="*/ 9 h 22"/>
                <a:gd name="T20" fmla="*/ 24 w 25"/>
                <a:gd name="T21" fmla="*/ 7 h 22"/>
                <a:gd name="T22" fmla="*/ 24 w 25"/>
                <a:gd name="T23" fmla="*/ 7 h 22"/>
                <a:gd name="T24" fmla="*/ 24 w 25"/>
                <a:gd name="T25" fmla="*/ 6 h 22"/>
                <a:gd name="T26" fmla="*/ 24 w 25"/>
                <a:gd name="T27" fmla="*/ 3 h 22"/>
                <a:gd name="T28" fmla="*/ 22 w 25"/>
                <a:gd name="T29" fmla="*/ 1 h 22"/>
                <a:gd name="T30" fmla="*/ 18 w 25"/>
                <a:gd name="T31" fmla="*/ 1 h 22"/>
                <a:gd name="T32" fmla="*/ 18 w 25"/>
                <a:gd name="T33" fmla="*/ 1 h 22"/>
                <a:gd name="T34" fmla="*/ 16 w 25"/>
                <a:gd name="T35" fmla="*/ 1 h 22"/>
                <a:gd name="T36" fmla="*/ 15 w 25"/>
                <a:gd name="T37" fmla="*/ 0 h 22"/>
                <a:gd name="T38" fmla="*/ 12 w 25"/>
                <a:gd name="T39" fmla="*/ 0 h 22"/>
                <a:gd name="T40" fmla="*/ 10 w 25"/>
                <a:gd name="T41" fmla="*/ 0 h 22"/>
                <a:gd name="T42" fmla="*/ 8 w 25"/>
                <a:gd name="T43" fmla="*/ 1 h 22"/>
                <a:gd name="T44" fmla="*/ 8 w 25"/>
                <a:gd name="T45" fmla="*/ 4 h 22"/>
                <a:gd name="T46" fmla="*/ 6 w 25"/>
                <a:gd name="T47" fmla="*/ 7 h 22"/>
                <a:gd name="T48" fmla="*/ 6 w 25"/>
                <a:gd name="T49" fmla="*/ 10 h 22"/>
                <a:gd name="T50" fmla="*/ 2 w 25"/>
                <a:gd name="T51" fmla="*/ 13 h 22"/>
                <a:gd name="T52" fmla="*/ 0 w 25"/>
                <a:gd name="T53" fmla="*/ 1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" h="22">
                  <a:moveTo>
                    <a:pt x="0" y="15"/>
                  </a:moveTo>
                  <a:lnTo>
                    <a:pt x="2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5" y="19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3" y="12"/>
                  </a:lnTo>
                  <a:lnTo>
                    <a:pt x="16" y="9"/>
                  </a:lnTo>
                  <a:lnTo>
                    <a:pt x="21" y="9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3"/>
                  </a:lnTo>
                  <a:lnTo>
                    <a:pt x="22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6" y="1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1"/>
                  </a:lnTo>
                  <a:lnTo>
                    <a:pt x="8" y="4"/>
                  </a:lnTo>
                  <a:lnTo>
                    <a:pt x="6" y="7"/>
                  </a:lnTo>
                  <a:lnTo>
                    <a:pt x="6" y="10"/>
                  </a:lnTo>
                  <a:lnTo>
                    <a:pt x="2" y="13"/>
                  </a:lnTo>
                  <a:lnTo>
                    <a:pt x="0" y="1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7" name="Freeform 89"/>
            <p:cNvSpPr>
              <a:spLocks/>
            </p:cNvSpPr>
            <p:nvPr/>
          </p:nvSpPr>
          <p:spPr bwMode="auto">
            <a:xfrm>
              <a:off x="3485677" y="4405125"/>
              <a:ext cx="45211" cy="54645"/>
            </a:xfrm>
            <a:custGeom>
              <a:avLst/>
              <a:gdLst>
                <a:gd name="T0" fmla="*/ 17 w 67"/>
                <a:gd name="T1" fmla="*/ 67 h 81"/>
                <a:gd name="T2" fmla="*/ 12 w 67"/>
                <a:gd name="T3" fmla="*/ 70 h 81"/>
                <a:gd name="T4" fmla="*/ 12 w 67"/>
                <a:gd name="T5" fmla="*/ 70 h 81"/>
                <a:gd name="T6" fmla="*/ 12 w 67"/>
                <a:gd name="T7" fmla="*/ 71 h 81"/>
                <a:gd name="T8" fmla="*/ 12 w 67"/>
                <a:gd name="T9" fmla="*/ 72 h 81"/>
                <a:gd name="T10" fmla="*/ 12 w 67"/>
                <a:gd name="T11" fmla="*/ 74 h 81"/>
                <a:gd name="T12" fmla="*/ 12 w 67"/>
                <a:gd name="T13" fmla="*/ 75 h 81"/>
                <a:gd name="T14" fmla="*/ 12 w 67"/>
                <a:gd name="T15" fmla="*/ 78 h 81"/>
                <a:gd name="T16" fmla="*/ 12 w 67"/>
                <a:gd name="T17" fmla="*/ 78 h 81"/>
                <a:gd name="T18" fmla="*/ 14 w 67"/>
                <a:gd name="T19" fmla="*/ 80 h 81"/>
                <a:gd name="T20" fmla="*/ 18 w 67"/>
                <a:gd name="T21" fmla="*/ 80 h 81"/>
                <a:gd name="T22" fmla="*/ 23 w 67"/>
                <a:gd name="T23" fmla="*/ 78 h 81"/>
                <a:gd name="T24" fmla="*/ 26 w 67"/>
                <a:gd name="T25" fmla="*/ 75 h 81"/>
                <a:gd name="T26" fmla="*/ 30 w 67"/>
                <a:gd name="T27" fmla="*/ 72 h 81"/>
                <a:gd name="T28" fmla="*/ 33 w 67"/>
                <a:gd name="T29" fmla="*/ 70 h 81"/>
                <a:gd name="T30" fmla="*/ 33 w 67"/>
                <a:gd name="T31" fmla="*/ 67 h 81"/>
                <a:gd name="T32" fmla="*/ 35 w 67"/>
                <a:gd name="T33" fmla="*/ 65 h 81"/>
                <a:gd name="T34" fmla="*/ 36 w 67"/>
                <a:gd name="T35" fmla="*/ 64 h 81"/>
                <a:gd name="T36" fmla="*/ 41 w 67"/>
                <a:gd name="T37" fmla="*/ 64 h 81"/>
                <a:gd name="T38" fmla="*/ 41 w 67"/>
                <a:gd name="T39" fmla="*/ 53 h 81"/>
                <a:gd name="T40" fmla="*/ 33 w 67"/>
                <a:gd name="T41" fmla="*/ 26 h 81"/>
                <a:gd name="T42" fmla="*/ 39 w 67"/>
                <a:gd name="T43" fmla="*/ 24 h 81"/>
                <a:gd name="T44" fmla="*/ 45 w 67"/>
                <a:gd name="T45" fmla="*/ 29 h 81"/>
                <a:gd name="T46" fmla="*/ 48 w 67"/>
                <a:gd name="T47" fmla="*/ 29 h 81"/>
                <a:gd name="T48" fmla="*/ 50 w 67"/>
                <a:gd name="T49" fmla="*/ 29 h 81"/>
                <a:gd name="T50" fmla="*/ 51 w 67"/>
                <a:gd name="T51" fmla="*/ 31 h 81"/>
                <a:gd name="T52" fmla="*/ 54 w 67"/>
                <a:gd name="T53" fmla="*/ 32 h 81"/>
                <a:gd name="T54" fmla="*/ 56 w 67"/>
                <a:gd name="T55" fmla="*/ 35 h 81"/>
                <a:gd name="T56" fmla="*/ 57 w 67"/>
                <a:gd name="T57" fmla="*/ 44 h 81"/>
                <a:gd name="T58" fmla="*/ 60 w 67"/>
                <a:gd name="T59" fmla="*/ 48 h 81"/>
                <a:gd name="T60" fmla="*/ 62 w 67"/>
                <a:gd name="T61" fmla="*/ 51 h 81"/>
                <a:gd name="T62" fmla="*/ 63 w 67"/>
                <a:gd name="T63" fmla="*/ 50 h 81"/>
                <a:gd name="T64" fmla="*/ 65 w 67"/>
                <a:gd name="T65" fmla="*/ 48 h 81"/>
                <a:gd name="T66" fmla="*/ 65 w 67"/>
                <a:gd name="T67" fmla="*/ 45 h 81"/>
                <a:gd name="T68" fmla="*/ 66 w 67"/>
                <a:gd name="T69" fmla="*/ 44 h 81"/>
                <a:gd name="T70" fmla="*/ 66 w 67"/>
                <a:gd name="T71" fmla="*/ 42 h 81"/>
                <a:gd name="T72" fmla="*/ 66 w 67"/>
                <a:gd name="T73" fmla="*/ 44 h 81"/>
                <a:gd name="T74" fmla="*/ 65 w 67"/>
                <a:gd name="T75" fmla="*/ 44 h 81"/>
                <a:gd name="T76" fmla="*/ 65 w 67"/>
                <a:gd name="T77" fmla="*/ 42 h 81"/>
                <a:gd name="T78" fmla="*/ 65 w 67"/>
                <a:gd name="T79" fmla="*/ 41 h 81"/>
                <a:gd name="T80" fmla="*/ 63 w 67"/>
                <a:gd name="T81" fmla="*/ 38 h 81"/>
                <a:gd name="T82" fmla="*/ 62 w 67"/>
                <a:gd name="T83" fmla="*/ 37 h 81"/>
                <a:gd name="T84" fmla="*/ 62 w 67"/>
                <a:gd name="T85" fmla="*/ 35 h 81"/>
                <a:gd name="T86" fmla="*/ 62 w 67"/>
                <a:gd name="T87" fmla="*/ 34 h 81"/>
                <a:gd name="T88" fmla="*/ 62 w 67"/>
                <a:gd name="T89" fmla="*/ 34 h 81"/>
                <a:gd name="T90" fmla="*/ 56 w 67"/>
                <a:gd name="T91" fmla="*/ 29 h 81"/>
                <a:gd name="T92" fmla="*/ 48 w 67"/>
                <a:gd name="T93" fmla="*/ 26 h 81"/>
                <a:gd name="T94" fmla="*/ 42 w 67"/>
                <a:gd name="T95" fmla="*/ 24 h 81"/>
                <a:gd name="T96" fmla="*/ 38 w 67"/>
                <a:gd name="T97" fmla="*/ 11 h 81"/>
                <a:gd name="T98" fmla="*/ 33 w 67"/>
                <a:gd name="T99" fmla="*/ 11 h 81"/>
                <a:gd name="T100" fmla="*/ 29 w 67"/>
                <a:gd name="T101" fmla="*/ 0 h 81"/>
                <a:gd name="T102" fmla="*/ 0 w 67"/>
                <a:gd name="T103" fmla="*/ 7 h 81"/>
                <a:gd name="T104" fmla="*/ 17 w 67"/>
                <a:gd name="T105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7" h="81">
                  <a:moveTo>
                    <a:pt x="17" y="67"/>
                  </a:moveTo>
                  <a:lnTo>
                    <a:pt x="12" y="70"/>
                  </a:lnTo>
                  <a:lnTo>
                    <a:pt x="12" y="70"/>
                  </a:lnTo>
                  <a:lnTo>
                    <a:pt x="12" y="71"/>
                  </a:lnTo>
                  <a:lnTo>
                    <a:pt x="12" y="72"/>
                  </a:lnTo>
                  <a:lnTo>
                    <a:pt x="12" y="74"/>
                  </a:lnTo>
                  <a:lnTo>
                    <a:pt x="12" y="75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18" y="80"/>
                  </a:lnTo>
                  <a:lnTo>
                    <a:pt x="23" y="78"/>
                  </a:lnTo>
                  <a:lnTo>
                    <a:pt x="26" y="75"/>
                  </a:lnTo>
                  <a:lnTo>
                    <a:pt x="30" y="72"/>
                  </a:lnTo>
                  <a:lnTo>
                    <a:pt x="33" y="70"/>
                  </a:lnTo>
                  <a:lnTo>
                    <a:pt x="33" y="67"/>
                  </a:lnTo>
                  <a:lnTo>
                    <a:pt x="35" y="65"/>
                  </a:lnTo>
                  <a:lnTo>
                    <a:pt x="36" y="64"/>
                  </a:lnTo>
                  <a:lnTo>
                    <a:pt x="41" y="64"/>
                  </a:lnTo>
                  <a:lnTo>
                    <a:pt x="41" y="53"/>
                  </a:lnTo>
                  <a:lnTo>
                    <a:pt x="33" y="26"/>
                  </a:lnTo>
                  <a:lnTo>
                    <a:pt x="39" y="24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1" y="31"/>
                  </a:lnTo>
                  <a:lnTo>
                    <a:pt x="54" y="32"/>
                  </a:lnTo>
                  <a:lnTo>
                    <a:pt x="56" y="35"/>
                  </a:lnTo>
                  <a:lnTo>
                    <a:pt x="57" y="44"/>
                  </a:lnTo>
                  <a:lnTo>
                    <a:pt x="60" y="48"/>
                  </a:lnTo>
                  <a:lnTo>
                    <a:pt x="62" y="51"/>
                  </a:lnTo>
                  <a:lnTo>
                    <a:pt x="63" y="50"/>
                  </a:lnTo>
                  <a:lnTo>
                    <a:pt x="65" y="48"/>
                  </a:lnTo>
                  <a:lnTo>
                    <a:pt x="65" y="45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6" y="44"/>
                  </a:lnTo>
                  <a:lnTo>
                    <a:pt x="65" y="44"/>
                  </a:lnTo>
                  <a:lnTo>
                    <a:pt x="65" y="42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2" y="37"/>
                  </a:lnTo>
                  <a:lnTo>
                    <a:pt x="62" y="35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56" y="29"/>
                  </a:lnTo>
                  <a:lnTo>
                    <a:pt x="48" y="26"/>
                  </a:lnTo>
                  <a:lnTo>
                    <a:pt x="42" y="24"/>
                  </a:lnTo>
                  <a:lnTo>
                    <a:pt x="38" y="11"/>
                  </a:lnTo>
                  <a:lnTo>
                    <a:pt x="33" y="11"/>
                  </a:lnTo>
                  <a:lnTo>
                    <a:pt x="29" y="0"/>
                  </a:lnTo>
                  <a:lnTo>
                    <a:pt x="0" y="7"/>
                  </a:lnTo>
                  <a:lnTo>
                    <a:pt x="17" y="6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8" name="Freeform 90"/>
            <p:cNvSpPr>
              <a:spLocks/>
            </p:cNvSpPr>
            <p:nvPr/>
          </p:nvSpPr>
          <p:spPr bwMode="auto">
            <a:xfrm>
              <a:off x="3485677" y="4405125"/>
              <a:ext cx="45211" cy="54645"/>
            </a:xfrm>
            <a:custGeom>
              <a:avLst/>
              <a:gdLst>
                <a:gd name="T0" fmla="*/ 17 w 67"/>
                <a:gd name="T1" fmla="*/ 67 h 81"/>
                <a:gd name="T2" fmla="*/ 12 w 67"/>
                <a:gd name="T3" fmla="*/ 70 h 81"/>
                <a:gd name="T4" fmla="*/ 12 w 67"/>
                <a:gd name="T5" fmla="*/ 70 h 81"/>
                <a:gd name="T6" fmla="*/ 12 w 67"/>
                <a:gd name="T7" fmla="*/ 70 h 81"/>
                <a:gd name="T8" fmla="*/ 12 w 67"/>
                <a:gd name="T9" fmla="*/ 71 h 81"/>
                <a:gd name="T10" fmla="*/ 12 w 67"/>
                <a:gd name="T11" fmla="*/ 72 h 81"/>
                <a:gd name="T12" fmla="*/ 12 w 67"/>
                <a:gd name="T13" fmla="*/ 74 h 81"/>
                <a:gd name="T14" fmla="*/ 12 w 67"/>
                <a:gd name="T15" fmla="*/ 75 h 81"/>
                <a:gd name="T16" fmla="*/ 12 w 67"/>
                <a:gd name="T17" fmla="*/ 78 h 81"/>
                <a:gd name="T18" fmla="*/ 12 w 67"/>
                <a:gd name="T19" fmla="*/ 78 h 81"/>
                <a:gd name="T20" fmla="*/ 14 w 67"/>
                <a:gd name="T21" fmla="*/ 80 h 81"/>
                <a:gd name="T22" fmla="*/ 14 w 67"/>
                <a:gd name="T23" fmla="*/ 80 h 81"/>
                <a:gd name="T24" fmla="*/ 18 w 67"/>
                <a:gd name="T25" fmla="*/ 80 h 81"/>
                <a:gd name="T26" fmla="*/ 23 w 67"/>
                <a:gd name="T27" fmla="*/ 78 h 81"/>
                <a:gd name="T28" fmla="*/ 26 w 67"/>
                <a:gd name="T29" fmla="*/ 75 h 81"/>
                <a:gd name="T30" fmla="*/ 30 w 67"/>
                <a:gd name="T31" fmla="*/ 72 h 81"/>
                <a:gd name="T32" fmla="*/ 33 w 67"/>
                <a:gd name="T33" fmla="*/ 70 h 81"/>
                <a:gd name="T34" fmla="*/ 33 w 67"/>
                <a:gd name="T35" fmla="*/ 67 h 81"/>
                <a:gd name="T36" fmla="*/ 35 w 67"/>
                <a:gd name="T37" fmla="*/ 65 h 81"/>
                <a:gd name="T38" fmla="*/ 36 w 67"/>
                <a:gd name="T39" fmla="*/ 64 h 81"/>
                <a:gd name="T40" fmla="*/ 41 w 67"/>
                <a:gd name="T41" fmla="*/ 64 h 81"/>
                <a:gd name="T42" fmla="*/ 41 w 67"/>
                <a:gd name="T43" fmla="*/ 53 h 81"/>
                <a:gd name="T44" fmla="*/ 33 w 67"/>
                <a:gd name="T45" fmla="*/ 26 h 81"/>
                <a:gd name="T46" fmla="*/ 39 w 67"/>
                <a:gd name="T47" fmla="*/ 24 h 81"/>
                <a:gd name="T48" fmla="*/ 45 w 67"/>
                <a:gd name="T49" fmla="*/ 29 h 81"/>
                <a:gd name="T50" fmla="*/ 48 w 67"/>
                <a:gd name="T51" fmla="*/ 29 h 81"/>
                <a:gd name="T52" fmla="*/ 48 w 67"/>
                <a:gd name="T53" fmla="*/ 29 h 81"/>
                <a:gd name="T54" fmla="*/ 50 w 67"/>
                <a:gd name="T55" fmla="*/ 29 h 81"/>
                <a:gd name="T56" fmla="*/ 51 w 67"/>
                <a:gd name="T57" fmla="*/ 31 h 81"/>
                <a:gd name="T58" fmla="*/ 54 w 67"/>
                <a:gd name="T59" fmla="*/ 32 h 81"/>
                <a:gd name="T60" fmla="*/ 56 w 67"/>
                <a:gd name="T61" fmla="*/ 35 h 81"/>
                <a:gd name="T62" fmla="*/ 56 w 67"/>
                <a:gd name="T63" fmla="*/ 35 h 81"/>
                <a:gd name="T64" fmla="*/ 57 w 67"/>
                <a:gd name="T65" fmla="*/ 44 h 81"/>
                <a:gd name="T66" fmla="*/ 60 w 67"/>
                <a:gd name="T67" fmla="*/ 48 h 81"/>
                <a:gd name="T68" fmla="*/ 62 w 67"/>
                <a:gd name="T69" fmla="*/ 51 h 81"/>
                <a:gd name="T70" fmla="*/ 63 w 67"/>
                <a:gd name="T71" fmla="*/ 50 h 81"/>
                <a:gd name="T72" fmla="*/ 65 w 67"/>
                <a:gd name="T73" fmla="*/ 48 h 81"/>
                <a:gd name="T74" fmla="*/ 65 w 67"/>
                <a:gd name="T75" fmla="*/ 45 h 81"/>
                <a:gd name="T76" fmla="*/ 66 w 67"/>
                <a:gd name="T77" fmla="*/ 44 h 81"/>
                <a:gd name="T78" fmla="*/ 66 w 67"/>
                <a:gd name="T79" fmla="*/ 42 h 81"/>
                <a:gd name="T80" fmla="*/ 66 w 67"/>
                <a:gd name="T81" fmla="*/ 44 h 81"/>
                <a:gd name="T82" fmla="*/ 66 w 67"/>
                <a:gd name="T83" fmla="*/ 44 h 81"/>
                <a:gd name="T84" fmla="*/ 65 w 67"/>
                <a:gd name="T85" fmla="*/ 44 h 81"/>
                <a:gd name="T86" fmla="*/ 65 w 67"/>
                <a:gd name="T87" fmla="*/ 42 h 81"/>
                <a:gd name="T88" fmla="*/ 65 w 67"/>
                <a:gd name="T89" fmla="*/ 41 h 81"/>
                <a:gd name="T90" fmla="*/ 63 w 67"/>
                <a:gd name="T91" fmla="*/ 38 h 81"/>
                <a:gd name="T92" fmla="*/ 62 w 67"/>
                <a:gd name="T93" fmla="*/ 37 h 81"/>
                <a:gd name="T94" fmla="*/ 62 w 67"/>
                <a:gd name="T95" fmla="*/ 35 h 81"/>
                <a:gd name="T96" fmla="*/ 62 w 67"/>
                <a:gd name="T97" fmla="*/ 34 h 81"/>
                <a:gd name="T98" fmla="*/ 62 w 67"/>
                <a:gd name="T99" fmla="*/ 34 h 81"/>
                <a:gd name="T100" fmla="*/ 56 w 67"/>
                <a:gd name="T101" fmla="*/ 29 h 81"/>
                <a:gd name="T102" fmla="*/ 48 w 67"/>
                <a:gd name="T103" fmla="*/ 26 h 81"/>
                <a:gd name="T104" fmla="*/ 42 w 67"/>
                <a:gd name="T105" fmla="*/ 24 h 81"/>
                <a:gd name="T106" fmla="*/ 38 w 67"/>
                <a:gd name="T107" fmla="*/ 11 h 81"/>
                <a:gd name="T108" fmla="*/ 33 w 67"/>
                <a:gd name="T109" fmla="*/ 11 h 81"/>
                <a:gd name="T110" fmla="*/ 29 w 67"/>
                <a:gd name="T111" fmla="*/ 0 h 81"/>
                <a:gd name="T112" fmla="*/ 0 w 67"/>
                <a:gd name="T113" fmla="*/ 7 h 81"/>
                <a:gd name="T114" fmla="*/ 17 w 67"/>
                <a:gd name="T115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7" h="81">
                  <a:moveTo>
                    <a:pt x="17" y="67"/>
                  </a:move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1"/>
                  </a:lnTo>
                  <a:lnTo>
                    <a:pt x="12" y="72"/>
                  </a:lnTo>
                  <a:lnTo>
                    <a:pt x="12" y="74"/>
                  </a:lnTo>
                  <a:lnTo>
                    <a:pt x="12" y="75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8" y="80"/>
                  </a:lnTo>
                  <a:lnTo>
                    <a:pt x="23" y="78"/>
                  </a:lnTo>
                  <a:lnTo>
                    <a:pt x="26" y="75"/>
                  </a:lnTo>
                  <a:lnTo>
                    <a:pt x="30" y="72"/>
                  </a:lnTo>
                  <a:lnTo>
                    <a:pt x="33" y="70"/>
                  </a:lnTo>
                  <a:lnTo>
                    <a:pt x="33" y="67"/>
                  </a:lnTo>
                  <a:lnTo>
                    <a:pt x="35" y="65"/>
                  </a:lnTo>
                  <a:lnTo>
                    <a:pt x="36" y="64"/>
                  </a:lnTo>
                  <a:lnTo>
                    <a:pt x="41" y="64"/>
                  </a:lnTo>
                  <a:lnTo>
                    <a:pt x="41" y="53"/>
                  </a:lnTo>
                  <a:lnTo>
                    <a:pt x="33" y="26"/>
                  </a:lnTo>
                  <a:lnTo>
                    <a:pt x="39" y="24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1" y="31"/>
                  </a:lnTo>
                  <a:lnTo>
                    <a:pt x="54" y="32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7" y="44"/>
                  </a:lnTo>
                  <a:lnTo>
                    <a:pt x="60" y="48"/>
                  </a:lnTo>
                  <a:lnTo>
                    <a:pt x="62" y="51"/>
                  </a:lnTo>
                  <a:lnTo>
                    <a:pt x="63" y="50"/>
                  </a:lnTo>
                  <a:lnTo>
                    <a:pt x="65" y="48"/>
                  </a:lnTo>
                  <a:lnTo>
                    <a:pt x="65" y="45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5" y="44"/>
                  </a:lnTo>
                  <a:lnTo>
                    <a:pt x="65" y="42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2" y="37"/>
                  </a:lnTo>
                  <a:lnTo>
                    <a:pt x="62" y="35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56" y="29"/>
                  </a:lnTo>
                  <a:lnTo>
                    <a:pt x="48" y="26"/>
                  </a:lnTo>
                  <a:lnTo>
                    <a:pt x="42" y="24"/>
                  </a:lnTo>
                  <a:lnTo>
                    <a:pt x="38" y="11"/>
                  </a:lnTo>
                  <a:lnTo>
                    <a:pt x="33" y="11"/>
                  </a:lnTo>
                  <a:lnTo>
                    <a:pt x="29" y="0"/>
                  </a:lnTo>
                  <a:lnTo>
                    <a:pt x="0" y="7"/>
                  </a:lnTo>
                  <a:lnTo>
                    <a:pt x="17" y="67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9" name="Freeform 91"/>
            <p:cNvSpPr>
              <a:spLocks/>
            </p:cNvSpPr>
            <p:nvPr/>
          </p:nvSpPr>
          <p:spPr bwMode="auto">
            <a:xfrm>
              <a:off x="3401283" y="4409471"/>
              <a:ext cx="96450" cy="95007"/>
            </a:xfrm>
            <a:custGeom>
              <a:avLst/>
              <a:gdLst>
                <a:gd name="T0" fmla="*/ 134 w 144"/>
                <a:gd name="T1" fmla="*/ 72 h 142"/>
                <a:gd name="T2" fmla="*/ 132 w 144"/>
                <a:gd name="T3" fmla="*/ 74 h 142"/>
                <a:gd name="T4" fmla="*/ 129 w 144"/>
                <a:gd name="T5" fmla="*/ 75 h 142"/>
                <a:gd name="T6" fmla="*/ 125 w 144"/>
                <a:gd name="T7" fmla="*/ 77 h 142"/>
                <a:gd name="T8" fmla="*/ 119 w 144"/>
                <a:gd name="T9" fmla="*/ 80 h 142"/>
                <a:gd name="T10" fmla="*/ 114 w 144"/>
                <a:gd name="T11" fmla="*/ 83 h 142"/>
                <a:gd name="T12" fmla="*/ 110 w 144"/>
                <a:gd name="T13" fmla="*/ 84 h 142"/>
                <a:gd name="T14" fmla="*/ 105 w 144"/>
                <a:gd name="T15" fmla="*/ 86 h 142"/>
                <a:gd name="T16" fmla="*/ 104 w 144"/>
                <a:gd name="T17" fmla="*/ 86 h 142"/>
                <a:gd name="T18" fmla="*/ 95 w 144"/>
                <a:gd name="T19" fmla="*/ 91 h 142"/>
                <a:gd name="T20" fmla="*/ 86 w 144"/>
                <a:gd name="T21" fmla="*/ 94 h 142"/>
                <a:gd name="T22" fmla="*/ 80 w 144"/>
                <a:gd name="T23" fmla="*/ 97 h 142"/>
                <a:gd name="T24" fmla="*/ 72 w 144"/>
                <a:gd name="T25" fmla="*/ 98 h 142"/>
                <a:gd name="T26" fmla="*/ 66 w 144"/>
                <a:gd name="T27" fmla="*/ 99 h 142"/>
                <a:gd name="T28" fmla="*/ 62 w 144"/>
                <a:gd name="T29" fmla="*/ 101 h 142"/>
                <a:gd name="T30" fmla="*/ 60 w 144"/>
                <a:gd name="T31" fmla="*/ 101 h 142"/>
                <a:gd name="T32" fmla="*/ 59 w 144"/>
                <a:gd name="T33" fmla="*/ 101 h 142"/>
                <a:gd name="T34" fmla="*/ 36 w 144"/>
                <a:gd name="T35" fmla="*/ 119 h 142"/>
                <a:gd name="T36" fmla="*/ 35 w 144"/>
                <a:gd name="T37" fmla="*/ 119 h 142"/>
                <a:gd name="T38" fmla="*/ 17 w 144"/>
                <a:gd name="T39" fmla="*/ 137 h 142"/>
                <a:gd name="T40" fmla="*/ 11 w 144"/>
                <a:gd name="T41" fmla="*/ 141 h 142"/>
                <a:gd name="T42" fmla="*/ 11 w 144"/>
                <a:gd name="T43" fmla="*/ 141 h 142"/>
                <a:gd name="T44" fmla="*/ 5 w 144"/>
                <a:gd name="T45" fmla="*/ 131 h 142"/>
                <a:gd name="T46" fmla="*/ 17 w 144"/>
                <a:gd name="T47" fmla="*/ 116 h 142"/>
                <a:gd name="T48" fmla="*/ 11 w 144"/>
                <a:gd name="T49" fmla="*/ 110 h 142"/>
                <a:gd name="T50" fmla="*/ 0 w 144"/>
                <a:gd name="T51" fmla="*/ 29 h 142"/>
                <a:gd name="T52" fmla="*/ 51 w 144"/>
                <a:gd name="T53" fmla="*/ 18 h 142"/>
                <a:gd name="T54" fmla="*/ 51 w 144"/>
                <a:gd name="T55" fmla="*/ 23 h 142"/>
                <a:gd name="T56" fmla="*/ 56 w 144"/>
                <a:gd name="T57" fmla="*/ 21 h 142"/>
                <a:gd name="T58" fmla="*/ 54 w 144"/>
                <a:gd name="T59" fmla="*/ 18 h 142"/>
                <a:gd name="T60" fmla="*/ 125 w 144"/>
                <a:gd name="T61" fmla="*/ 0 h 142"/>
                <a:gd name="T62" fmla="*/ 125 w 144"/>
                <a:gd name="T63" fmla="*/ 1 h 142"/>
                <a:gd name="T64" fmla="*/ 143 w 144"/>
                <a:gd name="T65" fmla="*/ 61 h 142"/>
                <a:gd name="T66" fmla="*/ 138 w 144"/>
                <a:gd name="T67" fmla="*/ 64 h 142"/>
                <a:gd name="T68" fmla="*/ 138 w 144"/>
                <a:gd name="T69" fmla="*/ 64 h 142"/>
                <a:gd name="T70" fmla="*/ 138 w 144"/>
                <a:gd name="T71" fmla="*/ 65 h 142"/>
                <a:gd name="T72" fmla="*/ 138 w 144"/>
                <a:gd name="T73" fmla="*/ 66 h 142"/>
                <a:gd name="T74" fmla="*/ 138 w 144"/>
                <a:gd name="T75" fmla="*/ 68 h 142"/>
                <a:gd name="T76" fmla="*/ 138 w 144"/>
                <a:gd name="T77" fmla="*/ 69 h 142"/>
                <a:gd name="T78" fmla="*/ 138 w 144"/>
                <a:gd name="T79" fmla="*/ 72 h 142"/>
                <a:gd name="T80" fmla="*/ 138 w 144"/>
                <a:gd name="T81" fmla="*/ 72 h 142"/>
                <a:gd name="T82" fmla="*/ 140 w 144"/>
                <a:gd name="T83" fmla="*/ 74 h 142"/>
                <a:gd name="T84" fmla="*/ 134 w 144"/>
                <a:gd name="T85" fmla="*/ 7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4" h="142">
                  <a:moveTo>
                    <a:pt x="134" y="72"/>
                  </a:moveTo>
                  <a:lnTo>
                    <a:pt x="132" y="74"/>
                  </a:lnTo>
                  <a:lnTo>
                    <a:pt x="129" y="75"/>
                  </a:lnTo>
                  <a:lnTo>
                    <a:pt x="125" y="77"/>
                  </a:lnTo>
                  <a:lnTo>
                    <a:pt x="119" y="80"/>
                  </a:lnTo>
                  <a:lnTo>
                    <a:pt x="114" y="83"/>
                  </a:lnTo>
                  <a:lnTo>
                    <a:pt x="110" y="84"/>
                  </a:lnTo>
                  <a:lnTo>
                    <a:pt x="105" y="86"/>
                  </a:lnTo>
                  <a:lnTo>
                    <a:pt x="104" y="86"/>
                  </a:lnTo>
                  <a:lnTo>
                    <a:pt x="95" y="91"/>
                  </a:lnTo>
                  <a:lnTo>
                    <a:pt x="86" y="94"/>
                  </a:lnTo>
                  <a:lnTo>
                    <a:pt x="80" y="97"/>
                  </a:lnTo>
                  <a:lnTo>
                    <a:pt x="72" y="98"/>
                  </a:lnTo>
                  <a:lnTo>
                    <a:pt x="66" y="99"/>
                  </a:lnTo>
                  <a:lnTo>
                    <a:pt x="62" y="101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36" y="119"/>
                  </a:lnTo>
                  <a:lnTo>
                    <a:pt x="35" y="119"/>
                  </a:lnTo>
                  <a:lnTo>
                    <a:pt x="17" y="137"/>
                  </a:lnTo>
                  <a:lnTo>
                    <a:pt x="11" y="141"/>
                  </a:lnTo>
                  <a:lnTo>
                    <a:pt x="11" y="141"/>
                  </a:lnTo>
                  <a:lnTo>
                    <a:pt x="5" y="131"/>
                  </a:lnTo>
                  <a:lnTo>
                    <a:pt x="17" y="116"/>
                  </a:lnTo>
                  <a:lnTo>
                    <a:pt x="11" y="110"/>
                  </a:lnTo>
                  <a:lnTo>
                    <a:pt x="0" y="29"/>
                  </a:lnTo>
                  <a:lnTo>
                    <a:pt x="51" y="18"/>
                  </a:lnTo>
                  <a:lnTo>
                    <a:pt x="51" y="23"/>
                  </a:lnTo>
                  <a:lnTo>
                    <a:pt x="56" y="21"/>
                  </a:lnTo>
                  <a:lnTo>
                    <a:pt x="54" y="18"/>
                  </a:lnTo>
                  <a:lnTo>
                    <a:pt x="125" y="0"/>
                  </a:lnTo>
                  <a:lnTo>
                    <a:pt x="125" y="1"/>
                  </a:lnTo>
                  <a:lnTo>
                    <a:pt x="143" y="61"/>
                  </a:lnTo>
                  <a:lnTo>
                    <a:pt x="138" y="64"/>
                  </a:lnTo>
                  <a:lnTo>
                    <a:pt x="138" y="64"/>
                  </a:lnTo>
                  <a:lnTo>
                    <a:pt x="138" y="65"/>
                  </a:lnTo>
                  <a:lnTo>
                    <a:pt x="138" y="66"/>
                  </a:lnTo>
                  <a:lnTo>
                    <a:pt x="138" y="68"/>
                  </a:lnTo>
                  <a:lnTo>
                    <a:pt x="138" y="69"/>
                  </a:lnTo>
                  <a:lnTo>
                    <a:pt x="138" y="72"/>
                  </a:lnTo>
                  <a:lnTo>
                    <a:pt x="138" y="72"/>
                  </a:lnTo>
                  <a:lnTo>
                    <a:pt x="140" y="74"/>
                  </a:lnTo>
                  <a:lnTo>
                    <a:pt x="134" y="72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0" name="Freeform 92"/>
            <p:cNvSpPr>
              <a:spLocks/>
            </p:cNvSpPr>
            <p:nvPr/>
          </p:nvSpPr>
          <p:spPr bwMode="auto">
            <a:xfrm>
              <a:off x="3401283" y="4409471"/>
              <a:ext cx="96450" cy="95007"/>
            </a:xfrm>
            <a:custGeom>
              <a:avLst/>
              <a:gdLst>
                <a:gd name="T0" fmla="*/ 134 w 144"/>
                <a:gd name="T1" fmla="*/ 72 h 142"/>
                <a:gd name="T2" fmla="*/ 134 w 144"/>
                <a:gd name="T3" fmla="*/ 72 h 142"/>
                <a:gd name="T4" fmla="*/ 132 w 144"/>
                <a:gd name="T5" fmla="*/ 74 h 142"/>
                <a:gd name="T6" fmla="*/ 129 w 144"/>
                <a:gd name="T7" fmla="*/ 75 h 142"/>
                <a:gd name="T8" fmla="*/ 125 w 144"/>
                <a:gd name="T9" fmla="*/ 77 h 142"/>
                <a:gd name="T10" fmla="*/ 119 w 144"/>
                <a:gd name="T11" fmla="*/ 80 h 142"/>
                <a:gd name="T12" fmla="*/ 114 w 144"/>
                <a:gd name="T13" fmla="*/ 83 h 142"/>
                <a:gd name="T14" fmla="*/ 110 w 144"/>
                <a:gd name="T15" fmla="*/ 84 h 142"/>
                <a:gd name="T16" fmla="*/ 105 w 144"/>
                <a:gd name="T17" fmla="*/ 86 h 142"/>
                <a:gd name="T18" fmla="*/ 104 w 144"/>
                <a:gd name="T19" fmla="*/ 86 h 142"/>
                <a:gd name="T20" fmla="*/ 104 w 144"/>
                <a:gd name="T21" fmla="*/ 86 h 142"/>
                <a:gd name="T22" fmla="*/ 95 w 144"/>
                <a:gd name="T23" fmla="*/ 91 h 142"/>
                <a:gd name="T24" fmla="*/ 86 w 144"/>
                <a:gd name="T25" fmla="*/ 94 h 142"/>
                <a:gd name="T26" fmla="*/ 80 w 144"/>
                <a:gd name="T27" fmla="*/ 97 h 142"/>
                <a:gd name="T28" fmla="*/ 72 w 144"/>
                <a:gd name="T29" fmla="*/ 98 h 142"/>
                <a:gd name="T30" fmla="*/ 66 w 144"/>
                <a:gd name="T31" fmla="*/ 99 h 142"/>
                <a:gd name="T32" fmla="*/ 62 w 144"/>
                <a:gd name="T33" fmla="*/ 101 h 142"/>
                <a:gd name="T34" fmla="*/ 60 w 144"/>
                <a:gd name="T35" fmla="*/ 101 h 142"/>
                <a:gd name="T36" fmla="*/ 59 w 144"/>
                <a:gd name="T37" fmla="*/ 101 h 142"/>
                <a:gd name="T38" fmla="*/ 36 w 144"/>
                <a:gd name="T39" fmla="*/ 119 h 142"/>
                <a:gd name="T40" fmla="*/ 35 w 144"/>
                <a:gd name="T41" fmla="*/ 119 h 142"/>
                <a:gd name="T42" fmla="*/ 17 w 144"/>
                <a:gd name="T43" fmla="*/ 137 h 142"/>
                <a:gd name="T44" fmla="*/ 11 w 144"/>
                <a:gd name="T45" fmla="*/ 141 h 142"/>
                <a:gd name="T46" fmla="*/ 11 w 144"/>
                <a:gd name="T47" fmla="*/ 141 h 142"/>
                <a:gd name="T48" fmla="*/ 5 w 144"/>
                <a:gd name="T49" fmla="*/ 131 h 142"/>
                <a:gd name="T50" fmla="*/ 17 w 144"/>
                <a:gd name="T51" fmla="*/ 116 h 142"/>
                <a:gd name="T52" fmla="*/ 11 w 144"/>
                <a:gd name="T53" fmla="*/ 110 h 142"/>
                <a:gd name="T54" fmla="*/ 0 w 144"/>
                <a:gd name="T55" fmla="*/ 29 h 142"/>
                <a:gd name="T56" fmla="*/ 51 w 144"/>
                <a:gd name="T57" fmla="*/ 18 h 142"/>
                <a:gd name="T58" fmla="*/ 51 w 144"/>
                <a:gd name="T59" fmla="*/ 23 h 142"/>
                <a:gd name="T60" fmla="*/ 56 w 144"/>
                <a:gd name="T61" fmla="*/ 21 h 142"/>
                <a:gd name="T62" fmla="*/ 54 w 144"/>
                <a:gd name="T63" fmla="*/ 18 h 142"/>
                <a:gd name="T64" fmla="*/ 125 w 144"/>
                <a:gd name="T65" fmla="*/ 0 h 142"/>
                <a:gd name="T66" fmla="*/ 125 w 144"/>
                <a:gd name="T67" fmla="*/ 1 h 142"/>
                <a:gd name="T68" fmla="*/ 143 w 144"/>
                <a:gd name="T69" fmla="*/ 61 h 142"/>
                <a:gd name="T70" fmla="*/ 138 w 144"/>
                <a:gd name="T71" fmla="*/ 64 h 142"/>
                <a:gd name="T72" fmla="*/ 138 w 144"/>
                <a:gd name="T73" fmla="*/ 64 h 142"/>
                <a:gd name="T74" fmla="*/ 138 w 144"/>
                <a:gd name="T75" fmla="*/ 64 h 142"/>
                <a:gd name="T76" fmla="*/ 138 w 144"/>
                <a:gd name="T77" fmla="*/ 65 h 142"/>
                <a:gd name="T78" fmla="*/ 138 w 144"/>
                <a:gd name="T79" fmla="*/ 66 h 142"/>
                <a:gd name="T80" fmla="*/ 138 w 144"/>
                <a:gd name="T81" fmla="*/ 68 h 142"/>
                <a:gd name="T82" fmla="*/ 138 w 144"/>
                <a:gd name="T83" fmla="*/ 69 h 142"/>
                <a:gd name="T84" fmla="*/ 138 w 144"/>
                <a:gd name="T85" fmla="*/ 72 h 142"/>
                <a:gd name="T86" fmla="*/ 138 w 144"/>
                <a:gd name="T87" fmla="*/ 72 h 142"/>
                <a:gd name="T88" fmla="*/ 140 w 144"/>
                <a:gd name="T89" fmla="*/ 74 h 142"/>
                <a:gd name="T90" fmla="*/ 134 w 144"/>
                <a:gd name="T91" fmla="*/ 7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4" h="142">
                  <a:moveTo>
                    <a:pt x="134" y="72"/>
                  </a:moveTo>
                  <a:lnTo>
                    <a:pt x="134" y="72"/>
                  </a:lnTo>
                  <a:lnTo>
                    <a:pt x="132" y="74"/>
                  </a:lnTo>
                  <a:lnTo>
                    <a:pt x="129" y="75"/>
                  </a:lnTo>
                  <a:lnTo>
                    <a:pt x="125" y="77"/>
                  </a:lnTo>
                  <a:lnTo>
                    <a:pt x="119" y="80"/>
                  </a:lnTo>
                  <a:lnTo>
                    <a:pt x="114" y="83"/>
                  </a:lnTo>
                  <a:lnTo>
                    <a:pt x="110" y="84"/>
                  </a:lnTo>
                  <a:lnTo>
                    <a:pt x="105" y="86"/>
                  </a:lnTo>
                  <a:lnTo>
                    <a:pt x="104" y="86"/>
                  </a:lnTo>
                  <a:lnTo>
                    <a:pt x="104" y="86"/>
                  </a:lnTo>
                  <a:lnTo>
                    <a:pt x="95" y="91"/>
                  </a:lnTo>
                  <a:lnTo>
                    <a:pt x="86" y="94"/>
                  </a:lnTo>
                  <a:lnTo>
                    <a:pt x="80" y="97"/>
                  </a:lnTo>
                  <a:lnTo>
                    <a:pt x="72" y="98"/>
                  </a:lnTo>
                  <a:lnTo>
                    <a:pt x="66" y="99"/>
                  </a:lnTo>
                  <a:lnTo>
                    <a:pt x="62" y="101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36" y="119"/>
                  </a:lnTo>
                  <a:lnTo>
                    <a:pt x="35" y="119"/>
                  </a:lnTo>
                  <a:lnTo>
                    <a:pt x="17" y="137"/>
                  </a:lnTo>
                  <a:lnTo>
                    <a:pt x="11" y="141"/>
                  </a:lnTo>
                  <a:lnTo>
                    <a:pt x="11" y="141"/>
                  </a:lnTo>
                  <a:lnTo>
                    <a:pt x="5" y="131"/>
                  </a:lnTo>
                  <a:lnTo>
                    <a:pt x="17" y="116"/>
                  </a:lnTo>
                  <a:lnTo>
                    <a:pt x="11" y="110"/>
                  </a:lnTo>
                  <a:lnTo>
                    <a:pt x="0" y="29"/>
                  </a:lnTo>
                  <a:lnTo>
                    <a:pt x="51" y="18"/>
                  </a:lnTo>
                  <a:lnTo>
                    <a:pt x="51" y="23"/>
                  </a:lnTo>
                  <a:lnTo>
                    <a:pt x="56" y="21"/>
                  </a:lnTo>
                  <a:lnTo>
                    <a:pt x="54" y="18"/>
                  </a:lnTo>
                  <a:lnTo>
                    <a:pt x="125" y="0"/>
                  </a:lnTo>
                  <a:lnTo>
                    <a:pt x="125" y="1"/>
                  </a:lnTo>
                  <a:lnTo>
                    <a:pt x="143" y="61"/>
                  </a:lnTo>
                  <a:lnTo>
                    <a:pt x="138" y="64"/>
                  </a:lnTo>
                  <a:lnTo>
                    <a:pt x="138" y="64"/>
                  </a:lnTo>
                  <a:lnTo>
                    <a:pt x="138" y="64"/>
                  </a:lnTo>
                  <a:lnTo>
                    <a:pt x="138" y="65"/>
                  </a:lnTo>
                  <a:lnTo>
                    <a:pt x="138" y="66"/>
                  </a:lnTo>
                  <a:lnTo>
                    <a:pt x="138" y="68"/>
                  </a:lnTo>
                  <a:lnTo>
                    <a:pt x="138" y="69"/>
                  </a:lnTo>
                  <a:lnTo>
                    <a:pt x="138" y="72"/>
                  </a:lnTo>
                  <a:lnTo>
                    <a:pt x="138" y="72"/>
                  </a:lnTo>
                  <a:lnTo>
                    <a:pt x="140" y="74"/>
                  </a:lnTo>
                  <a:lnTo>
                    <a:pt x="134" y="72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1" name="Freeform 93"/>
            <p:cNvSpPr>
              <a:spLocks/>
            </p:cNvSpPr>
            <p:nvPr/>
          </p:nvSpPr>
          <p:spPr bwMode="auto">
            <a:xfrm>
              <a:off x="3397666" y="4476535"/>
              <a:ext cx="101876" cy="62096"/>
            </a:xfrm>
            <a:custGeom>
              <a:avLst/>
              <a:gdLst>
                <a:gd name="T0" fmla="*/ 1 w 152"/>
                <a:gd name="T1" fmla="*/ 92 h 93"/>
                <a:gd name="T2" fmla="*/ 0 w 152"/>
                <a:gd name="T3" fmla="*/ 91 h 93"/>
                <a:gd name="T4" fmla="*/ 0 w 152"/>
                <a:gd name="T5" fmla="*/ 86 h 93"/>
                <a:gd name="T6" fmla="*/ 0 w 152"/>
                <a:gd name="T7" fmla="*/ 80 h 93"/>
                <a:gd name="T8" fmla="*/ 2 w 152"/>
                <a:gd name="T9" fmla="*/ 74 h 93"/>
                <a:gd name="T10" fmla="*/ 7 w 152"/>
                <a:gd name="T11" fmla="*/ 68 h 93"/>
                <a:gd name="T12" fmla="*/ 10 w 152"/>
                <a:gd name="T13" fmla="*/ 67 h 93"/>
                <a:gd name="T14" fmla="*/ 17 w 152"/>
                <a:gd name="T15" fmla="*/ 61 h 93"/>
                <a:gd name="T16" fmla="*/ 20 w 152"/>
                <a:gd name="T17" fmla="*/ 55 h 93"/>
                <a:gd name="T18" fmla="*/ 22 w 152"/>
                <a:gd name="T19" fmla="*/ 52 h 93"/>
                <a:gd name="T20" fmla="*/ 23 w 152"/>
                <a:gd name="T21" fmla="*/ 50 h 93"/>
                <a:gd name="T22" fmla="*/ 31 w 152"/>
                <a:gd name="T23" fmla="*/ 47 h 93"/>
                <a:gd name="T24" fmla="*/ 34 w 152"/>
                <a:gd name="T25" fmla="*/ 44 h 93"/>
                <a:gd name="T26" fmla="*/ 53 w 152"/>
                <a:gd name="T27" fmla="*/ 44 h 93"/>
                <a:gd name="T28" fmla="*/ 55 w 152"/>
                <a:gd name="T29" fmla="*/ 41 h 93"/>
                <a:gd name="T30" fmla="*/ 58 w 152"/>
                <a:gd name="T31" fmla="*/ 35 h 93"/>
                <a:gd name="T32" fmla="*/ 64 w 152"/>
                <a:gd name="T33" fmla="*/ 32 h 93"/>
                <a:gd name="T34" fmla="*/ 70 w 152"/>
                <a:gd name="T35" fmla="*/ 31 h 93"/>
                <a:gd name="T36" fmla="*/ 89 w 152"/>
                <a:gd name="T37" fmla="*/ 26 h 93"/>
                <a:gd name="T38" fmla="*/ 97 w 152"/>
                <a:gd name="T39" fmla="*/ 20 h 93"/>
                <a:gd name="T40" fmla="*/ 112 w 152"/>
                <a:gd name="T41" fmla="*/ 2 h 93"/>
                <a:gd name="T42" fmla="*/ 116 w 152"/>
                <a:gd name="T43" fmla="*/ 1 h 93"/>
                <a:gd name="T44" fmla="*/ 110 w 152"/>
                <a:gd name="T45" fmla="*/ 11 h 93"/>
                <a:gd name="T46" fmla="*/ 107 w 152"/>
                <a:gd name="T47" fmla="*/ 16 h 93"/>
                <a:gd name="T48" fmla="*/ 103 w 152"/>
                <a:gd name="T49" fmla="*/ 22 h 93"/>
                <a:gd name="T50" fmla="*/ 97 w 152"/>
                <a:gd name="T51" fmla="*/ 29 h 93"/>
                <a:gd name="T52" fmla="*/ 97 w 152"/>
                <a:gd name="T53" fmla="*/ 31 h 93"/>
                <a:gd name="T54" fmla="*/ 103 w 152"/>
                <a:gd name="T55" fmla="*/ 30 h 93"/>
                <a:gd name="T56" fmla="*/ 103 w 152"/>
                <a:gd name="T57" fmla="*/ 32 h 93"/>
                <a:gd name="T58" fmla="*/ 103 w 152"/>
                <a:gd name="T59" fmla="*/ 35 h 93"/>
                <a:gd name="T60" fmla="*/ 103 w 152"/>
                <a:gd name="T61" fmla="*/ 40 h 93"/>
                <a:gd name="T62" fmla="*/ 109 w 152"/>
                <a:gd name="T63" fmla="*/ 35 h 93"/>
                <a:gd name="T64" fmla="*/ 109 w 152"/>
                <a:gd name="T65" fmla="*/ 29 h 93"/>
                <a:gd name="T66" fmla="*/ 115 w 152"/>
                <a:gd name="T67" fmla="*/ 19 h 93"/>
                <a:gd name="T68" fmla="*/ 124 w 152"/>
                <a:gd name="T69" fmla="*/ 11 h 93"/>
                <a:gd name="T70" fmla="*/ 134 w 152"/>
                <a:gd name="T71" fmla="*/ 11 h 93"/>
                <a:gd name="T72" fmla="*/ 139 w 152"/>
                <a:gd name="T73" fmla="*/ 7 h 93"/>
                <a:gd name="T74" fmla="*/ 148 w 152"/>
                <a:gd name="T75" fmla="*/ 0 h 93"/>
                <a:gd name="T76" fmla="*/ 151 w 152"/>
                <a:gd name="T77" fmla="*/ 2 h 93"/>
                <a:gd name="T78" fmla="*/ 148 w 152"/>
                <a:gd name="T79" fmla="*/ 7 h 93"/>
                <a:gd name="T80" fmla="*/ 134 w 152"/>
                <a:gd name="T81" fmla="*/ 19 h 93"/>
                <a:gd name="T82" fmla="*/ 120 w 152"/>
                <a:gd name="T83" fmla="*/ 30 h 93"/>
                <a:gd name="T84" fmla="*/ 107 w 152"/>
                <a:gd name="T85" fmla="*/ 40 h 93"/>
                <a:gd name="T86" fmla="*/ 97 w 152"/>
                <a:gd name="T87" fmla="*/ 49 h 93"/>
                <a:gd name="T88" fmla="*/ 91 w 152"/>
                <a:gd name="T89" fmla="*/ 53 h 93"/>
                <a:gd name="T90" fmla="*/ 74 w 152"/>
                <a:gd name="T91" fmla="*/ 64 h 93"/>
                <a:gd name="T92" fmla="*/ 71 w 152"/>
                <a:gd name="T93" fmla="*/ 64 h 93"/>
                <a:gd name="T94" fmla="*/ 76 w 152"/>
                <a:gd name="T95" fmla="*/ 59 h 93"/>
                <a:gd name="T96" fmla="*/ 82 w 152"/>
                <a:gd name="T97" fmla="*/ 49 h 93"/>
                <a:gd name="T98" fmla="*/ 67 w 152"/>
                <a:gd name="T99" fmla="*/ 58 h 93"/>
                <a:gd name="T100" fmla="*/ 52 w 152"/>
                <a:gd name="T101" fmla="*/ 64 h 93"/>
                <a:gd name="T102" fmla="*/ 46 w 152"/>
                <a:gd name="T103" fmla="*/ 68 h 93"/>
                <a:gd name="T104" fmla="*/ 37 w 152"/>
                <a:gd name="T105" fmla="*/ 76 h 93"/>
                <a:gd name="T106" fmla="*/ 25 w 152"/>
                <a:gd name="T107" fmla="*/ 85 h 93"/>
                <a:gd name="T108" fmla="*/ 11 w 152"/>
                <a:gd name="T109" fmla="*/ 92 h 93"/>
                <a:gd name="T110" fmla="*/ 11 w 152"/>
                <a:gd name="T111" fmla="*/ 89 h 93"/>
                <a:gd name="T112" fmla="*/ 14 w 152"/>
                <a:gd name="T113" fmla="*/ 86 h 93"/>
                <a:gd name="T114" fmla="*/ 16 w 152"/>
                <a:gd name="T115" fmla="*/ 80 h 93"/>
                <a:gd name="T116" fmla="*/ 5 w 152"/>
                <a:gd name="T117" fmla="*/ 8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2" h="93">
                  <a:moveTo>
                    <a:pt x="5" y="89"/>
                  </a:moveTo>
                  <a:lnTo>
                    <a:pt x="2" y="91"/>
                  </a:lnTo>
                  <a:lnTo>
                    <a:pt x="1" y="92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1" y="77"/>
                  </a:lnTo>
                  <a:lnTo>
                    <a:pt x="2" y="74"/>
                  </a:lnTo>
                  <a:lnTo>
                    <a:pt x="4" y="71"/>
                  </a:lnTo>
                  <a:lnTo>
                    <a:pt x="5" y="70"/>
                  </a:lnTo>
                  <a:lnTo>
                    <a:pt x="7" y="68"/>
                  </a:lnTo>
                  <a:lnTo>
                    <a:pt x="8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3" y="65"/>
                  </a:lnTo>
                  <a:lnTo>
                    <a:pt x="16" y="64"/>
                  </a:lnTo>
                  <a:lnTo>
                    <a:pt x="17" y="61"/>
                  </a:lnTo>
                  <a:lnTo>
                    <a:pt x="19" y="59"/>
                  </a:lnTo>
                  <a:lnTo>
                    <a:pt x="19" y="58"/>
                  </a:lnTo>
                  <a:lnTo>
                    <a:pt x="20" y="55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6" y="49"/>
                  </a:lnTo>
                  <a:lnTo>
                    <a:pt x="29" y="49"/>
                  </a:lnTo>
                  <a:lnTo>
                    <a:pt x="31" y="47"/>
                  </a:lnTo>
                  <a:lnTo>
                    <a:pt x="32" y="46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53" y="44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5" y="41"/>
                  </a:lnTo>
                  <a:lnTo>
                    <a:pt x="55" y="40"/>
                  </a:lnTo>
                  <a:lnTo>
                    <a:pt x="56" y="38"/>
                  </a:lnTo>
                  <a:lnTo>
                    <a:pt x="58" y="35"/>
                  </a:lnTo>
                  <a:lnTo>
                    <a:pt x="59" y="34"/>
                  </a:lnTo>
                  <a:lnTo>
                    <a:pt x="61" y="32"/>
                  </a:lnTo>
                  <a:lnTo>
                    <a:pt x="64" y="32"/>
                  </a:lnTo>
                  <a:lnTo>
                    <a:pt x="67" y="32"/>
                  </a:lnTo>
                  <a:lnTo>
                    <a:pt x="68" y="31"/>
                  </a:lnTo>
                  <a:lnTo>
                    <a:pt x="70" y="31"/>
                  </a:lnTo>
                  <a:lnTo>
                    <a:pt x="79" y="30"/>
                  </a:lnTo>
                  <a:lnTo>
                    <a:pt x="85" y="29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4" y="23"/>
                  </a:lnTo>
                  <a:lnTo>
                    <a:pt x="97" y="20"/>
                  </a:lnTo>
                  <a:lnTo>
                    <a:pt x="100" y="16"/>
                  </a:lnTo>
                  <a:lnTo>
                    <a:pt x="104" y="10"/>
                  </a:lnTo>
                  <a:lnTo>
                    <a:pt x="112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1"/>
                  </a:lnTo>
                  <a:lnTo>
                    <a:pt x="115" y="5"/>
                  </a:lnTo>
                  <a:lnTo>
                    <a:pt x="112" y="8"/>
                  </a:lnTo>
                  <a:lnTo>
                    <a:pt x="110" y="11"/>
                  </a:lnTo>
                  <a:lnTo>
                    <a:pt x="109" y="13"/>
                  </a:lnTo>
                  <a:lnTo>
                    <a:pt x="109" y="14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6" y="17"/>
                  </a:lnTo>
                  <a:lnTo>
                    <a:pt x="103" y="22"/>
                  </a:lnTo>
                  <a:lnTo>
                    <a:pt x="100" y="25"/>
                  </a:lnTo>
                  <a:lnTo>
                    <a:pt x="98" y="28"/>
                  </a:lnTo>
                  <a:lnTo>
                    <a:pt x="97" y="29"/>
                  </a:lnTo>
                  <a:lnTo>
                    <a:pt x="97" y="30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100" y="30"/>
                  </a:lnTo>
                  <a:lnTo>
                    <a:pt x="103" y="30"/>
                  </a:lnTo>
                  <a:lnTo>
                    <a:pt x="103" y="30"/>
                  </a:lnTo>
                  <a:lnTo>
                    <a:pt x="104" y="31"/>
                  </a:lnTo>
                  <a:lnTo>
                    <a:pt x="103" y="32"/>
                  </a:lnTo>
                  <a:lnTo>
                    <a:pt x="103" y="34"/>
                  </a:lnTo>
                  <a:lnTo>
                    <a:pt x="103" y="35"/>
                  </a:lnTo>
                  <a:lnTo>
                    <a:pt x="103" y="35"/>
                  </a:lnTo>
                  <a:lnTo>
                    <a:pt x="101" y="40"/>
                  </a:lnTo>
                  <a:lnTo>
                    <a:pt x="103" y="40"/>
                  </a:lnTo>
                  <a:lnTo>
                    <a:pt x="103" y="40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9" y="35"/>
                  </a:lnTo>
                  <a:lnTo>
                    <a:pt x="112" y="34"/>
                  </a:lnTo>
                  <a:lnTo>
                    <a:pt x="112" y="32"/>
                  </a:lnTo>
                  <a:lnTo>
                    <a:pt x="109" y="29"/>
                  </a:lnTo>
                  <a:lnTo>
                    <a:pt x="109" y="26"/>
                  </a:lnTo>
                  <a:lnTo>
                    <a:pt x="110" y="22"/>
                  </a:lnTo>
                  <a:lnTo>
                    <a:pt x="115" y="19"/>
                  </a:lnTo>
                  <a:lnTo>
                    <a:pt x="118" y="16"/>
                  </a:lnTo>
                  <a:lnTo>
                    <a:pt x="121" y="13"/>
                  </a:lnTo>
                  <a:lnTo>
                    <a:pt x="124" y="11"/>
                  </a:lnTo>
                  <a:lnTo>
                    <a:pt x="126" y="10"/>
                  </a:lnTo>
                  <a:lnTo>
                    <a:pt x="130" y="10"/>
                  </a:lnTo>
                  <a:lnTo>
                    <a:pt x="134" y="11"/>
                  </a:lnTo>
                  <a:lnTo>
                    <a:pt x="136" y="11"/>
                  </a:lnTo>
                  <a:lnTo>
                    <a:pt x="137" y="10"/>
                  </a:lnTo>
                  <a:lnTo>
                    <a:pt x="139" y="7"/>
                  </a:lnTo>
                  <a:lnTo>
                    <a:pt x="140" y="7"/>
                  </a:lnTo>
                  <a:lnTo>
                    <a:pt x="145" y="2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51" y="1"/>
                  </a:lnTo>
                  <a:lnTo>
                    <a:pt x="151" y="2"/>
                  </a:lnTo>
                  <a:lnTo>
                    <a:pt x="149" y="5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43" y="11"/>
                  </a:lnTo>
                  <a:lnTo>
                    <a:pt x="139" y="14"/>
                  </a:lnTo>
                  <a:lnTo>
                    <a:pt x="134" y="19"/>
                  </a:lnTo>
                  <a:lnTo>
                    <a:pt x="130" y="23"/>
                  </a:lnTo>
                  <a:lnTo>
                    <a:pt x="124" y="26"/>
                  </a:lnTo>
                  <a:lnTo>
                    <a:pt x="120" y="30"/>
                  </a:lnTo>
                  <a:lnTo>
                    <a:pt x="116" y="32"/>
                  </a:lnTo>
                  <a:lnTo>
                    <a:pt x="112" y="37"/>
                  </a:lnTo>
                  <a:lnTo>
                    <a:pt x="107" y="40"/>
                  </a:lnTo>
                  <a:lnTo>
                    <a:pt x="103" y="43"/>
                  </a:lnTo>
                  <a:lnTo>
                    <a:pt x="100" y="46"/>
                  </a:lnTo>
                  <a:lnTo>
                    <a:pt x="97" y="49"/>
                  </a:lnTo>
                  <a:lnTo>
                    <a:pt x="94" y="50"/>
                  </a:lnTo>
                  <a:lnTo>
                    <a:pt x="93" y="52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82" y="61"/>
                  </a:lnTo>
                  <a:lnTo>
                    <a:pt x="74" y="64"/>
                  </a:lnTo>
                  <a:lnTo>
                    <a:pt x="71" y="65"/>
                  </a:lnTo>
                  <a:lnTo>
                    <a:pt x="71" y="65"/>
                  </a:lnTo>
                  <a:lnTo>
                    <a:pt x="71" y="64"/>
                  </a:lnTo>
                  <a:lnTo>
                    <a:pt x="73" y="61"/>
                  </a:lnTo>
                  <a:lnTo>
                    <a:pt x="74" y="61"/>
                  </a:lnTo>
                  <a:lnTo>
                    <a:pt x="76" y="59"/>
                  </a:lnTo>
                  <a:lnTo>
                    <a:pt x="82" y="52"/>
                  </a:lnTo>
                  <a:lnTo>
                    <a:pt x="85" y="49"/>
                  </a:lnTo>
                  <a:lnTo>
                    <a:pt x="82" y="49"/>
                  </a:lnTo>
                  <a:lnTo>
                    <a:pt x="79" y="50"/>
                  </a:lnTo>
                  <a:lnTo>
                    <a:pt x="73" y="55"/>
                  </a:lnTo>
                  <a:lnTo>
                    <a:pt x="67" y="58"/>
                  </a:lnTo>
                  <a:lnTo>
                    <a:pt x="62" y="61"/>
                  </a:lnTo>
                  <a:lnTo>
                    <a:pt x="61" y="61"/>
                  </a:lnTo>
                  <a:lnTo>
                    <a:pt x="52" y="64"/>
                  </a:lnTo>
                  <a:lnTo>
                    <a:pt x="52" y="65"/>
                  </a:lnTo>
                  <a:lnTo>
                    <a:pt x="49" y="67"/>
                  </a:lnTo>
                  <a:lnTo>
                    <a:pt x="46" y="68"/>
                  </a:lnTo>
                  <a:lnTo>
                    <a:pt x="43" y="71"/>
                  </a:lnTo>
                  <a:lnTo>
                    <a:pt x="40" y="73"/>
                  </a:lnTo>
                  <a:lnTo>
                    <a:pt x="37" y="76"/>
                  </a:lnTo>
                  <a:lnTo>
                    <a:pt x="34" y="77"/>
                  </a:lnTo>
                  <a:lnTo>
                    <a:pt x="32" y="77"/>
                  </a:lnTo>
                  <a:lnTo>
                    <a:pt x="25" y="85"/>
                  </a:lnTo>
                  <a:lnTo>
                    <a:pt x="17" y="89"/>
                  </a:lnTo>
                  <a:lnTo>
                    <a:pt x="13" y="92"/>
                  </a:lnTo>
                  <a:lnTo>
                    <a:pt x="11" y="92"/>
                  </a:lnTo>
                  <a:lnTo>
                    <a:pt x="10" y="92"/>
                  </a:lnTo>
                  <a:lnTo>
                    <a:pt x="10" y="91"/>
                  </a:lnTo>
                  <a:lnTo>
                    <a:pt x="11" y="89"/>
                  </a:lnTo>
                  <a:lnTo>
                    <a:pt x="11" y="89"/>
                  </a:lnTo>
                  <a:lnTo>
                    <a:pt x="13" y="88"/>
                  </a:lnTo>
                  <a:lnTo>
                    <a:pt x="14" y="86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0"/>
                  </a:lnTo>
                  <a:lnTo>
                    <a:pt x="13" y="82"/>
                  </a:lnTo>
                  <a:lnTo>
                    <a:pt x="10" y="83"/>
                  </a:lnTo>
                  <a:lnTo>
                    <a:pt x="5" y="8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" name="Freeform 94"/>
            <p:cNvSpPr>
              <a:spLocks/>
            </p:cNvSpPr>
            <p:nvPr/>
          </p:nvSpPr>
          <p:spPr bwMode="auto">
            <a:xfrm>
              <a:off x="3397666" y="4476535"/>
              <a:ext cx="101876" cy="62096"/>
            </a:xfrm>
            <a:custGeom>
              <a:avLst/>
              <a:gdLst>
                <a:gd name="T0" fmla="*/ 1 w 152"/>
                <a:gd name="T1" fmla="*/ 92 h 93"/>
                <a:gd name="T2" fmla="*/ 0 w 152"/>
                <a:gd name="T3" fmla="*/ 91 h 93"/>
                <a:gd name="T4" fmla="*/ 0 w 152"/>
                <a:gd name="T5" fmla="*/ 83 h 93"/>
                <a:gd name="T6" fmla="*/ 0 w 152"/>
                <a:gd name="T7" fmla="*/ 80 h 93"/>
                <a:gd name="T8" fmla="*/ 5 w 152"/>
                <a:gd name="T9" fmla="*/ 70 h 93"/>
                <a:gd name="T10" fmla="*/ 10 w 152"/>
                <a:gd name="T11" fmla="*/ 67 h 93"/>
                <a:gd name="T12" fmla="*/ 17 w 152"/>
                <a:gd name="T13" fmla="*/ 61 h 93"/>
                <a:gd name="T14" fmla="*/ 20 w 152"/>
                <a:gd name="T15" fmla="*/ 52 h 93"/>
                <a:gd name="T16" fmla="*/ 22 w 152"/>
                <a:gd name="T17" fmla="*/ 50 h 93"/>
                <a:gd name="T18" fmla="*/ 26 w 152"/>
                <a:gd name="T19" fmla="*/ 49 h 93"/>
                <a:gd name="T20" fmla="*/ 34 w 152"/>
                <a:gd name="T21" fmla="*/ 44 h 93"/>
                <a:gd name="T22" fmla="*/ 53 w 152"/>
                <a:gd name="T23" fmla="*/ 44 h 93"/>
                <a:gd name="T24" fmla="*/ 55 w 152"/>
                <a:gd name="T25" fmla="*/ 41 h 93"/>
                <a:gd name="T26" fmla="*/ 58 w 152"/>
                <a:gd name="T27" fmla="*/ 35 h 93"/>
                <a:gd name="T28" fmla="*/ 67 w 152"/>
                <a:gd name="T29" fmla="*/ 32 h 93"/>
                <a:gd name="T30" fmla="*/ 79 w 152"/>
                <a:gd name="T31" fmla="*/ 30 h 93"/>
                <a:gd name="T32" fmla="*/ 94 w 152"/>
                <a:gd name="T33" fmla="*/ 23 h 93"/>
                <a:gd name="T34" fmla="*/ 104 w 152"/>
                <a:gd name="T35" fmla="*/ 10 h 93"/>
                <a:gd name="T36" fmla="*/ 116 w 152"/>
                <a:gd name="T37" fmla="*/ 1 h 93"/>
                <a:gd name="T38" fmla="*/ 109 w 152"/>
                <a:gd name="T39" fmla="*/ 13 h 93"/>
                <a:gd name="T40" fmla="*/ 107 w 152"/>
                <a:gd name="T41" fmla="*/ 17 h 93"/>
                <a:gd name="T42" fmla="*/ 100 w 152"/>
                <a:gd name="T43" fmla="*/ 25 h 93"/>
                <a:gd name="T44" fmla="*/ 97 w 152"/>
                <a:gd name="T45" fmla="*/ 31 h 93"/>
                <a:gd name="T46" fmla="*/ 100 w 152"/>
                <a:gd name="T47" fmla="*/ 30 h 93"/>
                <a:gd name="T48" fmla="*/ 103 w 152"/>
                <a:gd name="T49" fmla="*/ 32 h 93"/>
                <a:gd name="T50" fmla="*/ 103 w 152"/>
                <a:gd name="T51" fmla="*/ 35 h 93"/>
                <a:gd name="T52" fmla="*/ 104 w 152"/>
                <a:gd name="T53" fmla="*/ 38 h 93"/>
                <a:gd name="T54" fmla="*/ 112 w 152"/>
                <a:gd name="T55" fmla="*/ 34 h 93"/>
                <a:gd name="T56" fmla="*/ 109 w 152"/>
                <a:gd name="T57" fmla="*/ 26 h 93"/>
                <a:gd name="T58" fmla="*/ 121 w 152"/>
                <a:gd name="T59" fmla="*/ 13 h 93"/>
                <a:gd name="T60" fmla="*/ 134 w 152"/>
                <a:gd name="T61" fmla="*/ 11 h 93"/>
                <a:gd name="T62" fmla="*/ 139 w 152"/>
                <a:gd name="T63" fmla="*/ 7 h 93"/>
                <a:gd name="T64" fmla="*/ 148 w 152"/>
                <a:gd name="T65" fmla="*/ 0 h 93"/>
                <a:gd name="T66" fmla="*/ 149 w 152"/>
                <a:gd name="T67" fmla="*/ 5 h 93"/>
                <a:gd name="T68" fmla="*/ 143 w 152"/>
                <a:gd name="T69" fmla="*/ 11 h 93"/>
                <a:gd name="T70" fmla="*/ 124 w 152"/>
                <a:gd name="T71" fmla="*/ 26 h 93"/>
                <a:gd name="T72" fmla="*/ 107 w 152"/>
                <a:gd name="T73" fmla="*/ 40 h 93"/>
                <a:gd name="T74" fmla="*/ 94 w 152"/>
                <a:gd name="T75" fmla="*/ 50 h 93"/>
                <a:gd name="T76" fmla="*/ 91 w 152"/>
                <a:gd name="T77" fmla="*/ 53 h 93"/>
                <a:gd name="T78" fmla="*/ 71 w 152"/>
                <a:gd name="T79" fmla="*/ 65 h 93"/>
                <a:gd name="T80" fmla="*/ 76 w 152"/>
                <a:gd name="T81" fmla="*/ 59 h 93"/>
                <a:gd name="T82" fmla="*/ 82 w 152"/>
                <a:gd name="T83" fmla="*/ 49 h 93"/>
                <a:gd name="T84" fmla="*/ 62 w 152"/>
                <a:gd name="T85" fmla="*/ 61 h 93"/>
                <a:gd name="T86" fmla="*/ 52 w 152"/>
                <a:gd name="T87" fmla="*/ 65 h 93"/>
                <a:gd name="T88" fmla="*/ 40 w 152"/>
                <a:gd name="T89" fmla="*/ 73 h 93"/>
                <a:gd name="T90" fmla="*/ 32 w 152"/>
                <a:gd name="T91" fmla="*/ 77 h 93"/>
                <a:gd name="T92" fmla="*/ 11 w 152"/>
                <a:gd name="T93" fmla="*/ 92 h 93"/>
                <a:gd name="T94" fmla="*/ 11 w 152"/>
                <a:gd name="T95" fmla="*/ 89 h 93"/>
                <a:gd name="T96" fmla="*/ 16 w 152"/>
                <a:gd name="T97" fmla="*/ 83 h 93"/>
                <a:gd name="T98" fmla="*/ 10 w 152"/>
                <a:gd name="T99" fmla="*/ 8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2" h="93">
                  <a:moveTo>
                    <a:pt x="5" y="89"/>
                  </a:moveTo>
                  <a:lnTo>
                    <a:pt x="5" y="89"/>
                  </a:lnTo>
                  <a:lnTo>
                    <a:pt x="2" y="91"/>
                  </a:lnTo>
                  <a:lnTo>
                    <a:pt x="1" y="92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1" y="77"/>
                  </a:lnTo>
                  <a:lnTo>
                    <a:pt x="2" y="74"/>
                  </a:lnTo>
                  <a:lnTo>
                    <a:pt x="4" y="71"/>
                  </a:lnTo>
                  <a:lnTo>
                    <a:pt x="5" y="70"/>
                  </a:lnTo>
                  <a:lnTo>
                    <a:pt x="7" y="68"/>
                  </a:lnTo>
                  <a:lnTo>
                    <a:pt x="8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3" y="65"/>
                  </a:lnTo>
                  <a:lnTo>
                    <a:pt x="16" y="64"/>
                  </a:lnTo>
                  <a:lnTo>
                    <a:pt x="17" y="61"/>
                  </a:lnTo>
                  <a:lnTo>
                    <a:pt x="19" y="59"/>
                  </a:lnTo>
                  <a:lnTo>
                    <a:pt x="19" y="58"/>
                  </a:lnTo>
                  <a:lnTo>
                    <a:pt x="20" y="55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6" y="49"/>
                  </a:lnTo>
                  <a:lnTo>
                    <a:pt x="29" y="49"/>
                  </a:lnTo>
                  <a:lnTo>
                    <a:pt x="31" y="47"/>
                  </a:lnTo>
                  <a:lnTo>
                    <a:pt x="32" y="46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5" y="41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6" y="38"/>
                  </a:lnTo>
                  <a:lnTo>
                    <a:pt x="58" y="35"/>
                  </a:lnTo>
                  <a:lnTo>
                    <a:pt x="59" y="34"/>
                  </a:lnTo>
                  <a:lnTo>
                    <a:pt x="61" y="32"/>
                  </a:lnTo>
                  <a:lnTo>
                    <a:pt x="64" y="32"/>
                  </a:lnTo>
                  <a:lnTo>
                    <a:pt x="67" y="32"/>
                  </a:lnTo>
                  <a:lnTo>
                    <a:pt x="68" y="31"/>
                  </a:lnTo>
                  <a:lnTo>
                    <a:pt x="70" y="31"/>
                  </a:lnTo>
                  <a:lnTo>
                    <a:pt x="70" y="31"/>
                  </a:lnTo>
                  <a:lnTo>
                    <a:pt x="79" y="30"/>
                  </a:lnTo>
                  <a:lnTo>
                    <a:pt x="85" y="29"/>
                  </a:lnTo>
                  <a:lnTo>
                    <a:pt x="89" y="26"/>
                  </a:lnTo>
                  <a:lnTo>
                    <a:pt x="91" y="25"/>
                  </a:lnTo>
                  <a:lnTo>
                    <a:pt x="94" y="23"/>
                  </a:lnTo>
                  <a:lnTo>
                    <a:pt x="97" y="20"/>
                  </a:lnTo>
                  <a:lnTo>
                    <a:pt x="100" y="16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12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1"/>
                  </a:lnTo>
                  <a:lnTo>
                    <a:pt x="115" y="5"/>
                  </a:lnTo>
                  <a:lnTo>
                    <a:pt x="112" y="8"/>
                  </a:lnTo>
                  <a:lnTo>
                    <a:pt x="110" y="11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9" y="14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3" y="22"/>
                  </a:lnTo>
                  <a:lnTo>
                    <a:pt x="100" y="25"/>
                  </a:lnTo>
                  <a:lnTo>
                    <a:pt x="98" y="28"/>
                  </a:lnTo>
                  <a:lnTo>
                    <a:pt x="97" y="29"/>
                  </a:lnTo>
                  <a:lnTo>
                    <a:pt x="97" y="30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100" y="30"/>
                  </a:lnTo>
                  <a:lnTo>
                    <a:pt x="103" y="30"/>
                  </a:lnTo>
                  <a:lnTo>
                    <a:pt x="103" y="30"/>
                  </a:lnTo>
                  <a:lnTo>
                    <a:pt x="104" y="31"/>
                  </a:lnTo>
                  <a:lnTo>
                    <a:pt x="103" y="32"/>
                  </a:lnTo>
                  <a:lnTo>
                    <a:pt x="103" y="34"/>
                  </a:lnTo>
                  <a:lnTo>
                    <a:pt x="103" y="35"/>
                  </a:lnTo>
                  <a:lnTo>
                    <a:pt x="103" y="35"/>
                  </a:lnTo>
                  <a:lnTo>
                    <a:pt x="103" y="35"/>
                  </a:lnTo>
                  <a:lnTo>
                    <a:pt x="101" y="40"/>
                  </a:lnTo>
                  <a:lnTo>
                    <a:pt x="103" y="40"/>
                  </a:lnTo>
                  <a:lnTo>
                    <a:pt x="103" y="40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9" y="35"/>
                  </a:lnTo>
                  <a:lnTo>
                    <a:pt x="112" y="34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9" y="29"/>
                  </a:lnTo>
                  <a:lnTo>
                    <a:pt x="109" y="26"/>
                  </a:lnTo>
                  <a:lnTo>
                    <a:pt x="110" y="22"/>
                  </a:lnTo>
                  <a:lnTo>
                    <a:pt x="115" y="19"/>
                  </a:lnTo>
                  <a:lnTo>
                    <a:pt x="118" y="16"/>
                  </a:lnTo>
                  <a:lnTo>
                    <a:pt x="121" y="13"/>
                  </a:lnTo>
                  <a:lnTo>
                    <a:pt x="124" y="11"/>
                  </a:lnTo>
                  <a:lnTo>
                    <a:pt x="126" y="10"/>
                  </a:lnTo>
                  <a:lnTo>
                    <a:pt x="130" y="10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6" y="11"/>
                  </a:lnTo>
                  <a:lnTo>
                    <a:pt x="137" y="10"/>
                  </a:lnTo>
                  <a:lnTo>
                    <a:pt x="139" y="7"/>
                  </a:lnTo>
                  <a:lnTo>
                    <a:pt x="140" y="7"/>
                  </a:lnTo>
                  <a:lnTo>
                    <a:pt x="140" y="7"/>
                  </a:lnTo>
                  <a:lnTo>
                    <a:pt x="145" y="2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51" y="1"/>
                  </a:lnTo>
                  <a:lnTo>
                    <a:pt x="151" y="2"/>
                  </a:lnTo>
                  <a:lnTo>
                    <a:pt x="149" y="5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43" y="11"/>
                  </a:lnTo>
                  <a:lnTo>
                    <a:pt x="139" y="14"/>
                  </a:lnTo>
                  <a:lnTo>
                    <a:pt x="134" y="19"/>
                  </a:lnTo>
                  <a:lnTo>
                    <a:pt x="130" y="23"/>
                  </a:lnTo>
                  <a:lnTo>
                    <a:pt x="124" y="26"/>
                  </a:lnTo>
                  <a:lnTo>
                    <a:pt x="120" y="30"/>
                  </a:lnTo>
                  <a:lnTo>
                    <a:pt x="116" y="32"/>
                  </a:lnTo>
                  <a:lnTo>
                    <a:pt x="112" y="37"/>
                  </a:lnTo>
                  <a:lnTo>
                    <a:pt x="107" y="40"/>
                  </a:lnTo>
                  <a:lnTo>
                    <a:pt x="103" y="43"/>
                  </a:lnTo>
                  <a:lnTo>
                    <a:pt x="100" y="46"/>
                  </a:lnTo>
                  <a:lnTo>
                    <a:pt x="97" y="49"/>
                  </a:lnTo>
                  <a:lnTo>
                    <a:pt x="94" y="50"/>
                  </a:lnTo>
                  <a:lnTo>
                    <a:pt x="93" y="52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82" y="61"/>
                  </a:lnTo>
                  <a:lnTo>
                    <a:pt x="74" y="64"/>
                  </a:lnTo>
                  <a:lnTo>
                    <a:pt x="71" y="65"/>
                  </a:lnTo>
                  <a:lnTo>
                    <a:pt x="71" y="65"/>
                  </a:lnTo>
                  <a:lnTo>
                    <a:pt x="71" y="64"/>
                  </a:lnTo>
                  <a:lnTo>
                    <a:pt x="73" y="61"/>
                  </a:lnTo>
                  <a:lnTo>
                    <a:pt x="74" y="61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82" y="52"/>
                  </a:lnTo>
                  <a:lnTo>
                    <a:pt x="85" y="49"/>
                  </a:lnTo>
                  <a:lnTo>
                    <a:pt x="82" y="49"/>
                  </a:lnTo>
                  <a:lnTo>
                    <a:pt x="79" y="50"/>
                  </a:lnTo>
                  <a:lnTo>
                    <a:pt x="73" y="55"/>
                  </a:lnTo>
                  <a:lnTo>
                    <a:pt x="67" y="58"/>
                  </a:lnTo>
                  <a:lnTo>
                    <a:pt x="62" y="61"/>
                  </a:lnTo>
                  <a:lnTo>
                    <a:pt x="61" y="61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5"/>
                  </a:lnTo>
                  <a:lnTo>
                    <a:pt x="49" y="67"/>
                  </a:lnTo>
                  <a:lnTo>
                    <a:pt x="46" y="68"/>
                  </a:lnTo>
                  <a:lnTo>
                    <a:pt x="43" y="71"/>
                  </a:lnTo>
                  <a:lnTo>
                    <a:pt x="40" y="73"/>
                  </a:lnTo>
                  <a:lnTo>
                    <a:pt x="37" y="76"/>
                  </a:lnTo>
                  <a:lnTo>
                    <a:pt x="34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25" y="85"/>
                  </a:lnTo>
                  <a:lnTo>
                    <a:pt x="17" y="89"/>
                  </a:lnTo>
                  <a:lnTo>
                    <a:pt x="13" y="92"/>
                  </a:lnTo>
                  <a:lnTo>
                    <a:pt x="11" y="92"/>
                  </a:lnTo>
                  <a:lnTo>
                    <a:pt x="10" y="92"/>
                  </a:lnTo>
                  <a:lnTo>
                    <a:pt x="10" y="91"/>
                  </a:lnTo>
                  <a:lnTo>
                    <a:pt x="11" y="89"/>
                  </a:lnTo>
                  <a:lnTo>
                    <a:pt x="11" y="89"/>
                  </a:lnTo>
                  <a:lnTo>
                    <a:pt x="11" y="89"/>
                  </a:lnTo>
                  <a:lnTo>
                    <a:pt x="13" y="88"/>
                  </a:lnTo>
                  <a:lnTo>
                    <a:pt x="14" y="86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0"/>
                  </a:lnTo>
                  <a:lnTo>
                    <a:pt x="13" y="82"/>
                  </a:lnTo>
                  <a:lnTo>
                    <a:pt x="10" y="83"/>
                  </a:lnTo>
                  <a:lnTo>
                    <a:pt x="5" y="8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" name="Freeform 95"/>
            <p:cNvSpPr>
              <a:spLocks/>
            </p:cNvSpPr>
            <p:nvPr/>
          </p:nvSpPr>
          <p:spPr bwMode="auto">
            <a:xfrm>
              <a:off x="3331357" y="4492059"/>
              <a:ext cx="75352" cy="170764"/>
            </a:xfrm>
            <a:custGeom>
              <a:avLst/>
              <a:gdLst>
                <a:gd name="T0" fmla="*/ 10 w 112"/>
                <a:gd name="T1" fmla="*/ 170 h 255"/>
                <a:gd name="T2" fmla="*/ 20 w 112"/>
                <a:gd name="T3" fmla="*/ 161 h 255"/>
                <a:gd name="T4" fmla="*/ 27 w 112"/>
                <a:gd name="T5" fmla="*/ 158 h 255"/>
                <a:gd name="T6" fmla="*/ 33 w 112"/>
                <a:gd name="T7" fmla="*/ 144 h 255"/>
                <a:gd name="T8" fmla="*/ 41 w 112"/>
                <a:gd name="T9" fmla="*/ 134 h 255"/>
                <a:gd name="T10" fmla="*/ 49 w 112"/>
                <a:gd name="T11" fmla="*/ 130 h 255"/>
                <a:gd name="T12" fmla="*/ 50 w 112"/>
                <a:gd name="T13" fmla="*/ 123 h 255"/>
                <a:gd name="T14" fmla="*/ 47 w 112"/>
                <a:gd name="T15" fmla="*/ 119 h 255"/>
                <a:gd name="T16" fmla="*/ 41 w 112"/>
                <a:gd name="T17" fmla="*/ 116 h 255"/>
                <a:gd name="T18" fmla="*/ 27 w 112"/>
                <a:gd name="T19" fmla="*/ 102 h 255"/>
                <a:gd name="T20" fmla="*/ 17 w 112"/>
                <a:gd name="T21" fmla="*/ 95 h 255"/>
                <a:gd name="T22" fmla="*/ 2 w 112"/>
                <a:gd name="T23" fmla="*/ 78 h 255"/>
                <a:gd name="T24" fmla="*/ 5 w 112"/>
                <a:gd name="T25" fmla="*/ 64 h 255"/>
                <a:gd name="T26" fmla="*/ 0 w 112"/>
                <a:gd name="T27" fmla="*/ 47 h 255"/>
                <a:gd name="T28" fmla="*/ 24 w 112"/>
                <a:gd name="T29" fmla="*/ 0 h 255"/>
                <a:gd name="T30" fmla="*/ 96 w 112"/>
                <a:gd name="T31" fmla="*/ 50 h 255"/>
                <a:gd name="T32" fmla="*/ 91 w 112"/>
                <a:gd name="T33" fmla="*/ 64 h 255"/>
                <a:gd name="T34" fmla="*/ 91 w 112"/>
                <a:gd name="T35" fmla="*/ 72 h 255"/>
                <a:gd name="T36" fmla="*/ 82 w 112"/>
                <a:gd name="T37" fmla="*/ 80 h 255"/>
                <a:gd name="T38" fmla="*/ 96 w 112"/>
                <a:gd name="T39" fmla="*/ 86 h 255"/>
                <a:gd name="T40" fmla="*/ 101 w 112"/>
                <a:gd name="T41" fmla="*/ 84 h 255"/>
                <a:gd name="T42" fmla="*/ 102 w 112"/>
                <a:gd name="T43" fmla="*/ 81 h 255"/>
                <a:gd name="T44" fmla="*/ 104 w 112"/>
                <a:gd name="T45" fmla="*/ 80 h 255"/>
                <a:gd name="T46" fmla="*/ 107 w 112"/>
                <a:gd name="T47" fmla="*/ 83 h 255"/>
                <a:gd name="T48" fmla="*/ 108 w 112"/>
                <a:gd name="T49" fmla="*/ 90 h 255"/>
                <a:gd name="T50" fmla="*/ 108 w 112"/>
                <a:gd name="T51" fmla="*/ 107 h 255"/>
                <a:gd name="T52" fmla="*/ 108 w 112"/>
                <a:gd name="T53" fmla="*/ 119 h 255"/>
                <a:gd name="T54" fmla="*/ 108 w 112"/>
                <a:gd name="T55" fmla="*/ 123 h 255"/>
                <a:gd name="T56" fmla="*/ 108 w 112"/>
                <a:gd name="T57" fmla="*/ 127 h 255"/>
                <a:gd name="T58" fmla="*/ 111 w 112"/>
                <a:gd name="T59" fmla="*/ 135 h 255"/>
                <a:gd name="T60" fmla="*/ 111 w 112"/>
                <a:gd name="T61" fmla="*/ 146 h 255"/>
                <a:gd name="T62" fmla="*/ 111 w 112"/>
                <a:gd name="T63" fmla="*/ 155 h 255"/>
                <a:gd name="T64" fmla="*/ 110 w 112"/>
                <a:gd name="T65" fmla="*/ 153 h 255"/>
                <a:gd name="T66" fmla="*/ 107 w 112"/>
                <a:gd name="T67" fmla="*/ 137 h 255"/>
                <a:gd name="T68" fmla="*/ 104 w 112"/>
                <a:gd name="T69" fmla="*/ 127 h 255"/>
                <a:gd name="T70" fmla="*/ 101 w 112"/>
                <a:gd name="T71" fmla="*/ 127 h 255"/>
                <a:gd name="T72" fmla="*/ 104 w 112"/>
                <a:gd name="T73" fmla="*/ 141 h 255"/>
                <a:gd name="T74" fmla="*/ 104 w 112"/>
                <a:gd name="T75" fmla="*/ 147 h 255"/>
                <a:gd name="T76" fmla="*/ 104 w 112"/>
                <a:gd name="T77" fmla="*/ 158 h 255"/>
                <a:gd name="T78" fmla="*/ 104 w 112"/>
                <a:gd name="T79" fmla="*/ 160 h 255"/>
                <a:gd name="T80" fmla="*/ 104 w 112"/>
                <a:gd name="T81" fmla="*/ 163 h 255"/>
                <a:gd name="T82" fmla="*/ 101 w 112"/>
                <a:gd name="T83" fmla="*/ 170 h 255"/>
                <a:gd name="T84" fmla="*/ 98 w 112"/>
                <a:gd name="T85" fmla="*/ 176 h 255"/>
                <a:gd name="T86" fmla="*/ 93 w 112"/>
                <a:gd name="T87" fmla="*/ 185 h 255"/>
                <a:gd name="T88" fmla="*/ 92 w 112"/>
                <a:gd name="T89" fmla="*/ 194 h 255"/>
                <a:gd name="T90" fmla="*/ 88 w 112"/>
                <a:gd name="T91" fmla="*/ 201 h 255"/>
                <a:gd name="T92" fmla="*/ 80 w 112"/>
                <a:gd name="T93" fmla="*/ 210 h 255"/>
                <a:gd name="T94" fmla="*/ 82 w 112"/>
                <a:gd name="T95" fmla="*/ 216 h 255"/>
                <a:gd name="T96" fmla="*/ 74 w 112"/>
                <a:gd name="T97" fmla="*/ 245 h 255"/>
                <a:gd name="T98" fmla="*/ 65 w 112"/>
                <a:gd name="T99" fmla="*/ 254 h 255"/>
                <a:gd name="T100" fmla="*/ 60 w 112"/>
                <a:gd name="T101" fmla="*/ 249 h 255"/>
                <a:gd name="T102" fmla="*/ 62 w 112"/>
                <a:gd name="T103" fmla="*/ 240 h 255"/>
                <a:gd name="T104" fmla="*/ 63 w 112"/>
                <a:gd name="T105" fmla="*/ 233 h 255"/>
                <a:gd name="T106" fmla="*/ 55 w 112"/>
                <a:gd name="T107" fmla="*/ 228 h 255"/>
                <a:gd name="T108" fmla="*/ 41 w 112"/>
                <a:gd name="T109" fmla="*/ 234 h 255"/>
                <a:gd name="T110" fmla="*/ 37 w 112"/>
                <a:gd name="T111" fmla="*/ 228 h 255"/>
                <a:gd name="T112" fmla="*/ 29 w 112"/>
                <a:gd name="T113" fmla="*/ 224 h 255"/>
                <a:gd name="T114" fmla="*/ 20 w 112"/>
                <a:gd name="T115" fmla="*/ 221 h 255"/>
                <a:gd name="T116" fmla="*/ 5 w 112"/>
                <a:gd name="T117" fmla="*/ 209 h 255"/>
                <a:gd name="T118" fmla="*/ 2 w 112"/>
                <a:gd name="T119" fmla="*/ 200 h 255"/>
                <a:gd name="T120" fmla="*/ 1 w 112"/>
                <a:gd name="T121" fmla="*/ 191 h 255"/>
                <a:gd name="T122" fmla="*/ 2 w 112"/>
                <a:gd name="T123" fmla="*/ 185 h 255"/>
                <a:gd name="T124" fmla="*/ 11 w 112"/>
                <a:gd name="T125" fmla="*/ 17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2" h="255">
                  <a:moveTo>
                    <a:pt x="7" y="173"/>
                  </a:moveTo>
                  <a:lnTo>
                    <a:pt x="7" y="171"/>
                  </a:lnTo>
                  <a:lnTo>
                    <a:pt x="10" y="170"/>
                  </a:lnTo>
                  <a:lnTo>
                    <a:pt x="13" y="167"/>
                  </a:lnTo>
                  <a:lnTo>
                    <a:pt x="17" y="164"/>
                  </a:lnTo>
                  <a:lnTo>
                    <a:pt x="20" y="161"/>
                  </a:lnTo>
                  <a:lnTo>
                    <a:pt x="24" y="160"/>
                  </a:lnTo>
                  <a:lnTo>
                    <a:pt x="26" y="158"/>
                  </a:lnTo>
                  <a:lnTo>
                    <a:pt x="27" y="158"/>
                  </a:lnTo>
                  <a:lnTo>
                    <a:pt x="27" y="153"/>
                  </a:lnTo>
                  <a:lnTo>
                    <a:pt x="30" y="149"/>
                  </a:lnTo>
                  <a:lnTo>
                    <a:pt x="33" y="144"/>
                  </a:lnTo>
                  <a:lnTo>
                    <a:pt x="36" y="140"/>
                  </a:lnTo>
                  <a:lnTo>
                    <a:pt x="38" y="137"/>
                  </a:lnTo>
                  <a:lnTo>
                    <a:pt x="41" y="134"/>
                  </a:lnTo>
                  <a:lnTo>
                    <a:pt x="44" y="132"/>
                  </a:lnTo>
                  <a:lnTo>
                    <a:pt x="46" y="131"/>
                  </a:lnTo>
                  <a:lnTo>
                    <a:pt x="49" y="130"/>
                  </a:lnTo>
                  <a:lnTo>
                    <a:pt x="50" y="127"/>
                  </a:lnTo>
                  <a:lnTo>
                    <a:pt x="50" y="126"/>
                  </a:lnTo>
                  <a:lnTo>
                    <a:pt x="50" y="123"/>
                  </a:lnTo>
                  <a:lnTo>
                    <a:pt x="49" y="122"/>
                  </a:lnTo>
                  <a:lnTo>
                    <a:pt x="47" y="120"/>
                  </a:lnTo>
                  <a:lnTo>
                    <a:pt x="47" y="119"/>
                  </a:lnTo>
                  <a:lnTo>
                    <a:pt x="46" y="119"/>
                  </a:lnTo>
                  <a:lnTo>
                    <a:pt x="44" y="117"/>
                  </a:lnTo>
                  <a:lnTo>
                    <a:pt x="41" y="116"/>
                  </a:lnTo>
                  <a:lnTo>
                    <a:pt x="37" y="111"/>
                  </a:lnTo>
                  <a:lnTo>
                    <a:pt x="33" y="107"/>
                  </a:lnTo>
                  <a:lnTo>
                    <a:pt x="27" y="102"/>
                  </a:lnTo>
                  <a:lnTo>
                    <a:pt x="23" y="98"/>
                  </a:lnTo>
                  <a:lnTo>
                    <a:pt x="19" y="95"/>
                  </a:lnTo>
                  <a:lnTo>
                    <a:pt x="17" y="95"/>
                  </a:lnTo>
                  <a:lnTo>
                    <a:pt x="8" y="90"/>
                  </a:lnTo>
                  <a:lnTo>
                    <a:pt x="4" y="84"/>
                  </a:lnTo>
                  <a:lnTo>
                    <a:pt x="2" y="78"/>
                  </a:lnTo>
                  <a:lnTo>
                    <a:pt x="2" y="72"/>
                  </a:lnTo>
                  <a:lnTo>
                    <a:pt x="4" y="68"/>
                  </a:lnTo>
                  <a:lnTo>
                    <a:pt x="5" y="64"/>
                  </a:lnTo>
                  <a:lnTo>
                    <a:pt x="7" y="62"/>
                  </a:lnTo>
                  <a:lnTo>
                    <a:pt x="8" y="62"/>
                  </a:lnTo>
                  <a:lnTo>
                    <a:pt x="0" y="47"/>
                  </a:lnTo>
                  <a:lnTo>
                    <a:pt x="14" y="26"/>
                  </a:lnTo>
                  <a:lnTo>
                    <a:pt x="20" y="6"/>
                  </a:lnTo>
                  <a:lnTo>
                    <a:pt x="24" y="0"/>
                  </a:lnTo>
                  <a:lnTo>
                    <a:pt x="96" y="23"/>
                  </a:lnTo>
                  <a:lnTo>
                    <a:pt x="98" y="50"/>
                  </a:lnTo>
                  <a:lnTo>
                    <a:pt x="96" y="50"/>
                  </a:lnTo>
                  <a:lnTo>
                    <a:pt x="89" y="63"/>
                  </a:lnTo>
                  <a:lnTo>
                    <a:pt x="89" y="64"/>
                  </a:lnTo>
                  <a:lnTo>
                    <a:pt x="91" y="64"/>
                  </a:lnTo>
                  <a:lnTo>
                    <a:pt x="91" y="67"/>
                  </a:lnTo>
                  <a:lnTo>
                    <a:pt x="91" y="69"/>
                  </a:lnTo>
                  <a:lnTo>
                    <a:pt x="91" y="72"/>
                  </a:lnTo>
                  <a:lnTo>
                    <a:pt x="89" y="75"/>
                  </a:lnTo>
                  <a:lnTo>
                    <a:pt x="86" y="78"/>
                  </a:lnTo>
                  <a:lnTo>
                    <a:pt x="82" y="80"/>
                  </a:lnTo>
                  <a:lnTo>
                    <a:pt x="80" y="84"/>
                  </a:lnTo>
                  <a:lnTo>
                    <a:pt x="96" y="84"/>
                  </a:lnTo>
                  <a:lnTo>
                    <a:pt x="96" y="86"/>
                  </a:lnTo>
                  <a:lnTo>
                    <a:pt x="99" y="87"/>
                  </a:lnTo>
                  <a:lnTo>
                    <a:pt x="101" y="87"/>
                  </a:lnTo>
                  <a:lnTo>
                    <a:pt x="101" y="84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2" y="81"/>
                  </a:lnTo>
                  <a:lnTo>
                    <a:pt x="102" y="81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5" y="80"/>
                  </a:lnTo>
                  <a:lnTo>
                    <a:pt x="105" y="81"/>
                  </a:lnTo>
                  <a:lnTo>
                    <a:pt x="107" y="83"/>
                  </a:lnTo>
                  <a:lnTo>
                    <a:pt x="107" y="84"/>
                  </a:lnTo>
                  <a:lnTo>
                    <a:pt x="107" y="87"/>
                  </a:lnTo>
                  <a:lnTo>
                    <a:pt x="108" y="90"/>
                  </a:lnTo>
                  <a:lnTo>
                    <a:pt x="108" y="95"/>
                  </a:lnTo>
                  <a:lnTo>
                    <a:pt x="108" y="100"/>
                  </a:lnTo>
                  <a:lnTo>
                    <a:pt x="108" y="107"/>
                  </a:lnTo>
                  <a:lnTo>
                    <a:pt x="107" y="116"/>
                  </a:lnTo>
                  <a:lnTo>
                    <a:pt x="107" y="117"/>
                  </a:lnTo>
                  <a:lnTo>
                    <a:pt x="108" y="119"/>
                  </a:lnTo>
                  <a:lnTo>
                    <a:pt x="108" y="120"/>
                  </a:lnTo>
                  <a:lnTo>
                    <a:pt x="108" y="122"/>
                  </a:lnTo>
                  <a:lnTo>
                    <a:pt x="108" y="123"/>
                  </a:lnTo>
                  <a:lnTo>
                    <a:pt x="108" y="125"/>
                  </a:lnTo>
                  <a:lnTo>
                    <a:pt x="108" y="126"/>
                  </a:lnTo>
                  <a:lnTo>
                    <a:pt x="108" y="127"/>
                  </a:lnTo>
                  <a:lnTo>
                    <a:pt x="110" y="128"/>
                  </a:lnTo>
                  <a:lnTo>
                    <a:pt x="110" y="131"/>
                  </a:lnTo>
                  <a:lnTo>
                    <a:pt x="111" y="135"/>
                  </a:lnTo>
                  <a:lnTo>
                    <a:pt x="111" y="138"/>
                  </a:lnTo>
                  <a:lnTo>
                    <a:pt x="111" y="143"/>
                  </a:lnTo>
                  <a:lnTo>
                    <a:pt x="111" y="146"/>
                  </a:lnTo>
                  <a:lnTo>
                    <a:pt x="111" y="150"/>
                  </a:lnTo>
                  <a:lnTo>
                    <a:pt x="111" y="152"/>
                  </a:lnTo>
                  <a:lnTo>
                    <a:pt x="111" y="155"/>
                  </a:lnTo>
                  <a:lnTo>
                    <a:pt x="111" y="155"/>
                  </a:lnTo>
                  <a:lnTo>
                    <a:pt x="111" y="155"/>
                  </a:lnTo>
                  <a:lnTo>
                    <a:pt x="110" y="153"/>
                  </a:lnTo>
                  <a:lnTo>
                    <a:pt x="108" y="150"/>
                  </a:lnTo>
                  <a:lnTo>
                    <a:pt x="108" y="144"/>
                  </a:lnTo>
                  <a:lnTo>
                    <a:pt x="107" y="137"/>
                  </a:lnTo>
                  <a:lnTo>
                    <a:pt x="105" y="128"/>
                  </a:lnTo>
                  <a:lnTo>
                    <a:pt x="105" y="127"/>
                  </a:lnTo>
                  <a:lnTo>
                    <a:pt x="104" y="127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101" y="127"/>
                  </a:lnTo>
                  <a:lnTo>
                    <a:pt x="101" y="130"/>
                  </a:lnTo>
                  <a:lnTo>
                    <a:pt x="102" y="134"/>
                  </a:lnTo>
                  <a:lnTo>
                    <a:pt x="104" y="141"/>
                  </a:lnTo>
                  <a:lnTo>
                    <a:pt x="104" y="143"/>
                  </a:lnTo>
                  <a:lnTo>
                    <a:pt x="104" y="144"/>
                  </a:lnTo>
                  <a:lnTo>
                    <a:pt x="104" y="147"/>
                  </a:lnTo>
                  <a:lnTo>
                    <a:pt x="104" y="150"/>
                  </a:lnTo>
                  <a:lnTo>
                    <a:pt x="104" y="155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4" y="160"/>
                  </a:lnTo>
                  <a:lnTo>
                    <a:pt x="104" y="160"/>
                  </a:lnTo>
                  <a:lnTo>
                    <a:pt x="104" y="160"/>
                  </a:lnTo>
                  <a:lnTo>
                    <a:pt x="104" y="161"/>
                  </a:lnTo>
                  <a:lnTo>
                    <a:pt x="104" y="163"/>
                  </a:lnTo>
                  <a:lnTo>
                    <a:pt x="104" y="165"/>
                  </a:lnTo>
                  <a:lnTo>
                    <a:pt x="104" y="167"/>
                  </a:lnTo>
                  <a:lnTo>
                    <a:pt x="101" y="170"/>
                  </a:lnTo>
                  <a:lnTo>
                    <a:pt x="99" y="173"/>
                  </a:lnTo>
                  <a:lnTo>
                    <a:pt x="99" y="174"/>
                  </a:lnTo>
                  <a:lnTo>
                    <a:pt x="98" y="176"/>
                  </a:lnTo>
                  <a:lnTo>
                    <a:pt x="98" y="179"/>
                  </a:lnTo>
                  <a:lnTo>
                    <a:pt x="98" y="180"/>
                  </a:lnTo>
                  <a:lnTo>
                    <a:pt x="93" y="185"/>
                  </a:lnTo>
                  <a:lnTo>
                    <a:pt x="92" y="191"/>
                  </a:lnTo>
                  <a:lnTo>
                    <a:pt x="92" y="193"/>
                  </a:lnTo>
                  <a:lnTo>
                    <a:pt x="92" y="194"/>
                  </a:lnTo>
                  <a:lnTo>
                    <a:pt x="91" y="195"/>
                  </a:lnTo>
                  <a:lnTo>
                    <a:pt x="89" y="198"/>
                  </a:lnTo>
                  <a:lnTo>
                    <a:pt x="88" y="201"/>
                  </a:lnTo>
                  <a:lnTo>
                    <a:pt x="85" y="206"/>
                  </a:lnTo>
                  <a:lnTo>
                    <a:pt x="83" y="209"/>
                  </a:lnTo>
                  <a:lnTo>
                    <a:pt x="80" y="210"/>
                  </a:lnTo>
                  <a:lnTo>
                    <a:pt x="80" y="212"/>
                  </a:lnTo>
                  <a:lnTo>
                    <a:pt x="82" y="215"/>
                  </a:lnTo>
                  <a:lnTo>
                    <a:pt x="82" y="216"/>
                  </a:lnTo>
                  <a:lnTo>
                    <a:pt x="82" y="218"/>
                  </a:lnTo>
                  <a:lnTo>
                    <a:pt x="76" y="237"/>
                  </a:lnTo>
                  <a:lnTo>
                    <a:pt x="74" y="245"/>
                  </a:lnTo>
                  <a:lnTo>
                    <a:pt x="71" y="251"/>
                  </a:lnTo>
                  <a:lnTo>
                    <a:pt x="68" y="254"/>
                  </a:lnTo>
                  <a:lnTo>
                    <a:pt x="65" y="254"/>
                  </a:lnTo>
                  <a:lnTo>
                    <a:pt x="63" y="254"/>
                  </a:lnTo>
                  <a:lnTo>
                    <a:pt x="62" y="251"/>
                  </a:lnTo>
                  <a:lnTo>
                    <a:pt x="60" y="249"/>
                  </a:lnTo>
                  <a:lnTo>
                    <a:pt x="60" y="245"/>
                  </a:lnTo>
                  <a:lnTo>
                    <a:pt x="62" y="242"/>
                  </a:lnTo>
                  <a:lnTo>
                    <a:pt x="62" y="240"/>
                  </a:lnTo>
                  <a:lnTo>
                    <a:pt x="63" y="239"/>
                  </a:lnTo>
                  <a:lnTo>
                    <a:pt x="63" y="236"/>
                  </a:lnTo>
                  <a:lnTo>
                    <a:pt x="63" y="233"/>
                  </a:lnTo>
                  <a:lnTo>
                    <a:pt x="62" y="230"/>
                  </a:lnTo>
                  <a:lnTo>
                    <a:pt x="59" y="228"/>
                  </a:lnTo>
                  <a:lnTo>
                    <a:pt x="55" y="228"/>
                  </a:lnTo>
                  <a:lnTo>
                    <a:pt x="47" y="230"/>
                  </a:lnTo>
                  <a:lnTo>
                    <a:pt x="41" y="234"/>
                  </a:lnTo>
                  <a:lnTo>
                    <a:pt x="41" y="234"/>
                  </a:lnTo>
                  <a:lnTo>
                    <a:pt x="41" y="233"/>
                  </a:lnTo>
                  <a:lnTo>
                    <a:pt x="40" y="231"/>
                  </a:lnTo>
                  <a:lnTo>
                    <a:pt x="37" y="228"/>
                  </a:lnTo>
                  <a:lnTo>
                    <a:pt x="36" y="227"/>
                  </a:lnTo>
                  <a:lnTo>
                    <a:pt x="33" y="224"/>
                  </a:lnTo>
                  <a:lnTo>
                    <a:pt x="29" y="224"/>
                  </a:lnTo>
                  <a:lnTo>
                    <a:pt x="24" y="223"/>
                  </a:lnTo>
                  <a:lnTo>
                    <a:pt x="23" y="222"/>
                  </a:lnTo>
                  <a:lnTo>
                    <a:pt x="20" y="221"/>
                  </a:lnTo>
                  <a:lnTo>
                    <a:pt x="17" y="218"/>
                  </a:lnTo>
                  <a:lnTo>
                    <a:pt x="16" y="216"/>
                  </a:lnTo>
                  <a:lnTo>
                    <a:pt x="5" y="209"/>
                  </a:lnTo>
                  <a:lnTo>
                    <a:pt x="5" y="201"/>
                  </a:lnTo>
                  <a:lnTo>
                    <a:pt x="2" y="200"/>
                  </a:lnTo>
                  <a:lnTo>
                    <a:pt x="2" y="200"/>
                  </a:lnTo>
                  <a:lnTo>
                    <a:pt x="1" y="197"/>
                  </a:lnTo>
                  <a:lnTo>
                    <a:pt x="1" y="194"/>
                  </a:lnTo>
                  <a:lnTo>
                    <a:pt x="1" y="191"/>
                  </a:lnTo>
                  <a:lnTo>
                    <a:pt x="1" y="189"/>
                  </a:lnTo>
                  <a:lnTo>
                    <a:pt x="1" y="186"/>
                  </a:lnTo>
                  <a:lnTo>
                    <a:pt x="2" y="185"/>
                  </a:lnTo>
                  <a:lnTo>
                    <a:pt x="4" y="183"/>
                  </a:lnTo>
                  <a:lnTo>
                    <a:pt x="10" y="176"/>
                  </a:lnTo>
                  <a:lnTo>
                    <a:pt x="11" y="173"/>
                  </a:lnTo>
                  <a:lnTo>
                    <a:pt x="7" y="173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" name="Freeform 96"/>
            <p:cNvSpPr>
              <a:spLocks/>
            </p:cNvSpPr>
            <p:nvPr/>
          </p:nvSpPr>
          <p:spPr bwMode="auto">
            <a:xfrm>
              <a:off x="3331357" y="4492059"/>
              <a:ext cx="75352" cy="170764"/>
            </a:xfrm>
            <a:custGeom>
              <a:avLst/>
              <a:gdLst>
                <a:gd name="T0" fmla="*/ 10 w 112"/>
                <a:gd name="T1" fmla="*/ 170 h 255"/>
                <a:gd name="T2" fmla="*/ 24 w 112"/>
                <a:gd name="T3" fmla="*/ 160 h 255"/>
                <a:gd name="T4" fmla="*/ 27 w 112"/>
                <a:gd name="T5" fmla="*/ 153 h 255"/>
                <a:gd name="T6" fmla="*/ 38 w 112"/>
                <a:gd name="T7" fmla="*/ 137 h 255"/>
                <a:gd name="T8" fmla="*/ 46 w 112"/>
                <a:gd name="T9" fmla="*/ 131 h 255"/>
                <a:gd name="T10" fmla="*/ 50 w 112"/>
                <a:gd name="T11" fmla="*/ 123 h 255"/>
                <a:gd name="T12" fmla="*/ 46 w 112"/>
                <a:gd name="T13" fmla="*/ 119 h 255"/>
                <a:gd name="T14" fmla="*/ 37 w 112"/>
                <a:gd name="T15" fmla="*/ 111 h 255"/>
                <a:gd name="T16" fmla="*/ 19 w 112"/>
                <a:gd name="T17" fmla="*/ 95 h 255"/>
                <a:gd name="T18" fmla="*/ 4 w 112"/>
                <a:gd name="T19" fmla="*/ 84 h 255"/>
                <a:gd name="T20" fmla="*/ 5 w 112"/>
                <a:gd name="T21" fmla="*/ 64 h 255"/>
                <a:gd name="T22" fmla="*/ 14 w 112"/>
                <a:gd name="T23" fmla="*/ 26 h 255"/>
                <a:gd name="T24" fmla="*/ 98 w 112"/>
                <a:gd name="T25" fmla="*/ 50 h 255"/>
                <a:gd name="T26" fmla="*/ 89 w 112"/>
                <a:gd name="T27" fmla="*/ 64 h 255"/>
                <a:gd name="T28" fmla="*/ 91 w 112"/>
                <a:gd name="T29" fmla="*/ 72 h 255"/>
                <a:gd name="T30" fmla="*/ 80 w 112"/>
                <a:gd name="T31" fmla="*/ 84 h 255"/>
                <a:gd name="T32" fmla="*/ 99 w 112"/>
                <a:gd name="T33" fmla="*/ 87 h 255"/>
                <a:gd name="T34" fmla="*/ 101 w 112"/>
                <a:gd name="T35" fmla="*/ 83 h 255"/>
                <a:gd name="T36" fmla="*/ 104 w 112"/>
                <a:gd name="T37" fmla="*/ 80 h 255"/>
                <a:gd name="T38" fmla="*/ 107 w 112"/>
                <a:gd name="T39" fmla="*/ 83 h 255"/>
                <a:gd name="T40" fmla="*/ 108 w 112"/>
                <a:gd name="T41" fmla="*/ 95 h 255"/>
                <a:gd name="T42" fmla="*/ 107 w 112"/>
                <a:gd name="T43" fmla="*/ 116 h 255"/>
                <a:gd name="T44" fmla="*/ 108 w 112"/>
                <a:gd name="T45" fmla="*/ 122 h 255"/>
                <a:gd name="T46" fmla="*/ 108 w 112"/>
                <a:gd name="T47" fmla="*/ 127 h 255"/>
                <a:gd name="T48" fmla="*/ 111 w 112"/>
                <a:gd name="T49" fmla="*/ 135 h 255"/>
                <a:gd name="T50" fmla="*/ 111 w 112"/>
                <a:gd name="T51" fmla="*/ 150 h 255"/>
                <a:gd name="T52" fmla="*/ 111 w 112"/>
                <a:gd name="T53" fmla="*/ 155 h 255"/>
                <a:gd name="T54" fmla="*/ 107 w 112"/>
                <a:gd name="T55" fmla="*/ 137 h 255"/>
                <a:gd name="T56" fmla="*/ 104 w 112"/>
                <a:gd name="T57" fmla="*/ 127 h 255"/>
                <a:gd name="T58" fmla="*/ 101 w 112"/>
                <a:gd name="T59" fmla="*/ 130 h 255"/>
                <a:gd name="T60" fmla="*/ 104 w 112"/>
                <a:gd name="T61" fmla="*/ 143 h 255"/>
                <a:gd name="T62" fmla="*/ 104 w 112"/>
                <a:gd name="T63" fmla="*/ 155 h 255"/>
                <a:gd name="T64" fmla="*/ 104 w 112"/>
                <a:gd name="T65" fmla="*/ 160 h 255"/>
                <a:gd name="T66" fmla="*/ 104 w 112"/>
                <a:gd name="T67" fmla="*/ 163 h 255"/>
                <a:gd name="T68" fmla="*/ 99 w 112"/>
                <a:gd name="T69" fmla="*/ 173 h 255"/>
                <a:gd name="T70" fmla="*/ 98 w 112"/>
                <a:gd name="T71" fmla="*/ 179 h 255"/>
                <a:gd name="T72" fmla="*/ 92 w 112"/>
                <a:gd name="T73" fmla="*/ 191 h 255"/>
                <a:gd name="T74" fmla="*/ 89 w 112"/>
                <a:gd name="T75" fmla="*/ 198 h 255"/>
                <a:gd name="T76" fmla="*/ 80 w 112"/>
                <a:gd name="T77" fmla="*/ 210 h 255"/>
                <a:gd name="T78" fmla="*/ 82 w 112"/>
                <a:gd name="T79" fmla="*/ 216 h 255"/>
                <a:gd name="T80" fmla="*/ 74 w 112"/>
                <a:gd name="T81" fmla="*/ 245 h 255"/>
                <a:gd name="T82" fmla="*/ 63 w 112"/>
                <a:gd name="T83" fmla="*/ 254 h 255"/>
                <a:gd name="T84" fmla="*/ 62 w 112"/>
                <a:gd name="T85" fmla="*/ 242 h 255"/>
                <a:gd name="T86" fmla="*/ 63 w 112"/>
                <a:gd name="T87" fmla="*/ 236 h 255"/>
                <a:gd name="T88" fmla="*/ 55 w 112"/>
                <a:gd name="T89" fmla="*/ 228 h 255"/>
                <a:gd name="T90" fmla="*/ 41 w 112"/>
                <a:gd name="T91" fmla="*/ 234 h 255"/>
                <a:gd name="T92" fmla="*/ 36 w 112"/>
                <a:gd name="T93" fmla="*/ 227 h 255"/>
                <a:gd name="T94" fmla="*/ 24 w 112"/>
                <a:gd name="T95" fmla="*/ 223 h 255"/>
                <a:gd name="T96" fmla="*/ 16 w 112"/>
                <a:gd name="T97" fmla="*/ 216 h 255"/>
                <a:gd name="T98" fmla="*/ 2 w 112"/>
                <a:gd name="T99" fmla="*/ 200 h 255"/>
                <a:gd name="T100" fmla="*/ 1 w 112"/>
                <a:gd name="T101" fmla="*/ 191 h 255"/>
                <a:gd name="T102" fmla="*/ 4 w 112"/>
                <a:gd name="T103" fmla="*/ 18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2" h="255">
                  <a:moveTo>
                    <a:pt x="7" y="173"/>
                  </a:moveTo>
                  <a:lnTo>
                    <a:pt x="7" y="173"/>
                  </a:lnTo>
                  <a:lnTo>
                    <a:pt x="7" y="171"/>
                  </a:lnTo>
                  <a:lnTo>
                    <a:pt x="10" y="170"/>
                  </a:lnTo>
                  <a:lnTo>
                    <a:pt x="13" y="167"/>
                  </a:lnTo>
                  <a:lnTo>
                    <a:pt x="17" y="164"/>
                  </a:lnTo>
                  <a:lnTo>
                    <a:pt x="20" y="161"/>
                  </a:lnTo>
                  <a:lnTo>
                    <a:pt x="24" y="160"/>
                  </a:lnTo>
                  <a:lnTo>
                    <a:pt x="26" y="158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7" y="153"/>
                  </a:lnTo>
                  <a:lnTo>
                    <a:pt x="30" y="149"/>
                  </a:lnTo>
                  <a:lnTo>
                    <a:pt x="33" y="144"/>
                  </a:lnTo>
                  <a:lnTo>
                    <a:pt x="36" y="140"/>
                  </a:lnTo>
                  <a:lnTo>
                    <a:pt x="38" y="137"/>
                  </a:lnTo>
                  <a:lnTo>
                    <a:pt x="41" y="134"/>
                  </a:lnTo>
                  <a:lnTo>
                    <a:pt x="44" y="132"/>
                  </a:lnTo>
                  <a:lnTo>
                    <a:pt x="46" y="131"/>
                  </a:lnTo>
                  <a:lnTo>
                    <a:pt x="46" y="131"/>
                  </a:lnTo>
                  <a:lnTo>
                    <a:pt x="49" y="130"/>
                  </a:lnTo>
                  <a:lnTo>
                    <a:pt x="50" y="127"/>
                  </a:lnTo>
                  <a:lnTo>
                    <a:pt x="50" y="126"/>
                  </a:lnTo>
                  <a:lnTo>
                    <a:pt x="50" y="123"/>
                  </a:lnTo>
                  <a:lnTo>
                    <a:pt x="49" y="122"/>
                  </a:lnTo>
                  <a:lnTo>
                    <a:pt x="47" y="120"/>
                  </a:lnTo>
                  <a:lnTo>
                    <a:pt x="47" y="119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4" y="117"/>
                  </a:lnTo>
                  <a:lnTo>
                    <a:pt x="41" y="116"/>
                  </a:lnTo>
                  <a:lnTo>
                    <a:pt x="37" y="111"/>
                  </a:lnTo>
                  <a:lnTo>
                    <a:pt x="33" y="107"/>
                  </a:lnTo>
                  <a:lnTo>
                    <a:pt x="27" y="102"/>
                  </a:lnTo>
                  <a:lnTo>
                    <a:pt x="23" y="98"/>
                  </a:lnTo>
                  <a:lnTo>
                    <a:pt x="19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8" y="90"/>
                  </a:lnTo>
                  <a:lnTo>
                    <a:pt x="4" y="84"/>
                  </a:lnTo>
                  <a:lnTo>
                    <a:pt x="2" y="78"/>
                  </a:lnTo>
                  <a:lnTo>
                    <a:pt x="2" y="72"/>
                  </a:lnTo>
                  <a:lnTo>
                    <a:pt x="4" y="68"/>
                  </a:lnTo>
                  <a:lnTo>
                    <a:pt x="5" y="64"/>
                  </a:lnTo>
                  <a:lnTo>
                    <a:pt x="7" y="62"/>
                  </a:lnTo>
                  <a:lnTo>
                    <a:pt x="8" y="62"/>
                  </a:lnTo>
                  <a:lnTo>
                    <a:pt x="0" y="47"/>
                  </a:lnTo>
                  <a:lnTo>
                    <a:pt x="14" y="26"/>
                  </a:lnTo>
                  <a:lnTo>
                    <a:pt x="20" y="6"/>
                  </a:lnTo>
                  <a:lnTo>
                    <a:pt x="24" y="0"/>
                  </a:lnTo>
                  <a:lnTo>
                    <a:pt x="96" y="23"/>
                  </a:lnTo>
                  <a:lnTo>
                    <a:pt x="98" y="50"/>
                  </a:lnTo>
                  <a:lnTo>
                    <a:pt x="96" y="50"/>
                  </a:lnTo>
                  <a:lnTo>
                    <a:pt x="89" y="63"/>
                  </a:lnTo>
                  <a:lnTo>
                    <a:pt x="89" y="63"/>
                  </a:lnTo>
                  <a:lnTo>
                    <a:pt x="89" y="64"/>
                  </a:lnTo>
                  <a:lnTo>
                    <a:pt x="91" y="64"/>
                  </a:lnTo>
                  <a:lnTo>
                    <a:pt x="91" y="67"/>
                  </a:lnTo>
                  <a:lnTo>
                    <a:pt x="91" y="69"/>
                  </a:lnTo>
                  <a:lnTo>
                    <a:pt x="91" y="72"/>
                  </a:lnTo>
                  <a:lnTo>
                    <a:pt x="89" y="75"/>
                  </a:lnTo>
                  <a:lnTo>
                    <a:pt x="86" y="78"/>
                  </a:lnTo>
                  <a:lnTo>
                    <a:pt x="82" y="80"/>
                  </a:lnTo>
                  <a:lnTo>
                    <a:pt x="80" y="84"/>
                  </a:lnTo>
                  <a:lnTo>
                    <a:pt x="96" y="84"/>
                  </a:lnTo>
                  <a:lnTo>
                    <a:pt x="96" y="84"/>
                  </a:lnTo>
                  <a:lnTo>
                    <a:pt x="96" y="86"/>
                  </a:lnTo>
                  <a:lnTo>
                    <a:pt x="99" y="87"/>
                  </a:lnTo>
                  <a:lnTo>
                    <a:pt x="101" y="87"/>
                  </a:lnTo>
                  <a:lnTo>
                    <a:pt x="101" y="84"/>
                  </a:lnTo>
                  <a:lnTo>
                    <a:pt x="101" y="84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2" y="81"/>
                  </a:lnTo>
                  <a:lnTo>
                    <a:pt x="102" y="81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5" y="80"/>
                  </a:lnTo>
                  <a:lnTo>
                    <a:pt x="105" y="81"/>
                  </a:lnTo>
                  <a:lnTo>
                    <a:pt x="107" y="83"/>
                  </a:lnTo>
                  <a:lnTo>
                    <a:pt x="107" y="84"/>
                  </a:lnTo>
                  <a:lnTo>
                    <a:pt x="107" y="87"/>
                  </a:lnTo>
                  <a:lnTo>
                    <a:pt x="108" y="90"/>
                  </a:lnTo>
                  <a:lnTo>
                    <a:pt x="108" y="95"/>
                  </a:lnTo>
                  <a:lnTo>
                    <a:pt x="108" y="100"/>
                  </a:lnTo>
                  <a:lnTo>
                    <a:pt x="108" y="107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7"/>
                  </a:lnTo>
                  <a:lnTo>
                    <a:pt x="108" y="119"/>
                  </a:lnTo>
                  <a:lnTo>
                    <a:pt x="108" y="120"/>
                  </a:lnTo>
                  <a:lnTo>
                    <a:pt x="108" y="122"/>
                  </a:lnTo>
                  <a:lnTo>
                    <a:pt x="108" y="123"/>
                  </a:lnTo>
                  <a:lnTo>
                    <a:pt x="108" y="125"/>
                  </a:lnTo>
                  <a:lnTo>
                    <a:pt x="108" y="126"/>
                  </a:lnTo>
                  <a:lnTo>
                    <a:pt x="108" y="127"/>
                  </a:lnTo>
                  <a:lnTo>
                    <a:pt x="108" y="127"/>
                  </a:lnTo>
                  <a:lnTo>
                    <a:pt x="110" y="128"/>
                  </a:lnTo>
                  <a:lnTo>
                    <a:pt x="110" y="131"/>
                  </a:lnTo>
                  <a:lnTo>
                    <a:pt x="111" y="135"/>
                  </a:lnTo>
                  <a:lnTo>
                    <a:pt x="111" y="138"/>
                  </a:lnTo>
                  <a:lnTo>
                    <a:pt x="111" y="143"/>
                  </a:lnTo>
                  <a:lnTo>
                    <a:pt x="111" y="146"/>
                  </a:lnTo>
                  <a:lnTo>
                    <a:pt x="111" y="150"/>
                  </a:lnTo>
                  <a:lnTo>
                    <a:pt x="111" y="152"/>
                  </a:lnTo>
                  <a:lnTo>
                    <a:pt x="111" y="155"/>
                  </a:lnTo>
                  <a:lnTo>
                    <a:pt x="111" y="155"/>
                  </a:lnTo>
                  <a:lnTo>
                    <a:pt x="111" y="155"/>
                  </a:lnTo>
                  <a:lnTo>
                    <a:pt x="110" y="153"/>
                  </a:lnTo>
                  <a:lnTo>
                    <a:pt x="108" y="150"/>
                  </a:lnTo>
                  <a:lnTo>
                    <a:pt x="108" y="144"/>
                  </a:lnTo>
                  <a:lnTo>
                    <a:pt x="107" y="137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7"/>
                  </a:lnTo>
                  <a:lnTo>
                    <a:pt x="104" y="127"/>
                  </a:lnTo>
                  <a:lnTo>
                    <a:pt x="102" y="126"/>
                  </a:lnTo>
                  <a:lnTo>
                    <a:pt x="102" y="126"/>
                  </a:lnTo>
                  <a:lnTo>
                    <a:pt x="101" y="127"/>
                  </a:lnTo>
                  <a:lnTo>
                    <a:pt x="101" y="130"/>
                  </a:lnTo>
                  <a:lnTo>
                    <a:pt x="102" y="134"/>
                  </a:lnTo>
                  <a:lnTo>
                    <a:pt x="104" y="141"/>
                  </a:lnTo>
                  <a:lnTo>
                    <a:pt x="104" y="141"/>
                  </a:lnTo>
                  <a:lnTo>
                    <a:pt x="104" y="143"/>
                  </a:lnTo>
                  <a:lnTo>
                    <a:pt x="104" y="144"/>
                  </a:lnTo>
                  <a:lnTo>
                    <a:pt x="104" y="147"/>
                  </a:lnTo>
                  <a:lnTo>
                    <a:pt x="104" y="150"/>
                  </a:lnTo>
                  <a:lnTo>
                    <a:pt x="104" y="155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4" y="160"/>
                  </a:lnTo>
                  <a:lnTo>
                    <a:pt x="104" y="160"/>
                  </a:lnTo>
                  <a:lnTo>
                    <a:pt x="104" y="160"/>
                  </a:lnTo>
                  <a:lnTo>
                    <a:pt x="104" y="160"/>
                  </a:lnTo>
                  <a:lnTo>
                    <a:pt x="104" y="161"/>
                  </a:lnTo>
                  <a:lnTo>
                    <a:pt x="104" y="163"/>
                  </a:lnTo>
                  <a:lnTo>
                    <a:pt x="104" y="165"/>
                  </a:lnTo>
                  <a:lnTo>
                    <a:pt x="104" y="167"/>
                  </a:lnTo>
                  <a:lnTo>
                    <a:pt x="101" y="170"/>
                  </a:lnTo>
                  <a:lnTo>
                    <a:pt x="99" y="173"/>
                  </a:lnTo>
                  <a:lnTo>
                    <a:pt x="99" y="173"/>
                  </a:lnTo>
                  <a:lnTo>
                    <a:pt x="99" y="174"/>
                  </a:lnTo>
                  <a:lnTo>
                    <a:pt x="98" y="176"/>
                  </a:lnTo>
                  <a:lnTo>
                    <a:pt x="98" y="179"/>
                  </a:lnTo>
                  <a:lnTo>
                    <a:pt x="98" y="180"/>
                  </a:lnTo>
                  <a:lnTo>
                    <a:pt x="93" y="185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3"/>
                  </a:lnTo>
                  <a:lnTo>
                    <a:pt x="92" y="194"/>
                  </a:lnTo>
                  <a:lnTo>
                    <a:pt x="91" y="195"/>
                  </a:lnTo>
                  <a:lnTo>
                    <a:pt x="89" y="198"/>
                  </a:lnTo>
                  <a:lnTo>
                    <a:pt x="88" y="201"/>
                  </a:lnTo>
                  <a:lnTo>
                    <a:pt x="85" y="206"/>
                  </a:lnTo>
                  <a:lnTo>
                    <a:pt x="83" y="209"/>
                  </a:lnTo>
                  <a:lnTo>
                    <a:pt x="80" y="210"/>
                  </a:lnTo>
                  <a:lnTo>
                    <a:pt x="80" y="210"/>
                  </a:lnTo>
                  <a:lnTo>
                    <a:pt x="80" y="212"/>
                  </a:lnTo>
                  <a:lnTo>
                    <a:pt x="82" y="215"/>
                  </a:lnTo>
                  <a:lnTo>
                    <a:pt x="82" y="216"/>
                  </a:lnTo>
                  <a:lnTo>
                    <a:pt x="82" y="218"/>
                  </a:lnTo>
                  <a:lnTo>
                    <a:pt x="76" y="237"/>
                  </a:lnTo>
                  <a:lnTo>
                    <a:pt x="74" y="245"/>
                  </a:lnTo>
                  <a:lnTo>
                    <a:pt x="74" y="245"/>
                  </a:lnTo>
                  <a:lnTo>
                    <a:pt x="71" y="251"/>
                  </a:lnTo>
                  <a:lnTo>
                    <a:pt x="68" y="254"/>
                  </a:lnTo>
                  <a:lnTo>
                    <a:pt x="65" y="254"/>
                  </a:lnTo>
                  <a:lnTo>
                    <a:pt x="63" y="254"/>
                  </a:lnTo>
                  <a:lnTo>
                    <a:pt x="62" y="251"/>
                  </a:lnTo>
                  <a:lnTo>
                    <a:pt x="60" y="249"/>
                  </a:lnTo>
                  <a:lnTo>
                    <a:pt x="60" y="245"/>
                  </a:lnTo>
                  <a:lnTo>
                    <a:pt x="62" y="242"/>
                  </a:lnTo>
                  <a:lnTo>
                    <a:pt x="62" y="242"/>
                  </a:lnTo>
                  <a:lnTo>
                    <a:pt x="62" y="240"/>
                  </a:lnTo>
                  <a:lnTo>
                    <a:pt x="63" y="239"/>
                  </a:lnTo>
                  <a:lnTo>
                    <a:pt x="63" y="236"/>
                  </a:lnTo>
                  <a:lnTo>
                    <a:pt x="63" y="233"/>
                  </a:lnTo>
                  <a:lnTo>
                    <a:pt x="62" y="230"/>
                  </a:lnTo>
                  <a:lnTo>
                    <a:pt x="59" y="228"/>
                  </a:lnTo>
                  <a:lnTo>
                    <a:pt x="55" y="228"/>
                  </a:lnTo>
                  <a:lnTo>
                    <a:pt x="47" y="230"/>
                  </a:lnTo>
                  <a:lnTo>
                    <a:pt x="41" y="234"/>
                  </a:lnTo>
                  <a:lnTo>
                    <a:pt x="41" y="234"/>
                  </a:lnTo>
                  <a:lnTo>
                    <a:pt x="41" y="234"/>
                  </a:lnTo>
                  <a:lnTo>
                    <a:pt x="41" y="233"/>
                  </a:lnTo>
                  <a:lnTo>
                    <a:pt x="40" y="231"/>
                  </a:lnTo>
                  <a:lnTo>
                    <a:pt x="37" y="228"/>
                  </a:lnTo>
                  <a:lnTo>
                    <a:pt x="36" y="227"/>
                  </a:lnTo>
                  <a:lnTo>
                    <a:pt x="33" y="224"/>
                  </a:lnTo>
                  <a:lnTo>
                    <a:pt x="29" y="224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3" y="222"/>
                  </a:lnTo>
                  <a:lnTo>
                    <a:pt x="20" y="221"/>
                  </a:lnTo>
                  <a:lnTo>
                    <a:pt x="17" y="218"/>
                  </a:lnTo>
                  <a:lnTo>
                    <a:pt x="16" y="216"/>
                  </a:lnTo>
                  <a:lnTo>
                    <a:pt x="5" y="209"/>
                  </a:lnTo>
                  <a:lnTo>
                    <a:pt x="5" y="201"/>
                  </a:lnTo>
                  <a:lnTo>
                    <a:pt x="2" y="200"/>
                  </a:lnTo>
                  <a:lnTo>
                    <a:pt x="2" y="200"/>
                  </a:lnTo>
                  <a:lnTo>
                    <a:pt x="2" y="200"/>
                  </a:lnTo>
                  <a:lnTo>
                    <a:pt x="1" y="197"/>
                  </a:lnTo>
                  <a:lnTo>
                    <a:pt x="1" y="194"/>
                  </a:lnTo>
                  <a:lnTo>
                    <a:pt x="1" y="191"/>
                  </a:lnTo>
                  <a:lnTo>
                    <a:pt x="1" y="189"/>
                  </a:lnTo>
                  <a:lnTo>
                    <a:pt x="1" y="186"/>
                  </a:lnTo>
                  <a:lnTo>
                    <a:pt x="2" y="185"/>
                  </a:lnTo>
                  <a:lnTo>
                    <a:pt x="4" y="183"/>
                  </a:lnTo>
                  <a:lnTo>
                    <a:pt x="10" y="176"/>
                  </a:lnTo>
                  <a:lnTo>
                    <a:pt x="11" y="173"/>
                  </a:lnTo>
                  <a:lnTo>
                    <a:pt x="7" y="173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" name="Freeform 97"/>
            <p:cNvSpPr>
              <a:spLocks/>
            </p:cNvSpPr>
            <p:nvPr/>
          </p:nvSpPr>
          <p:spPr bwMode="auto">
            <a:xfrm>
              <a:off x="3318698" y="4606315"/>
              <a:ext cx="59679" cy="100596"/>
            </a:xfrm>
            <a:custGeom>
              <a:avLst/>
              <a:gdLst>
                <a:gd name="T0" fmla="*/ 19 w 89"/>
                <a:gd name="T1" fmla="*/ 13 h 150"/>
                <a:gd name="T2" fmla="*/ 16 w 89"/>
                <a:gd name="T3" fmla="*/ 22 h 150"/>
                <a:gd name="T4" fmla="*/ 16 w 89"/>
                <a:gd name="T5" fmla="*/ 26 h 150"/>
                <a:gd name="T6" fmla="*/ 18 w 89"/>
                <a:gd name="T7" fmla="*/ 30 h 150"/>
                <a:gd name="T8" fmla="*/ 19 w 89"/>
                <a:gd name="T9" fmla="*/ 30 h 150"/>
                <a:gd name="T10" fmla="*/ 21 w 89"/>
                <a:gd name="T11" fmla="*/ 38 h 150"/>
                <a:gd name="T12" fmla="*/ 24 w 89"/>
                <a:gd name="T13" fmla="*/ 46 h 150"/>
                <a:gd name="T14" fmla="*/ 28 w 89"/>
                <a:gd name="T15" fmla="*/ 50 h 150"/>
                <a:gd name="T16" fmla="*/ 30 w 89"/>
                <a:gd name="T17" fmla="*/ 52 h 150"/>
                <a:gd name="T18" fmla="*/ 32 w 89"/>
                <a:gd name="T19" fmla="*/ 53 h 150"/>
                <a:gd name="T20" fmla="*/ 39 w 89"/>
                <a:gd name="T21" fmla="*/ 59 h 150"/>
                <a:gd name="T22" fmla="*/ 41 w 89"/>
                <a:gd name="T23" fmla="*/ 66 h 150"/>
                <a:gd name="T24" fmla="*/ 41 w 89"/>
                <a:gd name="T25" fmla="*/ 72 h 150"/>
                <a:gd name="T26" fmla="*/ 41 w 89"/>
                <a:gd name="T27" fmla="*/ 74 h 150"/>
                <a:gd name="T28" fmla="*/ 45 w 89"/>
                <a:gd name="T29" fmla="*/ 79 h 150"/>
                <a:gd name="T30" fmla="*/ 49 w 89"/>
                <a:gd name="T31" fmla="*/ 83 h 150"/>
                <a:gd name="T32" fmla="*/ 52 w 89"/>
                <a:gd name="T33" fmla="*/ 87 h 150"/>
                <a:gd name="T34" fmla="*/ 52 w 89"/>
                <a:gd name="T35" fmla="*/ 89 h 150"/>
                <a:gd name="T36" fmla="*/ 54 w 89"/>
                <a:gd name="T37" fmla="*/ 92 h 150"/>
                <a:gd name="T38" fmla="*/ 55 w 89"/>
                <a:gd name="T39" fmla="*/ 95 h 150"/>
                <a:gd name="T40" fmla="*/ 62 w 89"/>
                <a:gd name="T41" fmla="*/ 101 h 150"/>
                <a:gd name="T42" fmla="*/ 69 w 89"/>
                <a:gd name="T43" fmla="*/ 104 h 150"/>
                <a:gd name="T44" fmla="*/ 74 w 89"/>
                <a:gd name="T45" fmla="*/ 104 h 150"/>
                <a:gd name="T46" fmla="*/ 75 w 89"/>
                <a:gd name="T47" fmla="*/ 104 h 150"/>
                <a:gd name="T48" fmla="*/ 78 w 89"/>
                <a:gd name="T49" fmla="*/ 115 h 150"/>
                <a:gd name="T50" fmla="*/ 72 w 89"/>
                <a:gd name="T51" fmla="*/ 119 h 150"/>
                <a:gd name="T52" fmla="*/ 72 w 89"/>
                <a:gd name="T53" fmla="*/ 120 h 150"/>
                <a:gd name="T54" fmla="*/ 71 w 89"/>
                <a:gd name="T55" fmla="*/ 122 h 150"/>
                <a:gd name="T56" fmla="*/ 68 w 89"/>
                <a:gd name="T57" fmla="*/ 125 h 150"/>
                <a:gd name="T58" fmla="*/ 71 w 89"/>
                <a:gd name="T59" fmla="*/ 126 h 150"/>
                <a:gd name="T60" fmla="*/ 75 w 89"/>
                <a:gd name="T61" fmla="*/ 125 h 150"/>
                <a:gd name="T62" fmla="*/ 78 w 89"/>
                <a:gd name="T63" fmla="*/ 123 h 150"/>
                <a:gd name="T64" fmla="*/ 84 w 89"/>
                <a:gd name="T65" fmla="*/ 122 h 150"/>
                <a:gd name="T66" fmla="*/ 85 w 89"/>
                <a:gd name="T67" fmla="*/ 126 h 150"/>
                <a:gd name="T68" fmla="*/ 88 w 89"/>
                <a:gd name="T69" fmla="*/ 134 h 150"/>
                <a:gd name="T70" fmla="*/ 33 w 89"/>
                <a:gd name="T71" fmla="*/ 149 h 150"/>
                <a:gd name="T72" fmla="*/ 0 w 89"/>
                <a:gd name="T73" fmla="*/ 19 h 150"/>
                <a:gd name="T74" fmla="*/ 3 w 89"/>
                <a:gd name="T75" fmla="*/ 5 h 150"/>
                <a:gd name="T76" fmla="*/ 12 w 89"/>
                <a:gd name="T77" fmla="*/ 0 h 150"/>
                <a:gd name="T78" fmla="*/ 22 w 89"/>
                <a:gd name="T79" fmla="*/ 0 h 150"/>
                <a:gd name="T80" fmla="*/ 27 w 89"/>
                <a:gd name="T81" fmla="*/ 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9" h="150">
                  <a:moveTo>
                    <a:pt x="22" y="5"/>
                  </a:moveTo>
                  <a:lnTo>
                    <a:pt x="19" y="13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6" y="26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2"/>
                  </a:lnTo>
                  <a:lnTo>
                    <a:pt x="21" y="38"/>
                  </a:lnTo>
                  <a:lnTo>
                    <a:pt x="22" y="41"/>
                  </a:lnTo>
                  <a:lnTo>
                    <a:pt x="24" y="46"/>
                  </a:lnTo>
                  <a:lnTo>
                    <a:pt x="25" y="47"/>
                  </a:lnTo>
                  <a:lnTo>
                    <a:pt x="28" y="50"/>
                  </a:lnTo>
                  <a:lnTo>
                    <a:pt x="29" y="52"/>
                  </a:lnTo>
                  <a:lnTo>
                    <a:pt x="30" y="52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6" y="56"/>
                  </a:lnTo>
                  <a:lnTo>
                    <a:pt x="39" y="59"/>
                  </a:lnTo>
                  <a:lnTo>
                    <a:pt x="41" y="62"/>
                  </a:lnTo>
                  <a:lnTo>
                    <a:pt x="41" y="66"/>
                  </a:lnTo>
                  <a:lnTo>
                    <a:pt x="41" y="69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2" y="77"/>
                  </a:lnTo>
                  <a:lnTo>
                    <a:pt x="45" y="79"/>
                  </a:lnTo>
                  <a:lnTo>
                    <a:pt x="46" y="82"/>
                  </a:lnTo>
                  <a:lnTo>
                    <a:pt x="49" y="83"/>
                  </a:lnTo>
                  <a:lnTo>
                    <a:pt x="51" y="86"/>
                  </a:lnTo>
                  <a:lnTo>
                    <a:pt x="52" y="87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4" y="89"/>
                  </a:lnTo>
                  <a:lnTo>
                    <a:pt x="54" y="92"/>
                  </a:lnTo>
                  <a:lnTo>
                    <a:pt x="55" y="93"/>
                  </a:lnTo>
                  <a:lnTo>
                    <a:pt x="55" y="95"/>
                  </a:lnTo>
                  <a:lnTo>
                    <a:pt x="59" y="98"/>
                  </a:lnTo>
                  <a:lnTo>
                    <a:pt x="62" y="101"/>
                  </a:lnTo>
                  <a:lnTo>
                    <a:pt x="66" y="102"/>
                  </a:lnTo>
                  <a:lnTo>
                    <a:pt x="69" y="104"/>
                  </a:lnTo>
                  <a:lnTo>
                    <a:pt x="72" y="104"/>
                  </a:lnTo>
                  <a:lnTo>
                    <a:pt x="74" y="104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8" y="107"/>
                  </a:lnTo>
                  <a:lnTo>
                    <a:pt x="78" y="115"/>
                  </a:lnTo>
                  <a:lnTo>
                    <a:pt x="72" y="115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20"/>
                  </a:lnTo>
                  <a:lnTo>
                    <a:pt x="71" y="120"/>
                  </a:lnTo>
                  <a:lnTo>
                    <a:pt x="71" y="122"/>
                  </a:lnTo>
                  <a:lnTo>
                    <a:pt x="69" y="123"/>
                  </a:lnTo>
                  <a:lnTo>
                    <a:pt x="68" y="125"/>
                  </a:lnTo>
                  <a:lnTo>
                    <a:pt x="69" y="126"/>
                  </a:lnTo>
                  <a:lnTo>
                    <a:pt x="71" y="126"/>
                  </a:lnTo>
                  <a:lnTo>
                    <a:pt x="74" y="126"/>
                  </a:lnTo>
                  <a:lnTo>
                    <a:pt x="75" y="125"/>
                  </a:lnTo>
                  <a:lnTo>
                    <a:pt x="76" y="125"/>
                  </a:lnTo>
                  <a:lnTo>
                    <a:pt x="78" y="123"/>
                  </a:lnTo>
                  <a:lnTo>
                    <a:pt x="82" y="122"/>
                  </a:lnTo>
                  <a:lnTo>
                    <a:pt x="84" y="122"/>
                  </a:lnTo>
                  <a:lnTo>
                    <a:pt x="85" y="125"/>
                  </a:lnTo>
                  <a:lnTo>
                    <a:pt x="85" y="126"/>
                  </a:lnTo>
                  <a:lnTo>
                    <a:pt x="85" y="131"/>
                  </a:lnTo>
                  <a:lnTo>
                    <a:pt x="88" y="134"/>
                  </a:lnTo>
                  <a:lnTo>
                    <a:pt x="87" y="138"/>
                  </a:lnTo>
                  <a:lnTo>
                    <a:pt x="33" y="149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0" y="10"/>
                  </a:lnTo>
                  <a:lnTo>
                    <a:pt x="3" y="5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7" y="1"/>
                  </a:lnTo>
                  <a:lnTo>
                    <a:pt x="22" y="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" name="Freeform 98"/>
            <p:cNvSpPr>
              <a:spLocks/>
            </p:cNvSpPr>
            <p:nvPr/>
          </p:nvSpPr>
          <p:spPr bwMode="auto">
            <a:xfrm>
              <a:off x="3318698" y="4606315"/>
              <a:ext cx="59679" cy="100596"/>
            </a:xfrm>
            <a:custGeom>
              <a:avLst/>
              <a:gdLst>
                <a:gd name="T0" fmla="*/ 19 w 89"/>
                <a:gd name="T1" fmla="*/ 13 h 150"/>
                <a:gd name="T2" fmla="*/ 16 w 89"/>
                <a:gd name="T3" fmla="*/ 19 h 150"/>
                <a:gd name="T4" fmla="*/ 16 w 89"/>
                <a:gd name="T5" fmla="*/ 24 h 150"/>
                <a:gd name="T6" fmla="*/ 18 w 89"/>
                <a:gd name="T7" fmla="*/ 29 h 150"/>
                <a:gd name="T8" fmla="*/ 18 w 89"/>
                <a:gd name="T9" fmla="*/ 30 h 150"/>
                <a:gd name="T10" fmla="*/ 19 w 89"/>
                <a:gd name="T11" fmla="*/ 32 h 150"/>
                <a:gd name="T12" fmla="*/ 21 w 89"/>
                <a:gd name="T13" fmla="*/ 38 h 150"/>
                <a:gd name="T14" fmla="*/ 24 w 89"/>
                <a:gd name="T15" fmla="*/ 46 h 150"/>
                <a:gd name="T16" fmla="*/ 28 w 89"/>
                <a:gd name="T17" fmla="*/ 50 h 150"/>
                <a:gd name="T18" fmla="*/ 30 w 89"/>
                <a:gd name="T19" fmla="*/ 52 h 150"/>
                <a:gd name="T20" fmla="*/ 32 w 89"/>
                <a:gd name="T21" fmla="*/ 53 h 150"/>
                <a:gd name="T22" fmla="*/ 36 w 89"/>
                <a:gd name="T23" fmla="*/ 56 h 150"/>
                <a:gd name="T24" fmla="*/ 41 w 89"/>
                <a:gd name="T25" fmla="*/ 62 h 150"/>
                <a:gd name="T26" fmla="*/ 41 w 89"/>
                <a:gd name="T27" fmla="*/ 69 h 150"/>
                <a:gd name="T28" fmla="*/ 41 w 89"/>
                <a:gd name="T29" fmla="*/ 74 h 150"/>
                <a:gd name="T30" fmla="*/ 41 w 89"/>
                <a:gd name="T31" fmla="*/ 74 h 150"/>
                <a:gd name="T32" fmla="*/ 45 w 89"/>
                <a:gd name="T33" fmla="*/ 79 h 150"/>
                <a:gd name="T34" fmla="*/ 49 w 89"/>
                <a:gd name="T35" fmla="*/ 83 h 150"/>
                <a:gd name="T36" fmla="*/ 52 w 89"/>
                <a:gd name="T37" fmla="*/ 87 h 150"/>
                <a:gd name="T38" fmla="*/ 52 w 89"/>
                <a:gd name="T39" fmla="*/ 89 h 150"/>
                <a:gd name="T40" fmla="*/ 54 w 89"/>
                <a:gd name="T41" fmla="*/ 89 h 150"/>
                <a:gd name="T42" fmla="*/ 55 w 89"/>
                <a:gd name="T43" fmla="*/ 93 h 150"/>
                <a:gd name="T44" fmla="*/ 55 w 89"/>
                <a:gd name="T45" fmla="*/ 95 h 150"/>
                <a:gd name="T46" fmla="*/ 62 w 89"/>
                <a:gd name="T47" fmla="*/ 101 h 150"/>
                <a:gd name="T48" fmla="*/ 69 w 89"/>
                <a:gd name="T49" fmla="*/ 104 h 150"/>
                <a:gd name="T50" fmla="*/ 74 w 89"/>
                <a:gd name="T51" fmla="*/ 104 h 150"/>
                <a:gd name="T52" fmla="*/ 75 w 89"/>
                <a:gd name="T53" fmla="*/ 104 h 150"/>
                <a:gd name="T54" fmla="*/ 78 w 89"/>
                <a:gd name="T55" fmla="*/ 115 h 150"/>
                <a:gd name="T56" fmla="*/ 72 w 89"/>
                <a:gd name="T57" fmla="*/ 119 h 150"/>
                <a:gd name="T58" fmla="*/ 72 w 89"/>
                <a:gd name="T59" fmla="*/ 119 h 150"/>
                <a:gd name="T60" fmla="*/ 71 w 89"/>
                <a:gd name="T61" fmla="*/ 120 h 150"/>
                <a:gd name="T62" fmla="*/ 71 w 89"/>
                <a:gd name="T63" fmla="*/ 122 h 150"/>
                <a:gd name="T64" fmla="*/ 68 w 89"/>
                <a:gd name="T65" fmla="*/ 125 h 150"/>
                <a:gd name="T66" fmla="*/ 71 w 89"/>
                <a:gd name="T67" fmla="*/ 126 h 150"/>
                <a:gd name="T68" fmla="*/ 75 w 89"/>
                <a:gd name="T69" fmla="*/ 125 h 150"/>
                <a:gd name="T70" fmla="*/ 78 w 89"/>
                <a:gd name="T71" fmla="*/ 123 h 150"/>
                <a:gd name="T72" fmla="*/ 82 w 89"/>
                <a:gd name="T73" fmla="*/ 122 h 150"/>
                <a:gd name="T74" fmla="*/ 85 w 89"/>
                <a:gd name="T75" fmla="*/ 125 h 150"/>
                <a:gd name="T76" fmla="*/ 85 w 89"/>
                <a:gd name="T77" fmla="*/ 131 h 150"/>
                <a:gd name="T78" fmla="*/ 87 w 89"/>
                <a:gd name="T79" fmla="*/ 138 h 150"/>
                <a:gd name="T80" fmla="*/ 0 w 89"/>
                <a:gd name="T81" fmla="*/ 17 h 150"/>
                <a:gd name="T82" fmla="*/ 0 w 89"/>
                <a:gd name="T83" fmla="*/ 19 h 150"/>
                <a:gd name="T84" fmla="*/ 3 w 89"/>
                <a:gd name="T85" fmla="*/ 5 h 150"/>
                <a:gd name="T86" fmla="*/ 12 w 89"/>
                <a:gd name="T87" fmla="*/ 0 h 150"/>
                <a:gd name="T88" fmla="*/ 22 w 89"/>
                <a:gd name="T89" fmla="*/ 0 h 150"/>
                <a:gd name="T90" fmla="*/ 27 w 89"/>
                <a:gd name="T91" fmla="*/ 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9" h="150">
                  <a:moveTo>
                    <a:pt x="22" y="5"/>
                  </a:moveTo>
                  <a:lnTo>
                    <a:pt x="19" y="13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6" y="26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2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2" y="41"/>
                  </a:lnTo>
                  <a:lnTo>
                    <a:pt x="24" y="46"/>
                  </a:lnTo>
                  <a:lnTo>
                    <a:pt x="25" y="47"/>
                  </a:lnTo>
                  <a:lnTo>
                    <a:pt x="28" y="50"/>
                  </a:lnTo>
                  <a:lnTo>
                    <a:pt x="29" y="52"/>
                  </a:lnTo>
                  <a:lnTo>
                    <a:pt x="30" y="52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6" y="56"/>
                  </a:lnTo>
                  <a:lnTo>
                    <a:pt x="39" y="59"/>
                  </a:lnTo>
                  <a:lnTo>
                    <a:pt x="41" y="62"/>
                  </a:lnTo>
                  <a:lnTo>
                    <a:pt x="41" y="66"/>
                  </a:lnTo>
                  <a:lnTo>
                    <a:pt x="41" y="69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2" y="77"/>
                  </a:lnTo>
                  <a:lnTo>
                    <a:pt x="45" y="79"/>
                  </a:lnTo>
                  <a:lnTo>
                    <a:pt x="46" y="82"/>
                  </a:lnTo>
                  <a:lnTo>
                    <a:pt x="49" y="83"/>
                  </a:lnTo>
                  <a:lnTo>
                    <a:pt x="51" y="86"/>
                  </a:lnTo>
                  <a:lnTo>
                    <a:pt x="52" y="87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4" y="89"/>
                  </a:lnTo>
                  <a:lnTo>
                    <a:pt x="54" y="92"/>
                  </a:lnTo>
                  <a:lnTo>
                    <a:pt x="55" y="93"/>
                  </a:lnTo>
                  <a:lnTo>
                    <a:pt x="55" y="95"/>
                  </a:lnTo>
                  <a:lnTo>
                    <a:pt x="55" y="95"/>
                  </a:lnTo>
                  <a:lnTo>
                    <a:pt x="59" y="98"/>
                  </a:lnTo>
                  <a:lnTo>
                    <a:pt x="62" y="101"/>
                  </a:lnTo>
                  <a:lnTo>
                    <a:pt x="66" y="102"/>
                  </a:lnTo>
                  <a:lnTo>
                    <a:pt x="69" y="104"/>
                  </a:lnTo>
                  <a:lnTo>
                    <a:pt x="72" y="104"/>
                  </a:lnTo>
                  <a:lnTo>
                    <a:pt x="74" y="104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8" y="107"/>
                  </a:lnTo>
                  <a:lnTo>
                    <a:pt x="78" y="115"/>
                  </a:lnTo>
                  <a:lnTo>
                    <a:pt x="72" y="115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20"/>
                  </a:lnTo>
                  <a:lnTo>
                    <a:pt x="71" y="120"/>
                  </a:lnTo>
                  <a:lnTo>
                    <a:pt x="71" y="122"/>
                  </a:lnTo>
                  <a:lnTo>
                    <a:pt x="71" y="122"/>
                  </a:lnTo>
                  <a:lnTo>
                    <a:pt x="69" y="123"/>
                  </a:lnTo>
                  <a:lnTo>
                    <a:pt x="68" y="125"/>
                  </a:lnTo>
                  <a:lnTo>
                    <a:pt x="69" y="126"/>
                  </a:lnTo>
                  <a:lnTo>
                    <a:pt x="71" y="126"/>
                  </a:lnTo>
                  <a:lnTo>
                    <a:pt x="74" y="126"/>
                  </a:lnTo>
                  <a:lnTo>
                    <a:pt x="75" y="125"/>
                  </a:lnTo>
                  <a:lnTo>
                    <a:pt x="76" y="125"/>
                  </a:lnTo>
                  <a:lnTo>
                    <a:pt x="78" y="123"/>
                  </a:lnTo>
                  <a:lnTo>
                    <a:pt x="78" y="123"/>
                  </a:lnTo>
                  <a:lnTo>
                    <a:pt x="82" y="122"/>
                  </a:lnTo>
                  <a:lnTo>
                    <a:pt x="84" y="122"/>
                  </a:lnTo>
                  <a:lnTo>
                    <a:pt x="85" y="125"/>
                  </a:lnTo>
                  <a:lnTo>
                    <a:pt x="85" y="126"/>
                  </a:lnTo>
                  <a:lnTo>
                    <a:pt x="85" y="131"/>
                  </a:lnTo>
                  <a:lnTo>
                    <a:pt x="88" y="134"/>
                  </a:lnTo>
                  <a:lnTo>
                    <a:pt x="87" y="138"/>
                  </a:lnTo>
                  <a:lnTo>
                    <a:pt x="33" y="149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0"/>
                  </a:lnTo>
                  <a:lnTo>
                    <a:pt x="3" y="5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7" y="1"/>
                  </a:lnTo>
                  <a:lnTo>
                    <a:pt x="22" y="5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" name="Freeform 99"/>
            <p:cNvSpPr>
              <a:spLocks/>
            </p:cNvSpPr>
            <p:nvPr/>
          </p:nvSpPr>
          <p:spPr bwMode="auto">
            <a:xfrm>
              <a:off x="2563975" y="4896925"/>
              <a:ext cx="474415" cy="168901"/>
            </a:xfrm>
            <a:custGeom>
              <a:avLst/>
              <a:gdLst>
                <a:gd name="T0" fmla="*/ 705 w 707"/>
                <a:gd name="T1" fmla="*/ 0 h 251"/>
                <a:gd name="T2" fmla="*/ 705 w 707"/>
                <a:gd name="T3" fmla="*/ 10 h 251"/>
                <a:gd name="T4" fmla="*/ 705 w 707"/>
                <a:gd name="T5" fmla="*/ 26 h 251"/>
                <a:gd name="T6" fmla="*/ 699 w 707"/>
                <a:gd name="T7" fmla="*/ 31 h 251"/>
                <a:gd name="T8" fmla="*/ 687 w 707"/>
                <a:gd name="T9" fmla="*/ 43 h 251"/>
                <a:gd name="T10" fmla="*/ 681 w 707"/>
                <a:gd name="T11" fmla="*/ 56 h 251"/>
                <a:gd name="T12" fmla="*/ 670 w 707"/>
                <a:gd name="T13" fmla="*/ 53 h 251"/>
                <a:gd name="T14" fmla="*/ 650 w 707"/>
                <a:gd name="T15" fmla="*/ 70 h 251"/>
                <a:gd name="T16" fmla="*/ 639 w 707"/>
                <a:gd name="T17" fmla="*/ 79 h 251"/>
                <a:gd name="T18" fmla="*/ 633 w 707"/>
                <a:gd name="T19" fmla="*/ 71 h 251"/>
                <a:gd name="T20" fmla="*/ 624 w 707"/>
                <a:gd name="T21" fmla="*/ 74 h 251"/>
                <a:gd name="T22" fmla="*/ 617 w 707"/>
                <a:gd name="T23" fmla="*/ 85 h 251"/>
                <a:gd name="T24" fmla="*/ 611 w 707"/>
                <a:gd name="T25" fmla="*/ 95 h 251"/>
                <a:gd name="T26" fmla="*/ 607 w 707"/>
                <a:gd name="T27" fmla="*/ 103 h 251"/>
                <a:gd name="T28" fmla="*/ 592 w 707"/>
                <a:gd name="T29" fmla="*/ 109 h 251"/>
                <a:gd name="T30" fmla="*/ 574 w 707"/>
                <a:gd name="T31" fmla="*/ 124 h 251"/>
                <a:gd name="T32" fmla="*/ 564 w 707"/>
                <a:gd name="T33" fmla="*/ 133 h 251"/>
                <a:gd name="T34" fmla="*/ 543 w 707"/>
                <a:gd name="T35" fmla="*/ 139 h 251"/>
                <a:gd name="T36" fmla="*/ 531 w 707"/>
                <a:gd name="T37" fmla="*/ 152 h 251"/>
                <a:gd name="T38" fmla="*/ 528 w 707"/>
                <a:gd name="T39" fmla="*/ 161 h 251"/>
                <a:gd name="T40" fmla="*/ 517 w 707"/>
                <a:gd name="T41" fmla="*/ 172 h 251"/>
                <a:gd name="T42" fmla="*/ 508 w 707"/>
                <a:gd name="T43" fmla="*/ 173 h 251"/>
                <a:gd name="T44" fmla="*/ 399 w 707"/>
                <a:gd name="T45" fmla="*/ 214 h 251"/>
                <a:gd name="T46" fmla="*/ 5 w 707"/>
                <a:gd name="T47" fmla="*/ 250 h 251"/>
                <a:gd name="T48" fmla="*/ 0 w 707"/>
                <a:gd name="T49" fmla="*/ 247 h 251"/>
                <a:gd name="T50" fmla="*/ 7 w 707"/>
                <a:gd name="T51" fmla="*/ 241 h 251"/>
                <a:gd name="T52" fmla="*/ 16 w 707"/>
                <a:gd name="T53" fmla="*/ 233 h 251"/>
                <a:gd name="T54" fmla="*/ 17 w 707"/>
                <a:gd name="T55" fmla="*/ 219 h 251"/>
                <a:gd name="T56" fmla="*/ 13 w 707"/>
                <a:gd name="T57" fmla="*/ 212 h 251"/>
                <a:gd name="T58" fmla="*/ 17 w 707"/>
                <a:gd name="T59" fmla="*/ 200 h 251"/>
                <a:gd name="T60" fmla="*/ 22 w 707"/>
                <a:gd name="T61" fmla="*/ 194 h 251"/>
                <a:gd name="T62" fmla="*/ 28 w 707"/>
                <a:gd name="T63" fmla="*/ 187 h 251"/>
                <a:gd name="T64" fmla="*/ 34 w 707"/>
                <a:gd name="T65" fmla="*/ 178 h 251"/>
                <a:gd name="T66" fmla="*/ 31 w 707"/>
                <a:gd name="T67" fmla="*/ 173 h 251"/>
                <a:gd name="T68" fmla="*/ 26 w 707"/>
                <a:gd name="T69" fmla="*/ 172 h 251"/>
                <a:gd name="T70" fmla="*/ 29 w 707"/>
                <a:gd name="T71" fmla="*/ 169 h 251"/>
                <a:gd name="T72" fmla="*/ 34 w 707"/>
                <a:gd name="T73" fmla="*/ 163 h 251"/>
                <a:gd name="T74" fmla="*/ 41 w 707"/>
                <a:gd name="T75" fmla="*/ 155 h 251"/>
                <a:gd name="T76" fmla="*/ 46 w 707"/>
                <a:gd name="T77" fmla="*/ 145 h 251"/>
                <a:gd name="T78" fmla="*/ 43 w 707"/>
                <a:gd name="T79" fmla="*/ 139 h 251"/>
                <a:gd name="T80" fmla="*/ 52 w 707"/>
                <a:gd name="T81" fmla="*/ 125 h 251"/>
                <a:gd name="T82" fmla="*/ 55 w 707"/>
                <a:gd name="T83" fmla="*/ 125 h 251"/>
                <a:gd name="T84" fmla="*/ 53 w 707"/>
                <a:gd name="T85" fmla="*/ 121 h 251"/>
                <a:gd name="T86" fmla="*/ 44 w 707"/>
                <a:gd name="T87" fmla="*/ 112 h 251"/>
                <a:gd name="T88" fmla="*/ 49 w 707"/>
                <a:gd name="T89" fmla="*/ 109 h 251"/>
                <a:gd name="T90" fmla="*/ 53 w 707"/>
                <a:gd name="T91" fmla="*/ 109 h 251"/>
                <a:gd name="T92" fmla="*/ 179 w 707"/>
                <a:gd name="T93" fmla="*/ 73 h 251"/>
                <a:gd name="T94" fmla="*/ 181 w 707"/>
                <a:gd name="T95" fmla="*/ 55 h 251"/>
                <a:gd name="T96" fmla="*/ 193 w 707"/>
                <a:gd name="T97" fmla="*/ 55 h 251"/>
                <a:gd name="T98" fmla="*/ 212 w 707"/>
                <a:gd name="T99" fmla="*/ 56 h 251"/>
                <a:gd name="T100" fmla="*/ 221 w 707"/>
                <a:gd name="T101" fmla="*/ 55 h 251"/>
                <a:gd name="T102" fmla="*/ 242 w 707"/>
                <a:gd name="T103" fmla="*/ 53 h 251"/>
                <a:gd name="T104" fmla="*/ 274 w 707"/>
                <a:gd name="T105" fmla="*/ 50 h 251"/>
                <a:gd name="T106" fmla="*/ 313 w 707"/>
                <a:gd name="T107" fmla="*/ 47 h 251"/>
                <a:gd name="T108" fmla="*/ 355 w 707"/>
                <a:gd name="T109" fmla="*/ 43 h 251"/>
                <a:gd name="T110" fmla="*/ 400 w 707"/>
                <a:gd name="T111" fmla="*/ 40 h 251"/>
                <a:gd name="T112" fmla="*/ 442 w 707"/>
                <a:gd name="T113" fmla="*/ 35 h 251"/>
                <a:gd name="T114" fmla="*/ 480 w 707"/>
                <a:gd name="T115" fmla="*/ 32 h 251"/>
                <a:gd name="T116" fmla="*/ 508 w 707"/>
                <a:gd name="T117" fmla="*/ 31 h 251"/>
                <a:gd name="T118" fmla="*/ 523 w 707"/>
                <a:gd name="T119" fmla="*/ 29 h 251"/>
                <a:gd name="T120" fmla="*/ 681 w 707"/>
                <a:gd name="T121" fmla="*/ 5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7" h="251">
                  <a:moveTo>
                    <a:pt x="681" y="5"/>
                  </a:moveTo>
                  <a:lnTo>
                    <a:pt x="691" y="0"/>
                  </a:lnTo>
                  <a:lnTo>
                    <a:pt x="705" y="0"/>
                  </a:lnTo>
                  <a:lnTo>
                    <a:pt x="705" y="1"/>
                  </a:lnTo>
                  <a:lnTo>
                    <a:pt x="705" y="4"/>
                  </a:lnTo>
                  <a:lnTo>
                    <a:pt x="705" y="10"/>
                  </a:lnTo>
                  <a:lnTo>
                    <a:pt x="705" y="14"/>
                  </a:lnTo>
                  <a:lnTo>
                    <a:pt x="706" y="20"/>
                  </a:lnTo>
                  <a:lnTo>
                    <a:pt x="705" y="26"/>
                  </a:lnTo>
                  <a:lnTo>
                    <a:pt x="705" y="29"/>
                  </a:lnTo>
                  <a:lnTo>
                    <a:pt x="705" y="31"/>
                  </a:lnTo>
                  <a:lnTo>
                    <a:pt x="699" y="31"/>
                  </a:lnTo>
                  <a:lnTo>
                    <a:pt x="694" y="32"/>
                  </a:lnTo>
                  <a:lnTo>
                    <a:pt x="690" y="37"/>
                  </a:lnTo>
                  <a:lnTo>
                    <a:pt x="687" y="43"/>
                  </a:lnTo>
                  <a:lnTo>
                    <a:pt x="684" y="49"/>
                  </a:lnTo>
                  <a:lnTo>
                    <a:pt x="683" y="53"/>
                  </a:lnTo>
                  <a:lnTo>
                    <a:pt x="681" y="56"/>
                  </a:lnTo>
                  <a:lnTo>
                    <a:pt x="681" y="56"/>
                  </a:lnTo>
                  <a:lnTo>
                    <a:pt x="675" y="53"/>
                  </a:lnTo>
                  <a:lnTo>
                    <a:pt x="670" y="53"/>
                  </a:lnTo>
                  <a:lnTo>
                    <a:pt x="663" y="58"/>
                  </a:lnTo>
                  <a:lnTo>
                    <a:pt x="655" y="62"/>
                  </a:lnTo>
                  <a:lnTo>
                    <a:pt x="650" y="70"/>
                  </a:lnTo>
                  <a:lnTo>
                    <a:pt x="644" y="76"/>
                  </a:lnTo>
                  <a:lnTo>
                    <a:pt x="640" y="79"/>
                  </a:lnTo>
                  <a:lnTo>
                    <a:pt x="639" y="79"/>
                  </a:lnTo>
                  <a:lnTo>
                    <a:pt x="637" y="74"/>
                  </a:lnTo>
                  <a:lnTo>
                    <a:pt x="634" y="73"/>
                  </a:lnTo>
                  <a:lnTo>
                    <a:pt x="633" y="71"/>
                  </a:lnTo>
                  <a:lnTo>
                    <a:pt x="630" y="71"/>
                  </a:lnTo>
                  <a:lnTo>
                    <a:pt x="627" y="73"/>
                  </a:lnTo>
                  <a:lnTo>
                    <a:pt x="624" y="74"/>
                  </a:lnTo>
                  <a:lnTo>
                    <a:pt x="621" y="77"/>
                  </a:lnTo>
                  <a:lnTo>
                    <a:pt x="619" y="82"/>
                  </a:lnTo>
                  <a:lnTo>
                    <a:pt x="617" y="85"/>
                  </a:lnTo>
                  <a:lnTo>
                    <a:pt x="614" y="89"/>
                  </a:lnTo>
                  <a:lnTo>
                    <a:pt x="612" y="93"/>
                  </a:lnTo>
                  <a:lnTo>
                    <a:pt x="611" y="95"/>
                  </a:lnTo>
                  <a:lnTo>
                    <a:pt x="609" y="100"/>
                  </a:lnTo>
                  <a:lnTo>
                    <a:pt x="609" y="101"/>
                  </a:lnTo>
                  <a:lnTo>
                    <a:pt x="607" y="103"/>
                  </a:lnTo>
                  <a:lnTo>
                    <a:pt x="607" y="104"/>
                  </a:lnTo>
                  <a:lnTo>
                    <a:pt x="600" y="106"/>
                  </a:lnTo>
                  <a:lnTo>
                    <a:pt x="592" y="109"/>
                  </a:lnTo>
                  <a:lnTo>
                    <a:pt x="585" y="113"/>
                  </a:lnTo>
                  <a:lnTo>
                    <a:pt x="578" y="119"/>
                  </a:lnTo>
                  <a:lnTo>
                    <a:pt x="574" y="124"/>
                  </a:lnTo>
                  <a:lnTo>
                    <a:pt x="568" y="128"/>
                  </a:lnTo>
                  <a:lnTo>
                    <a:pt x="565" y="131"/>
                  </a:lnTo>
                  <a:lnTo>
                    <a:pt x="564" y="133"/>
                  </a:lnTo>
                  <a:lnTo>
                    <a:pt x="555" y="133"/>
                  </a:lnTo>
                  <a:lnTo>
                    <a:pt x="548" y="136"/>
                  </a:lnTo>
                  <a:lnTo>
                    <a:pt x="543" y="139"/>
                  </a:lnTo>
                  <a:lnTo>
                    <a:pt x="537" y="143"/>
                  </a:lnTo>
                  <a:lnTo>
                    <a:pt x="534" y="148"/>
                  </a:lnTo>
                  <a:lnTo>
                    <a:pt x="531" y="152"/>
                  </a:lnTo>
                  <a:lnTo>
                    <a:pt x="529" y="155"/>
                  </a:lnTo>
                  <a:lnTo>
                    <a:pt x="529" y="156"/>
                  </a:lnTo>
                  <a:lnTo>
                    <a:pt x="528" y="161"/>
                  </a:lnTo>
                  <a:lnTo>
                    <a:pt x="525" y="166"/>
                  </a:lnTo>
                  <a:lnTo>
                    <a:pt x="522" y="170"/>
                  </a:lnTo>
                  <a:lnTo>
                    <a:pt x="517" y="172"/>
                  </a:lnTo>
                  <a:lnTo>
                    <a:pt x="514" y="173"/>
                  </a:lnTo>
                  <a:lnTo>
                    <a:pt x="511" y="173"/>
                  </a:lnTo>
                  <a:lnTo>
                    <a:pt x="508" y="173"/>
                  </a:lnTo>
                  <a:lnTo>
                    <a:pt x="508" y="173"/>
                  </a:lnTo>
                  <a:lnTo>
                    <a:pt x="508" y="202"/>
                  </a:lnTo>
                  <a:lnTo>
                    <a:pt x="399" y="214"/>
                  </a:lnTo>
                  <a:lnTo>
                    <a:pt x="185" y="232"/>
                  </a:lnTo>
                  <a:lnTo>
                    <a:pt x="5" y="248"/>
                  </a:lnTo>
                  <a:lnTo>
                    <a:pt x="5" y="250"/>
                  </a:lnTo>
                  <a:lnTo>
                    <a:pt x="1" y="250"/>
                  </a:lnTo>
                  <a:lnTo>
                    <a:pt x="0" y="248"/>
                  </a:lnTo>
                  <a:lnTo>
                    <a:pt x="0" y="247"/>
                  </a:lnTo>
                  <a:lnTo>
                    <a:pt x="2" y="245"/>
                  </a:lnTo>
                  <a:lnTo>
                    <a:pt x="5" y="242"/>
                  </a:lnTo>
                  <a:lnTo>
                    <a:pt x="7" y="241"/>
                  </a:lnTo>
                  <a:lnTo>
                    <a:pt x="10" y="239"/>
                  </a:lnTo>
                  <a:lnTo>
                    <a:pt x="11" y="239"/>
                  </a:lnTo>
                  <a:lnTo>
                    <a:pt x="16" y="233"/>
                  </a:lnTo>
                  <a:lnTo>
                    <a:pt x="17" y="227"/>
                  </a:lnTo>
                  <a:lnTo>
                    <a:pt x="19" y="223"/>
                  </a:lnTo>
                  <a:lnTo>
                    <a:pt x="17" y="219"/>
                  </a:lnTo>
                  <a:lnTo>
                    <a:pt x="16" y="217"/>
                  </a:lnTo>
                  <a:lnTo>
                    <a:pt x="14" y="215"/>
                  </a:lnTo>
                  <a:lnTo>
                    <a:pt x="13" y="212"/>
                  </a:lnTo>
                  <a:lnTo>
                    <a:pt x="13" y="212"/>
                  </a:lnTo>
                  <a:lnTo>
                    <a:pt x="17" y="202"/>
                  </a:lnTo>
                  <a:lnTo>
                    <a:pt x="17" y="200"/>
                  </a:lnTo>
                  <a:lnTo>
                    <a:pt x="19" y="199"/>
                  </a:lnTo>
                  <a:lnTo>
                    <a:pt x="20" y="197"/>
                  </a:lnTo>
                  <a:lnTo>
                    <a:pt x="22" y="194"/>
                  </a:lnTo>
                  <a:lnTo>
                    <a:pt x="25" y="191"/>
                  </a:lnTo>
                  <a:lnTo>
                    <a:pt x="26" y="188"/>
                  </a:lnTo>
                  <a:lnTo>
                    <a:pt x="28" y="187"/>
                  </a:lnTo>
                  <a:lnTo>
                    <a:pt x="29" y="187"/>
                  </a:lnTo>
                  <a:lnTo>
                    <a:pt x="33" y="182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3" y="173"/>
                  </a:lnTo>
                  <a:lnTo>
                    <a:pt x="31" y="173"/>
                  </a:lnTo>
                  <a:lnTo>
                    <a:pt x="28" y="172"/>
                  </a:lnTo>
                  <a:lnTo>
                    <a:pt x="26" y="172"/>
                  </a:lnTo>
                  <a:lnTo>
                    <a:pt x="26" y="172"/>
                  </a:lnTo>
                  <a:lnTo>
                    <a:pt x="26" y="172"/>
                  </a:lnTo>
                  <a:lnTo>
                    <a:pt x="28" y="170"/>
                  </a:lnTo>
                  <a:lnTo>
                    <a:pt x="29" y="169"/>
                  </a:lnTo>
                  <a:lnTo>
                    <a:pt x="31" y="167"/>
                  </a:lnTo>
                  <a:lnTo>
                    <a:pt x="33" y="164"/>
                  </a:lnTo>
                  <a:lnTo>
                    <a:pt x="34" y="163"/>
                  </a:lnTo>
                  <a:lnTo>
                    <a:pt x="35" y="161"/>
                  </a:lnTo>
                  <a:lnTo>
                    <a:pt x="37" y="160"/>
                  </a:lnTo>
                  <a:lnTo>
                    <a:pt x="41" y="155"/>
                  </a:lnTo>
                  <a:lnTo>
                    <a:pt x="44" y="151"/>
                  </a:lnTo>
                  <a:lnTo>
                    <a:pt x="46" y="148"/>
                  </a:lnTo>
                  <a:lnTo>
                    <a:pt x="46" y="145"/>
                  </a:lnTo>
                  <a:lnTo>
                    <a:pt x="46" y="142"/>
                  </a:lnTo>
                  <a:lnTo>
                    <a:pt x="44" y="140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52" y="125"/>
                  </a:lnTo>
                  <a:lnTo>
                    <a:pt x="52" y="125"/>
                  </a:lnTo>
                  <a:lnTo>
                    <a:pt x="53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4"/>
                  </a:lnTo>
                  <a:lnTo>
                    <a:pt x="53" y="121"/>
                  </a:lnTo>
                  <a:lnTo>
                    <a:pt x="49" y="118"/>
                  </a:lnTo>
                  <a:lnTo>
                    <a:pt x="46" y="115"/>
                  </a:lnTo>
                  <a:lnTo>
                    <a:pt x="44" y="112"/>
                  </a:lnTo>
                  <a:lnTo>
                    <a:pt x="44" y="110"/>
                  </a:lnTo>
                  <a:lnTo>
                    <a:pt x="46" y="109"/>
                  </a:lnTo>
                  <a:lnTo>
                    <a:pt x="49" y="109"/>
                  </a:lnTo>
                  <a:lnTo>
                    <a:pt x="50" y="109"/>
                  </a:lnTo>
                  <a:lnTo>
                    <a:pt x="52" y="109"/>
                  </a:lnTo>
                  <a:lnTo>
                    <a:pt x="53" y="109"/>
                  </a:lnTo>
                  <a:lnTo>
                    <a:pt x="55" y="85"/>
                  </a:lnTo>
                  <a:lnTo>
                    <a:pt x="55" y="83"/>
                  </a:lnTo>
                  <a:lnTo>
                    <a:pt x="179" y="73"/>
                  </a:lnTo>
                  <a:lnTo>
                    <a:pt x="179" y="53"/>
                  </a:lnTo>
                  <a:lnTo>
                    <a:pt x="179" y="53"/>
                  </a:lnTo>
                  <a:lnTo>
                    <a:pt x="181" y="55"/>
                  </a:lnTo>
                  <a:lnTo>
                    <a:pt x="184" y="55"/>
                  </a:lnTo>
                  <a:lnTo>
                    <a:pt x="188" y="55"/>
                  </a:lnTo>
                  <a:lnTo>
                    <a:pt x="193" y="55"/>
                  </a:lnTo>
                  <a:lnTo>
                    <a:pt x="199" y="56"/>
                  </a:lnTo>
                  <a:lnTo>
                    <a:pt x="205" y="56"/>
                  </a:lnTo>
                  <a:lnTo>
                    <a:pt x="212" y="56"/>
                  </a:lnTo>
                  <a:lnTo>
                    <a:pt x="214" y="56"/>
                  </a:lnTo>
                  <a:lnTo>
                    <a:pt x="217" y="56"/>
                  </a:lnTo>
                  <a:lnTo>
                    <a:pt x="221" y="55"/>
                  </a:lnTo>
                  <a:lnTo>
                    <a:pt x="226" y="55"/>
                  </a:lnTo>
                  <a:lnTo>
                    <a:pt x="234" y="53"/>
                  </a:lnTo>
                  <a:lnTo>
                    <a:pt x="242" y="53"/>
                  </a:lnTo>
                  <a:lnTo>
                    <a:pt x="251" y="52"/>
                  </a:lnTo>
                  <a:lnTo>
                    <a:pt x="262" y="52"/>
                  </a:lnTo>
                  <a:lnTo>
                    <a:pt x="274" y="50"/>
                  </a:lnTo>
                  <a:lnTo>
                    <a:pt x="286" y="49"/>
                  </a:lnTo>
                  <a:lnTo>
                    <a:pt x="298" y="49"/>
                  </a:lnTo>
                  <a:lnTo>
                    <a:pt x="313" y="47"/>
                  </a:lnTo>
                  <a:lnTo>
                    <a:pt x="327" y="46"/>
                  </a:lnTo>
                  <a:lnTo>
                    <a:pt x="342" y="44"/>
                  </a:lnTo>
                  <a:lnTo>
                    <a:pt x="355" y="43"/>
                  </a:lnTo>
                  <a:lnTo>
                    <a:pt x="370" y="41"/>
                  </a:lnTo>
                  <a:lnTo>
                    <a:pt x="385" y="40"/>
                  </a:lnTo>
                  <a:lnTo>
                    <a:pt x="400" y="40"/>
                  </a:lnTo>
                  <a:lnTo>
                    <a:pt x="415" y="38"/>
                  </a:lnTo>
                  <a:lnTo>
                    <a:pt x="427" y="37"/>
                  </a:lnTo>
                  <a:lnTo>
                    <a:pt x="442" y="35"/>
                  </a:lnTo>
                  <a:lnTo>
                    <a:pt x="454" y="34"/>
                  </a:lnTo>
                  <a:lnTo>
                    <a:pt x="468" y="32"/>
                  </a:lnTo>
                  <a:lnTo>
                    <a:pt x="480" y="32"/>
                  </a:lnTo>
                  <a:lnTo>
                    <a:pt x="489" y="31"/>
                  </a:lnTo>
                  <a:lnTo>
                    <a:pt x="499" y="31"/>
                  </a:lnTo>
                  <a:lnTo>
                    <a:pt x="508" y="31"/>
                  </a:lnTo>
                  <a:lnTo>
                    <a:pt x="514" y="31"/>
                  </a:lnTo>
                  <a:lnTo>
                    <a:pt x="519" y="29"/>
                  </a:lnTo>
                  <a:lnTo>
                    <a:pt x="523" y="29"/>
                  </a:lnTo>
                  <a:lnTo>
                    <a:pt x="526" y="29"/>
                  </a:lnTo>
                  <a:lnTo>
                    <a:pt x="528" y="29"/>
                  </a:lnTo>
                  <a:lnTo>
                    <a:pt x="681" y="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" name="Freeform 100"/>
            <p:cNvSpPr>
              <a:spLocks/>
            </p:cNvSpPr>
            <p:nvPr/>
          </p:nvSpPr>
          <p:spPr bwMode="auto">
            <a:xfrm>
              <a:off x="2563975" y="4896925"/>
              <a:ext cx="474415" cy="168901"/>
            </a:xfrm>
            <a:custGeom>
              <a:avLst/>
              <a:gdLst>
                <a:gd name="T0" fmla="*/ 705 w 707"/>
                <a:gd name="T1" fmla="*/ 0 h 251"/>
                <a:gd name="T2" fmla="*/ 705 w 707"/>
                <a:gd name="T3" fmla="*/ 14 h 251"/>
                <a:gd name="T4" fmla="*/ 705 w 707"/>
                <a:gd name="T5" fmla="*/ 31 h 251"/>
                <a:gd name="T6" fmla="*/ 690 w 707"/>
                <a:gd name="T7" fmla="*/ 37 h 251"/>
                <a:gd name="T8" fmla="*/ 681 w 707"/>
                <a:gd name="T9" fmla="*/ 56 h 251"/>
                <a:gd name="T10" fmla="*/ 670 w 707"/>
                <a:gd name="T11" fmla="*/ 53 h 251"/>
                <a:gd name="T12" fmla="*/ 644 w 707"/>
                <a:gd name="T13" fmla="*/ 76 h 251"/>
                <a:gd name="T14" fmla="*/ 637 w 707"/>
                <a:gd name="T15" fmla="*/ 74 h 251"/>
                <a:gd name="T16" fmla="*/ 627 w 707"/>
                <a:gd name="T17" fmla="*/ 73 h 251"/>
                <a:gd name="T18" fmla="*/ 617 w 707"/>
                <a:gd name="T19" fmla="*/ 85 h 251"/>
                <a:gd name="T20" fmla="*/ 609 w 707"/>
                <a:gd name="T21" fmla="*/ 100 h 251"/>
                <a:gd name="T22" fmla="*/ 607 w 707"/>
                <a:gd name="T23" fmla="*/ 104 h 251"/>
                <a:gd name="T24" fmla="*/ 578 w 707"/>
                <a:gd name="T25" fmla="*/ 119 h 251"/>
                <a:gd name="T26" fmla="*/ 564 w 707"/>
                <a:gd name="T27" fmla="*/ 133 h 251"/>
                <a:gd name="T28" fmla="*/ 543 w 707"/>
                <a:gd name="T29" fmla="*/ 139 h 251"/>
                <a:gd name="T30" fmla="*/ 529 w 707"/>
                <a:gd name="T31" fmla="*/ 155 h 251"/>
                <a:gd name="T32" fmla="*/ 525 w 707"/>
                <a:gd name="T33" fmla="*/ 166 h 251"/>
                <a:gd name="T34" fmla="*/ 511 w 707"/>
                <a:gd name="T35" fmla="*/ 173 h 251"/>
                <a:gd name="T36" fmla="*/ 399 w 707"/>
                <a:gd name="T37" fmla="*/ 214 h 251"/>
                <a:gd name="T38" fmla="*/ 5 w 707"/>
                <a:gd name="T39" fmla="*/ 250 h 251"/>
                <a:gd name="T40" fmla="*/ 2 w 707"/>
                <a:gd name="T41" fmla="*/ 245 h 251"/>
                <a:gd name="T42" fmla="*/ 11 w 707"/>
                <a:gd name="T43" fmla="*/ 239 h 251"/>
                <a:gd name="T44" fmla="*/ 19 w 707"/>
                <a:gd name="T45" fmla="*/ 223 h 251"/>
                <a:gd name="T46" fmla="*/ 13 w 707"/>
                <a:gd name="T47" fmla="*/ 212 h 251"/>
                <a:gd name="T48" fmla="*/ 17 w 707"/>
                <a:gd name="T49" fmla="*/ 200 h 251"/>
                <a:gd name="T50" fmla="*/ 25 w 707"/>
                <a:gd name="T51" fmla="*/ 191 h 251"/>
                <a:gd name="T52" fmla="*/ 29 w 707"/>
                <a:gd name="T53" fmla="*/ 187 h 251"/>
                <a:gd name="T54" fmla="*/ 33 w 707"/>
                <a:gd name="T55" fmla="*/ 173 h 251"/>
                <a:gd name="T56" fmla="*/ 26 w 707"/>
                <a:gd name="T57" fmla="*/ 172 h 251"/>
                <a:gd name="T58" fmla="*/ 29 w 707"/>
                <a:gd name="T59" fmla="*/ 169 h 251"/>
                <a:gd name="T60" fmla="*/ 35 w 707"/>
                <a:gd name="T61" fmla="*/ 161 h 251"/>
                <a:gd name="T62" fmla="*/ 44 w 707"/>
                <a:gd name="T63" fmla="*/ 151 h 251"/>
                <a:gd name="T64" fmla="*/ 44 w 707"/>
                <a:gd name="T65" fmla="*/ 140 h 251"/>
                <a:gd name="T66" fmla="*/ 52 w 707"/>
                <a:gd name="T67" fmla="*/ 125 h 251"/>
                <a:gd name="T68" fmla="*/ 55 w 707"/>
                <a:gd name="T69" fmla="*/ 125 h 251"/>
                <a:gd name="T70" fmla="*/ 49 w 707"/>
                <a:gd name="T71" fmla="*/ 118 h 251"/>
                <a:gd name="T72" fmla="*/ 44 w 707"/>
                <a:gd name="T73" fmla="*/ 110 h 251"/>
                <a:gd name="T74" fmla="*/ 52 w 707"/>
                <a:gd name="T75" fmla="*/ 109 h 251"/>
                <a:gd name="T76" fmla="*/ 179 w 707"/>
                <a:gd name="T77" fmla="*/ 73 h 251"/>
                <a:gd name="T78" fmla="*/ 181 w 707"/>
                <a:gd name="T79" fmla="*/ 55 h 251"/>
                <a:gd name="T80" fmla="*/ 199 w 707"/>
                <a:gd name="T81" fmla="*/ 56 h 251"/>
                <a:gd name="T82" fmla="*/ 214 w 707"/>
                <a:gd name="T83" fmla="*/ 56 h 251"/>
                <a:gd name="T84" fmla="*/ 234 w 707"/>
                <a:gd name="T85" fmla="*/ 53 h 251"/>
                <a:gd name="T86" fmla="*/ 274 w 707"/>
                <a:gd name="T87" fmla="*/ 50 h 251"/>
                <a:gd name="T88" fmla="*/ 327 w 707"/>
                <a:gd name="T89" fmla="*/ 46 h 251"/>
                <a:gd name="T90" fmla="*/ 385 w 707"/>
                <a:gd name="T91" fmla="*/ 40 h 251"/>
                <a:gd name="T92" fmla="*/ 442 w 707"/>
                <a:gd name="T93" fmla="*/ 35 h 251"/>
                <a:gd name="T94" fmla="*/ 489 w 707"/>
                <a:gd name="T95" fmla="*/ 31 h 251"/>
                <a:gd name="T96" fmla="*/ 519 w 707"/>
                <a:gd name="T97" fmla="*/ 29 h 251"/>
                <a:gd name="T98" fmla="*/ 681 w 707"/>
                <a:gd name="T99" fmla="*/ 5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07" h="251">
                  <a:moveTo>
                    <a:pt x="681" y="5"/>
                  </a:moveTo>
                  <a:lnTo>
                    <a:pt x="691" y="0"/>
                  </a:lnTo>
                  <a:lnTo>
                    <a:pt x="705" y="0"/>
                  </a:lnTo>
                  <a:lnTo>
                    <a:pt x="705" y="0"/>
                  </a:lnTo>
                  <a:lnTo>
                    <a:pt x="705" y="1"/>
                  </a:lnTo>
                  <a:lnTo>
                    <a:pt x="705" y="4"/>
                  </a:lnTo>
                  <a:lnTo>
                    <a:pt x="705" y="10"/>
                  </a:lnTo>
                  <a:lnTo>
                    <a:pt x="705" y="14"/>
                  </a:lnTo>
                  <a:lnTo>
                    <a:pt x="706" y="20"/>
                  </a:lnTo>
                  <a:lnTo>
                    <a:pt x="705" y="26"/>
                  </a:lnTo>
                  <a:lnTo>
                    <a:pt x="705" y="29"/>
                  </a:lnTo>
                  <a:lnTo>
                    <a:pt x="705" y="31"/>
                  </a:lnTo>
                  <a:lnTo>
                    <a:pt x="705" y="31"/>
                  </a:lnTo>
                  <a:lnTo>
                    <a:pt x="699" y="31"/>
                  </a:lnTo>
                  <a:lnTo>
                    <a:pt x="694" y="32"/>
                  </a:lnTo>
                  <a:lnTo>
                    <a:pt x="690" y="37"/>
                  </a:lnTo>
                  <a:lnTo>
                    <a:pt x="687" y="43"/>
                  </a:lnTo>
                  <a:lnTo>
                    <a:pt x="684" y="49"/>
                  </a:lnTo>
                  <a:lnTo>
                    <a:pt x="683" y="53"/>
                  </a:lnTo>
                  <a:lnTo>
                    <a:pt x="681" y="56"/>
                  </a:lnTo>
                  <a:lnTo>
                    <a:pt x="681" y="56"/>
                  </a:lnTo>
                  <a:lnTo>
                    <a:pt x="681" y="56"/>
                  </a:lnTo>
                  <a:lnTo>
                    <a:pt x="675" y="53"/>
                  </a:lnTo>
                  <a:lnTo>
                    <a:pt x="670" y="53"/>
                  </a:lnTo>
                  <a:lnTo>
                    <a:pt x="663" y="58"/>
                  </a:lnTo>
                  <a:lnTo>
                    <a:pt x="655" y="62"/>
                  </a:lnTo>
                  <a:lnTo>
                    <a:pt x="650" y="70"/>
                  </a:lnTo>
                  <a:lnTo>
                    <a:pt x="644" y="76"/>
                  </a:lnTo>
                  <a:lnTo>
                    <a:pt x="640" y="79"/>
                  </a:lnTo>
                  <a:lnTo>
                    <a:pt x="639" y="79"/>
                  </a:lnTo>
                  <a:lnTo>
                    <a:pt x="639" y="79"/>
                  </a:lnTo>
                  <a:lnTo>
                    <a:pt x="637" y="74"/>
                  </a:lnTo>
                  <a:lnTo>
                    <a:pt x="634" y="73"/>
                  </a:lnTo>
                  <a:lnTo>
                    <a:pt x="633" y="71"/>
                  </a:lnTo>
                  <a:lnTo>
                    <a:pt x="630" y="71"/>
                  </a:lnTo>
                  <a:lnTo>
                    <a:pt x="627" y="73"/>
                  </a:lnTo>
                  <a:lnTo>
                    <a:pt x="624" y="74"/>
                  </a:lnTo>
                  <a:lnTo>
                    <a:pt x="621" y="77"/>
                  </a:lnTo>
                  <a:lnTo>
                    <a:pt x="619" y="82"/>
                  </a:lnTo>
                  <a:lnTo>
                    <a:pt x="617" y="85"/>
                  </a:lnTo>
                  <a:lnTo>
                    <a:pt x="614" y="89"/>
                  </a:lnTo>
                  <a:lnTo>
                    <a:pt x="612" y="93"/>
                  </a:lnTo>
                  <a:lnTo>
                    <a:pt x="611" y="95"/>
                  </a:lnTo>
                  <a:lnTo>
                    <a:pt x="609" y="100"/>
                  </a:lnTo>
                  <a:lnTo>
                    <a:pt x="609" y="101"/>
                  </a:lnTo>
                  <a:lnTo>
                    <a:pt x="607" y="103"/>
                  </a:lnTo>
                  <a:lnTo>
                    <a:pt x="607" y="104"/>
                  </a:lnTo>
                  <a:lnTo>
                    <a:pt x="607" y="104"/>
                  </a:lnTo>
                  <a:lnTo>
                    <a:pt x="600" y="106"/>
                  </a:lnTo>
                  <a:lnTo>
                    <a:pt x="592" y="109"/>
                  </a:lnTo>
                  <a:lnTo>
                    <a:pt x="585" y="113"/>
                  </a:lnTo>
                  <a:lnTo>
                    <a:pt x="578" y="119"/>
                  </a:lnTo>
                  <a:lnTo>
                    <a:pt x="574" y="124"/>
                  </a:lnTo>
                  <a:lnTo>
                    <a:pt x="568" y="128"/>
                  </a:lnTo>
                  <a:lnTo>
                    <a:pt x="565" y="131"/>
                  </a:lnTo>
                  <a:lnTo>
                    <a:pt x="564" y="133"/>
                  </a:lnTo>
                  <a:lnTo>
                    <a:pt x="564" y="133"/>
                  </a:lnTo>
                  <a:lnTo>
                    <a:pt x="555" y="133"/>
                  </a:lnTo>
                  <a:lnTo>
                    <a:pt x="548" y="136"/>
                  </a:lnTo>
                  <a:lnTo>
                    <a:pt x="543" y="139"/>
                  </a:lnTo>
                  <a:lnTo>
                    <a:pt x="537" y="143"/>
                  </a:lnTo>
                  <a:lnTo>
                    <a:pt x="534" y="148"/>
                  </a:lnTo>
                  <a:lnTo>
                    <a:pt x="531" y="152"/>
                  </a:lnTo>
                  <a:lnTo>
                    <a:pt x="529" y="155"/>
                  </a:lnTo>
                  <a:lnTo>
                    <a:pt x="529" y="156"/>
                  </a:lnTo>
                  <a:lnTo>
                    <a:pt x="529" y="156"/>
                  </a:lnTo>
                  <a:lnTo>
                    <a:pt x="528" y="161"/>
                  </a:lnTo>
                  <a:lnTo>
                    <a:pt x="525" y="166"/>
                  </a:lnTo>
                  <a:lnTo>
                    <a:pt x="522" y="170"/>
                  </a:lnTo>
                  <a:lnTo>
                    <a:pt x="517" y="172"/>
                  </a:lnTo>
                  <a:lnTo>
                    <a:pt x="514" y="173"/>
                  </a:lnTo>
                  <a:lnTo>
                    <a:pt x="511" y="173"/>
                  </a:lnTo>
                  <a:lnTo>
                    <a:pt x="508" y="173"/>
                  </a:lnTo>
                  <a:lnTo>
                    <a:pt x="508" y="173"/>
                  </a:lnTo>
                  <a:lnTo>
                    <a:pt x="508" y="202"/>
                  </a:lnTo>
                  <a:lnTo>
                    <a:pt x="399" y="214"/>
                  </a:lnTo>
                  <a:lnTo>
                    <a:pt x="185" y="232"/>
                  </a:lnTo>
                  <a:lnTo>
                    <a:pt x="5" y="248"/>
                  </a:lnTo>
                  <a:lnTo>
                    <a:pt x="5" y="250"/>
                  </a:lnTo>
                  <a:lnTo>
                    <a:pt x="5" y="250"/>
                  </a:lnTo>
                  <a:lnTo>
                    <a:pt x="1" y="250"/>
                  </a:lnTo>
                  <a:lnTo>
                    <a:pt x="0" y="248"/>
                  </a:lnTo>
                  <a:lnTo>
                    <a:pt x="0" y="247"/>
                  </a:lnTo>
                  <a:lnTo>
                    <a:pt x="2" y="245"/>
                  </a:lnTo>
                  <a:lnTo>
                    <a:pt x="5" y="242"/>
                  </a:lnTo>
                  <a:lnTo>
                    <a:pt x="7" y="241"/>
                  </a:lnTo>
                  <a:lnTo>
                    <a:pt x="10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6" y="233"/>
                  </a:lnTo>
                  <a:lnTo>
                    <a:pt x="17" y="227"/>
                  </a:lnTo>
                  <a:lnTo>
                    <a:pt x="19" y="223"/>
                  </a:lnTo>
                  <a:lnTo>
                    <a:pt x="17" y="219"/>
                  </a:lnTo>
                  <a:lnTo>
                    <a:pt x="16" y="217"/>
                  </a:lnTo>
                  <a:lnTo>
                    <a:pt x="14" y="215"/>
                  </a:lnTo>
                  <a:lnTo>
                    <a:pt x="13" y="212"/>
                  </a:lnTo>
                  <a:lnTo>
                    <a:pt x="13" y="212"/>
                  </a:lnTo>
                  <a:lnTo>
                    <a:pt x="17" y="202"/>
                  </a:lnTo>
                  <a:lnTo>
                    <a:pt x="17" y="202"/>
                  </a:lnTo>
                  <a:lnTo>
                    <a:pt x="17" y="200"/>
                  </a:lnTo>
                  <a:lnTo>
                    <a:pt x="19" y="199"/>
                  </a:lnTo>
                  <a:lnTo>
                    <a:pt x="20" y="197"/>
                  </a:lnTo>
                  <a:lnTo>
                    <a:pt x="22" y="194"/>
                  </a:lnTo>
                  <a:lnTo>
                    <a:pt x="25" y="191"/>
                  </a:lnTo>
                  <a:lnTo>
                    <a:pt x="26" y="188"/>
                  </a:lnTo>
                  <a:lnTo>
                    <a:pt x="28" y="187"/>
                  </a:lnTo>
                  <a:lnTo>
                    <a:pt x="29" y="187"/>
                  </a:lnTo>
                  <a:lnTo>
                    <a:pt x="29" y="187"/>
                  </a:lnTo>
                  <a:lnTo>
                    <a:pt x="33" y="182"/>
                  </a:lnTo>
                  <a:lnTo>
                    <a:pt x="34" y="178"/>
                  </a:lnTo>
                  <a:lnTo>
                    <a:pt x="34" y="176"/>
                  </a:lnTo>
                  <a:lnTo>
                    <a:pt x="33" y="173"/>
                  </a:lnTo>
                  <a:lnTo>
                    <a:pt x="31" y="173"/>
                  </a:lnTo>
                  <a:lnTo>
                    <a:pt x="28" y="172"/>
                  </a:lnTo>
                  <a:lnTo>
                    <a:pt x="26" y="172"/>
                  </a:lnTo>
                  <a:lnTo>
                    <a:pt x="26" y="172"/>
                  </a:lnTo>
                  <a:lnTo>
                    <a:pt x="26" y="172"/>
                  </a:lnTo>
                  <a:lnTo>
                    <a:pt x="26" y="172"/>
                  </a:lnTo>
                  <a:lnTo>
                    <a:pt x="28" y="170"/>
                  </a:lnTo>
                  <a:lnTo>
                    <a:pt x="29" y="169"/>
                  </a:lnTo>
                  <a:lnTo>
                    <a:pt x="31" y="167"/>
                  </a:lnTo>
                  <a:lnTo>
                    <a:pt x="33" y="164"/>
                  </a:lnTo>
                  <a:lnTo>
                    <a:pt x="34" y="163"/>
                  </a:lnTo>
                  <a:lnTo>
                    <a:pt x="35" y="161"/>
                  </a:lnTo>
                  <a:lnTo>
                    <a:pt x="37" y="160"/>
                  </a:lnTo>
                  <a:lnTo>
                    <a:pt x="37" y="160"/>
                  </a:lnTo>
                  <a:lnTo>
                    <a:pt x="41" y="155"/>
                  </a:lnTo>
                  <a:lnTo>
                    <a:pt x="44" y="151"/>
                  </a:lnTo>
                  <a:lnTo>
                    <a:pt x="46" y="148"/>
                  </a:lnTo>
                  <a:lnTo>
                    <a:pt x="46" y="145"/>
                  </a:lnTo>
                  <a:lnTo>
                    <a:pt x="46" y="142"/>
                  </a:lnTo>
                  <a:lnTo>
                    <a:pt x="44" y="140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52" y="125"/>
                  </a:lnTo>
                  <a:lnTo>
                    <a:pt x="52" y="125"/>
                  </a:lnTo>
                  <a:lnTo>
                    <a:pt x="52" y="125"/>
                  </a:lnTo>
                  <a:lnTo>
                    <a:pt x="53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4"/>
                  </a:lnTo>
                  <a:lnTo>
                    <a:pt x="53" y="121"/>
                  </a:lnTo>
                  <a:lnTo>
                    <a:pt x="49" y="118"/>
                  </a:lnTo>
                  <a:lnTo>
                    <a:pt x="49" y="118"/>
                  </a:lnTo>
                  <a:lnTo>
                    <a:pt x="46" y="115"/>
                  </a:lnTo>
                  <a:lnTo>
                    <a:pt x="44" y="112"/>
                  </a:lnTo>
                  <a:lnTo>
                    <a:pt x="44" y="110"/>
                  </a:lnTo>
                  <a:lnTo>
                    <a:pt x="46" y="109"/>
                  </a:lnTo>
                  <a:lnTo>
                    <a:pt x="49" y="109"/>
                  </a:lnTo>
                  <a:lnTo>
                    <a:pt x="50" y="109"/>
                  </a:lnTo>
                  <a:lnTo>
                    <a:pt x="52" y="109"/>
                  </a:lnTo>
                  <a:lnTo>
                    <a:pt x="53" y="109"/>
                  </a:lnTo>
                  <a:lnTo>
                    <a:pt x="55" y="85"/>
                  </a:lnTo>
                  <a:lnTo>
                    <a:pt x="55" y="83"/>
                  </a:lnTo>
                  <a:lnTo>
                    <a:pt x="179" y="73"/>
                  </a:lnTo>
                  <a:lnTo>
                    <a:pt x="179" y="53"/>
                  </a:lnTo>
                  <a:lnTo>
                    <a:pt x="179" y="53"/>
                  </a:lnTo>
                  <a:lnTo>
                    <a:pt x="179" y="53"/>
                  </a:lnTo>
                  <a:lnTo>
                    <a:pt x="181" y="55"/>
                  </a:lnTo>
                  <a:lnTo>
                    <a:pt x="184" y="55"/>
                  </a:lnTo>
                  <a:lnTo>
                    <a:pt x="188" y="55"/>
                  </a:lnTo>
                  <a:lnTo>
                    <a:pt x="193" y="55"/>
                  </a:lnTo>
                  <a:lnTo>
                    <a:pt x="199" y="56"/>
                  </a:lnTo>
                  <a:lnTo>
                    <a:pt x="205" y="56"/>
                  </a:lnTo>
                  <a:lnTo>
                    <a:pt x="212" y="56"/>
                  </a:lnTo>
                  <a:lnTo>
                    <a:pt x="212" y="56"/>
                  </a:lnTo>
                  <a:lnTo>
                    <a:pt x="214" y="56"/>
                  </a:lnTo>
                  <a:lnTo>
                    <a:pt x="217" y="56"/>
                  </a:lnTo>
                  <a:lnTo>
                    <a:pt x="221" y="55"/>
                  </a:lnTo>
                  <a:lnTo>
                    <a:pt x="226" y="55"/>
                  </a:lnTo>
                  <a:lnTo>
                    <a:pt x="234" y="53"/>
                  </a:lnTo>
                  <a:lnTo>
                    <a:pt x="242" y="53"/>
                  </a:lnTo>
                  <a:lnTo>
                    <a:pt x="251" y="52"/>
                  </a:lnTo>
                  <a:lnTo>
                    <a:pt x="262" y="52"/>
                  </a:lnTo>
                  <a:lnTo>
                    <a:pt x="274" y="50"/>
                  </a:lnTo>
                  <a:lnTo>
                    <a:pt x="286" y="49"/>
                  </a:lnTo>
                  <a:lnTo>
                    <a:pt x="298" y="49"/>
                  </a:lnTo>
                  <a:lnTo>
                    <a:pt x="313" y="47"/>
                  </a:lnTo>
                  <a:lnTo>
                    <a:pt x="327" y="46"/>
                  </a:lnTo>
                  <a:lnTo>
                    <a:pt x="342" y="44"/>
                  </a:lnTo>
                  <a:lnTo>
                    <a:pt x="355" y="43"/>
                  </a:lnTo>
                  <a:lnTo>
                    <a:pt x="370" y="41"/>
                  </a:lnTo>
                  <a:lnTo>
                    <a:pt x="385" y="40"/>
                  </a:lnTo>
                  <a:lnTo>
                    <a:pt x="400" y="40"/>
                  </a:lnTo>
                  <a:lnTo>
                    <a:pt x="415" y="38"/>
                  </a:lnTo>
                  <a:lnTo>
                    <a:pt x="427" y="37"/>
                  </a:lnTo>
                  <a:lnTo>
                    <a:pt x="442" y="35"/>
                  </a:lnTo>
                  <a:lnTo>
                    <a:pt x="454" y="34"/>
                  </a:lnTo>
                  <a:lnTo>
                    <a:pt x="468" y="32"/>
                  </a:lnTo>
                  <a:lnTo>
                    <a:pt x="480" y="32"/>
                  </a:lnTo>
                  <a:lnTo>
                    <a:pt x="489" y="31"/>
                  </a:lnTo>
                  <a:lnTo>
                    <a:pt x="499" y="31"/>
                  </a:lnTo>
                  <a:lnTo>
                    <a:pt x="508" y="31"/>
                  </a:lnTo>
                  <a:lnTo>
                    <a:pt x="514" y="31"/>
                  </a:lnTo>
                  <a:lnTo>
                    <a:pt x="519" y="29"/>
                  </a:lnTo>
                  <a:lnTo>
                    <a:pt x="523" y="29"/>
                  </a:lnTo>
                  <a:lnTo>
                    <a:pt x="526" y="29"/>
                  </a:lnTo>
                  <a:lnTo>
                    <a:pt x="528" y="29"/>
                  </a:lnTo>
                  <a:lnTo>
                    <a:pt x="681" y="5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" name="Freeform 101"/>
            <p:cNvSpPr>
              <a:spLocks/>
            </p:cNvSpPr>
            <p:nvPr/>
          </p:nvSpPr>
          <p:spPr bwMode="auto">
            <a:xfrm>
              <a:off x="2498871" y="5053407"/>
              <a:ext cx="200737" cy="348980"/>
            </a:xfrm>
            <a:custGeom>
              <a:avLst/>
              <a:gdLst>
                <a:gd name="T0" fmla="*/ 221 w 299"/>
                <a:gd name="T1" fmla="*/ 502 h 520"/>
                <a:gd name="T2" fmla="*/ 233 w 299"/>
                <a:gd name="T3" fmla="*/ 498 h 520"/>
                <a:gd name="T4" fmla="*/ 245 w 299"/>
                <a:gd name="T5" fmla="*/ 495 h 520"/>
                <a:gd name="T6" fmla="*/ 257 w 299"/>
                <a:gd name="T7" fmla="*/ 490 h 520"/>
                <a:gd name="T8" fmla="*/ 247 w 299"/>
                <a:gd name="T9" fmla="*/ 488 h 520"/>
                <a:gd name="T10" fmla="*/ 265 w 299"/>
                <a:gd name="T11" fmla="*/ 488 h 520"/>
                <a:gd name="T12" fmla="*/ 266 w 299"/>
                <a:gd name="T13" fmla="*/ 493 h 520"/>
                <a:gd name="T14" fmla="*/ 281 w 299"/>
                <a:gd name="T15" fmla="*/ 488 h 520"/>
                <a:gd name="T16" fmla="*/ 290 w 299"/>
                <a:gd name="T17" fmla="*/ 495 h 520"/>
                <a:gd name="T18" fmla="*/ 298 w 299"/>
                <a:gd name="T19" fmla="*/ 489 h 520"/>
                <a:gd name="T20" fmla="*/ 281 w 299"/>
                <a:gd name="T21" fmla="*/ 0 h 520"/>
                <a:gd name="T22" fmla="*/ 102 w 299"/>
                <a:gd name="T23" fmla="*/ 17 h 520"/>
                <a:gd name="T24" fmla="*/ 101 w 299"/>
                <a:gd name="T25" fmla="*/ 24 h 520"/>
                <a:gd name="T26" fmla="*/ 78 w 299"/>
                <a:gd name="T27" fmla="*/ 49 h 520"/>
                <a:gd name="T28" fmla="*/ 54 w 299"/>
                <a:gd name="T29" fmla="*/ 96 h 520"/>
                <a:gd name="T30" fmla="*/ 47 w 299"/>
                <a:gd name="T31" fmla="*/ 112 h 520"/>
                <a:gd name="T32" fmla="*/ 48 w 299"/>
                <a:gd name="T33" fmla="*/ 120 h 520"/>
                <a:gd name="T34" fmla="*/ 38 w 299"/>
                <a:gd name="T35" fmla="*/ 124 h 520"/>
                <a:gd name="T36" fmla="*/ 36 w 299"/>
                <a:gd name="T37" fmla="*/ 132 h 520"/>
                <a:gd name="T38" fmla="*/ 39 w 299"/>
                <a:gd name="T39" fmla="*/ 140 h 520"/>
                <a:gd name="T40" fmla="*/ 33 w 299"/>
                <a:gd name="T41" fmla="*/ 147 h 520"/>
                <a:gd name="T42" fmla="*/ 35 w 299"/>
                <a:gd name="T43" fmla="*/ 150 h 520"/>
                <a:gd name="T44" fmla="*/ 39 w 299"/>
                <a:gd name="T45" fmla="*/ 154 h 520"/>
                <a:gd name="T46" fmla="*/ 29 w 299"/>
                <a:gd name="T47" fmla="*/ 160 h 520"/>
                <a:gd name="T48" fmla="*/ 24 w 299"/>
                <a:gd name="T49" fmla="*/ 173 h 520"/>
                <a:gd name="T50" fmla="*/ 36 w 299"/>
                <a:gd name="T51" fmla="*/ 203 h 520"/>
                <a:gd name="T52" fmla="*/ 39 w 299"/>
                <a:gd name="T53" fmla="*/ 210 h 520"/>
                <a:gd name="T54" fmla="*/ 35 w 299"/>
                <a:gd name="T55" fmla="*/ 214 h 520"/>
                <a:gd name="T56" fmla="*/ 32 w 299"/>
                <a:gd name="T57" fmla="*/ 225 h 520"/>
                <a:gd name="T58" fmla="*/ 30 w 299"/>
                <a:gd name="T59" fmla="*/ 228 h 520"/>
                <a:gd name="T60" fmla="*/ 30 w 299"/>
                <a:gd name="T61" fmla="*/ 236 h 520"/>
                <a:gd name="T62" fmla="*/ 35 w 299"/>
                <a:gd name="T63" fmla="*/ 237 h 520"/>
                <a:gd name="T64" fmla="*/ 39 w 299"/>
                <a:gd name="T65" fmla="*/ 243 h 520"/>
                <a:gd name="T66" fmla="*/ 38 w 299"/>
                <a:gd name="T67" fmla="*/ 270 h 520"/>
                <a:gd name="T68" fmla="*/ 47 w 299"/>
                <a:gd name="T69" fmla="*/ 280 h 520"/>
                <a:gd name="T70" fmla="*/ 44 w 299"/>
                <a:gd name="T71" fmla="*/ 286 h 520"/>
                <a:gd name="T72" fmla="*/ 51 w 299"/>
                <a:gd name="T73" fmla="*/ 289 h 520"/>
                <a:gd name="T74" fmla="*/ 51 w 299"/>
                <a:gd name="T75" fmla="*/ 296 h 520"/>
                <a:gd name="T76" fmla="*/ 57 w 299"/>
                <a:gd name="T77" fmla="*/ 300 h 520"/>
                <a:gd name="T78" fmla="*/ 53 w 299"/>
                <a:gd name="T79" fmla="*/ 310 h 520"/>
                <a:gd name="T80" fmla="*/ 47 w 299"/>
                <a:gd name="T81" fmla="*/ 313 h 520"/>
                <a:gd name="T82" fmla="*/ 36 w 299"/>
                <a:gd name="T83" fmla="*/ 318 h 520"/>
                <a:gd name="T84" fmla="*/ 45 w 299"/>
                <a:gd name="T85" fmla="*/ 324 h 520"/>
                <a:gd name="T86" fmla="*/ 36 w 299"/>
                <a:gd name="T87" fmla="*/ 337 h 520"/>
                <a:gd name="T88" fmla="*/ 27 w 299"/>
                <a:gd name="T89" fmla="*/ 352 h 520"/>
                <a:gd name="T90" fmla="*/ 21 w 299"/>
                <a:gd name="T91" fmla="*/ 381 h 520"/>
                <a:gd name="T92" fmla="*/ 12 w 299"/>
                <a:gd name="T93" fmla="*/ 388 h 520"/>
                <a:gd name="T94" fmla="*/ 14 w 299"/>
                <a:gd name="T95" fmla="*/ 395 h 520"/>
                <a:gd name="T96" fmla="*/ 8 w 299"/>
                <a:gd name="T97" fmla="*/ 403 h 520"/>
                <a:gd name="T98" fmla="*/ 12 w 299"/>
                <a:gd name="T99" fmla="*/ 408 h 520"/>
                <a:gd name="T100" fmla="*/ 3 w 299"/>
                <a:gd name="T101" fmla="*/ 418 h 520"/>
                <a:gd name="T102" fmla="*/ 0 w 299"/>
                <a:gd name="T103" fmla="*/ 425 h 520"/>
                <a:gd name="T104" fmla="*/ 5 w 299"/>
                <a:gd name="T105" fmla="*/ 429 h 520"/>
                <a:gd name="T106" fmla="*/ 2 w 299"/>
                <a:gd name="T107" fmla="*/ 438 h 520"/>
                <a:gd name="T108" fmla="*/ 171 w 299"/>
                <a:gd name="T109" fmla="*/ 432 h 520"/>
                <a:gd name="T110" fmla="*/ 167 w 299"/>
                <a:gd name="T111" fmla="*/ 459 h 520"/>
                <a:gd name="T112" fmla="*/ 167 w 299"/>
                <a:gd name="T113" fmla="*/ 477 h 520"/>
                <a:gd name="T114" fmla="*/ 178 w 299"/>
                <a:gd name="T115" fmla="*/ 488 h 520"/>
                <a:gd name="T116" fmla="*/ 188 w 299"/>
                <a:gd name="T117" fmla="*/ 513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9" h="520">
                  <a:moveTo>
                    <a:pt x="203" y="516"/>
                  </a:moveTo>
                  <a:lnTo>
                    <a:pt x="212" y="507"/>
                  </a:lnTo>
                  <a:lnTo>
                    <a:pt x="212" y="499"/>
                  </a:lnTo>
                  <a:lnTo>
                    <a:pt x="221" y="502"/>
                  </a:lnTo>
                  <a:lnTo>
                    <a:pt x="221" y="502"/>
                  </a:lnTo>
                  <a:lnTo>
                    <a:pt x="224" y="501"/>
                  </a:lnTo>
                  <a:lnTo>
                    <a:pt x="229" y="499"/>
                  </a:lnTo>
                  <a:lnTo>
                    <a:pt x="233" y="498"/>
                  </a:lnTo>
                  <a:lnTo>
                    <a:pt x="237" y="496"/>
                  </a:lnTo>
                  <a:lnTo>
                    <a:pt x="239" y="495"/>
                  </a:lnTo>
                  <a:lnTo>
                    <a:pt x="242" y="495"/>
                  </a:lnTo>
                  <a:lnTo>
                    <a:pt x="245" y="495"/>
                  </a:lnTo>
                  <a:lnTo>
                    <a:pt x="254" y="493"/>
                  </a:lnTo>
                  <a:lnTo>
                    <a:pt x="259" y="493"/>
                  </a:lnTo>
                  <a:lnTo>
                    <a:pt x="259" y="492"/>
                  </a:lnTo>
                  <a:lnTo>
                    <a:pt x="257" y="490"/>
                  </a:lnTo>
                  <a:lnTo>
                    <a:pt x="254" y="489"/>
                  </a:lnTo>
                  <a:lnTo>
                    <a:pt x="250" y="488"/>
                  </a:lnTo>
                  <a:lnTo>
                    <a:pt x="247" y="488"/>
                  </a:lnTo>
                  <a:lnTo>
                    <a:pt x="247" y="488"/>
                  </a:lnTo>
                  <a:lnTo>
                    <a:pt x="254" y="486"/>
                  </a:lnTo>
                  <a:lnTo>
                    <a:pt x="259" y="486"/>
                  </a:lnTo>
                  <a:lnTo>
                    <a:pt x="263" y="486"/>
                  </a:lnTo>
                  <a:lnTo>
                    <a:pt x="265" y="488"/>
                  </a:lnTo>
                  <a:lnTo>
                    <a:pt x="266" y="489"/>
                  </a:lnTo>
                  <a:lnTo>
                    <a:pt x="266" y="492"/>
                  </a:lnTo>
                  <a:lnTo>
                    <a:pt x="266" y="492"/>
                  </a:lnTo>
                  <a:lnTo>
                    <a:pt x="266" y="493"/>
                  </a:lnTo>
                  <a:lnTo>
                    <a:pt x="272" y="495"/>
                  </a:lnTo>
                  <a:lnTo>
                    <a:pt x="280" y="486"/>
                  </a:lnTo>
                  <a:lnTo>
                    <a:pt x="280" y="486"/>
                  </a:lnTo>
                  <a:lnTo>
                    <a:pt x="281" y="488"/>
                  </a:lnTo>
                  <a:lnTo>
                    <a:pt x="283" y="489"/>
                  </a:lnTo>
                  <a:lnTo>
                    <a:pt x="283" y="490"/>
                  </a:lnTo>
                  <a:lnTo>
                    <a:pt x="287" y="493"/>
                  </a:lnTo>
                  <a:lnTo>
                    <a:pt x="290" y="495"/>
                  </a:lnTo>
                  <a:lnTo>
                    <a:pt x="293" y="495"/>
                  </a:lnTo>
                  <a:lnTo>
                    <a:pt x="295" y="493"/>
                  </a:lnTo>
                  <a:lnTo>
                    <a:pt x="296" y="492"/>
                  </a:lnTo>
                  <a:lnTo>
                    <a:pt x="298" y="489"/>
                  </a:lnTo>
                  <a:lnTo>
                    <a:pt x="298" y="488"/>
                  </a:lnTo>
                  <a:lnTo>
                    <a:pt x="298" y="488"/>
                  </a:lnTo>
                  <a:lnTo>
                    <a:pt x="277" y="332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02" y="17"/>
                  </a:lnTo>
                  <a:lnTo>
                    <a:pt x="102" y="18"/>
                  </a:lnTo>
                  <a:lnTo>
                    <a:pt x="101" y="21"/>
                  </a:lnTo>
                  <a:lnTo>
                    <a:pt x="101" y="22"/>
                  </a:lnTo>
                  <a:lnTo>
                    <a:pt x="101" y="24"/>
                  </a:lnTo>
                  <a:lnTo>
                    <a:pt x="99" y="25"/>
                  </a:lnTo>
                  <a:lnTo>
                    <a:pt x="99" y="27"/>
                  </a:lnTo>
                  <a:lnTo>
                    <a:pt x="87" y="36"/>
                  </a:lnTo>
                  <a:lnTo>
                    <a:pt x="78" y="49"/>
                  </a:lnTo>
                  <a:lnTo>
                    <a:pt x="78" y="75"/>
                  </a:lnTo>
                  <a:lnTo>
                    <a:pt x="71" y="82"/>
                  </a:lnTo>
                  <a:lnTo>
                    <a:pt x="66" y="82"/>
                  </a:lnTo>
                  <a:lnTo>
                    <a:pt x="54" y="96"/>
                  </a:lnTo>
                  <a:lnTo>
                    <a:pt x="59" y="104"/>
                  </a:lnTo>
                  <a:lnTo>
                    <a:pt x="45" y="111"/>
                  </a:lnTo>
                  <a:lnTo>
                    <a:pt x="47" y="111"/>
                  </a:lnTo>
                  <a:lnTo>
                    <a:pt x="47" y="112"/>
                  </a:lnTo>
                  <a:lnTo>
                    <a:pt x="48" y="114"/>
                  </a:lnTo>
                  <a:lnTo>
                    <a:pt x="48" y="115"/>
                  </a:lnTo>
                  <a:lnTo>
                    <a:pt x="48" y="117"/>
                  </a:lnTo>
                  <a:lnTo>
                    <a:pt x="48" y="120"/>
                  </a:lnTo>
                  <a:lnTo>
                    <a:pt x="45" y="121"/>
                  </a:lnTo>
                  <a:lnTo>
                    <a:pt x="41" y="123"/>
                  </a:lnTo>
                  <a:lnTo>
                    <a:pt x="39" y="123"/>
                  </a:lnTo>
                  <a:lnTo>
                    <a:pt x="38" y="124"/>
                  </a:lnTo>
                  <a:lnTo>
                    <a:pt x="36" y="126"/>
                  </a:lnTo>
                  <a:lnTo>
                    <a:pt x="36" y="127"/>
                  </a:lnTo>
                  <a:lnTo>
                    <a:pt x="36" y="129"/>
                  </a:lnTo>
                  <a:lnTo>
                    <a:pt x="36" y="132"/>
                  </a:lnTo>
                  <a:lnTo>
                    <a:pt x="38" y="134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9" y="140"/>
                  </a:lnTo>
                  <a:lnTo>
                    <a:pt x="38" y="141"/>
                  </a:lnTo>
                  <a:lnTo>
                    <a:pt x="36" y="144"/>
                  </a:lnTo>
                  <a:lnTo>
                    <a:pt x="35" y="145"/>
                  </a:lnTo>
                  <a:lnTo>
                    <a:pt x="33" y="147"/>
                  </a:lnTo>
                  <a:lnTo>
                    <a:pt x="32" y="148"/>
                  </a:lnTo>
                  <a:lnTo>
                    <a:pt x="32" y="150"/>
                  </a:lnTo>
                  <a:lnTo>
                    <a:pt x="33" y="150"/>
                  </a:lnTo>
                  <a:lnTo>
                    <a:pt x="35" y="150"/>
                  </a:lnTo>
                  <a:lnTo>
                    <a:pt x="36" y="150"/>
                  </a:lnTo>
                  <a:lnTo>
                    <a:pt x="38" y="151"/>
                  </a:lnTo>
                  <a:lnTo>
                    <a:pt x="39" y="153"/>
                  </a:lnTo>
                  <a:lnTo>
                    <a:pt x="39" y="154"/>
                  </a:lnTo>
                  <a:lnTo>
                    <a:pt x="38" y="156"/>
                  </a:lnTo>
                  <a:lnTo>
                    <a:pt x="33" y="159"/>
                  </a:lnTo>
                  <a:lnTo>
                    <a:pt x="32" y="159"/>
                  </a:lnTo>
                  <a:lnTo>
                    <a:pt x="29" y="160"/>
                  </a:lnTo>
                  <a:lnTo>
                    <a:pt x="29" y="160"/>
                  </a:lnTo>
                  <a:lnTo>
                    <a:pt x="27" y="162"/>
                  </a:lnTo>
                  <a:lnTo>
                    <a:pt x="27" y="165"/>
                  </a:lnTo>
                  <a:lnTo>
                    <a:pt x="24" y="173"/>
                  </a:lnTo>
                  <a:lnTo>
                    <a:pt x="30" y="180"/>
                  </a:lnTo>
                  <a:lnTo>
                    <a:pt x="32" y="186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8" y="204"/>
                  </a:lnTo>
                  <a:lnTo>
                    <a:pt x="38" y="206"/>
                  </a:lnTo>
                  <a:lnTo>
                    <a:pt x="39" y="208"/>
                  </a:lnTo>
                  <a:lnTo>
                    <a:pt x="39" y="210"/>
                  </a:lnTo>
                  <a:lnTo>
                    <a:pt x="39" y="211"/>
                  </a:lnTo>
                  <a:lnTo>
                    <a:pt x="38" y="213"/>
                  </a:lnTo>
                  <a:lnTo>
                    <a:pt x="35" y="214"/>
                  </a:lnTo>
                  <a:lnTo>
                    <a:pt x="35" y="214"/>
                  </a:lnTo>
                  <a:lnTo>
                    <a:pt x="33" y="216"/>
                  </a:lnTo>
                  <a:lnTo>
                    <a:pt x="33" y="219"/>
                  </a:lnTo>
                  <a:lnTo>
                    <a:pt x="32" y="222"/>
                  </a:lnTo>
                  <a:lnTo>
                    <a:pt x="32" y="225"/>
                  </a:lnTo>
                  <a:lnTo>
                    <a:pt x="32" y="227"/>
                  </a:lnTo>
                  <a:lnTo>
                    <a:pt x="32" y="228"/>
                  </a:lnTo>
                  <a:lnTo>
                    <a:pt x="32" y="228"/>
                  </a:lnTo>
                  <a:lnTo>
                    <a:pt x="30" y="228"/>
                  </a:lnTo>
                  <a:lnTo>
                    <a:pt x="30" y="230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36"/>
                  </a:lnTo>
                  <a:lnTo>
                    <a:pt x="30" y="237"/>
                  </a:lnTo>
                  <a:lnTo>
                    <a:pt x="32" y="238"/>
                  </a:lnTo>
                  <a:lnTo>
                    <a:pt x="33" y="238"/>
                  </a:lnTo>
                  <a:lnTo>
                    <a:pt x="35" y="237"/>
                  </a:lnTo>
                  <a:lnTo>
                    <a:pt x="36" y="237"/>
                  </a:lnTo>
                  <a:lnTo>
                    <a:pt x="38" y="240"/>
                  </a:lnTo>
                  <a:lnTo>
                    <a:pt x="38" y="241"/>
                  </a:lnTo>
                  <a:lnTo>
                    <a:pt x="39" y="243"/>
                  </a:lnTo>
                  <a:lnTo>
                    <a:pt x="38" y="253"/>
                  </a:lnTo>
                  <a:lnTo>
                    <a:pt x="44" y="258"/>
                  </a:lnTo>
                  <a:lnTo>
                    <a:pt x="36" y="266"/>
                  </a:lnTo>
                  <a:lnTo>
                    <a:pt x="38" y="270"/>
                  </a:lnTo>
                  <a:lnTo>
                    <a:pt x="48" y="269"/>
                  </a:lnTo>
                  <a:lnTo>
                    <a:pt x="48" y="279"/>
                  </a:lnTo>
                  <a:lnTo>
                    <a:pt x="47" y="279"/>
                  </a:lnTo>
                  <a:lnTo>
                    <a:pt x="47" y="280"/>
                  </a:lnTo>
                  <a:lnTo>
                    <a:pt x="45" y="282"/>
                  </a:lnTo>
                  <a:lnTo>
                    <a:pt x="44" y="283"/>
                  </a:lnTo>
                  <a:lnTo>
                    <a:pt x="42" y="285"/>
                  </a:lnTo>
                  <a:lnTo>
                    <a:pt x="44" y="286"/>
                  </a:lnTo>
                  <a:lnTo>
                    <a:pt x="45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9"/>
                  </a:lnTo>
                  <a:lnTo>
                    <a:pt x="51" y="291"/>
                  </a:lnTo>
                  <a:lnTo>
                    <a:pt x="50" y="291"/>
                  </a:lnTo>
                  <a:lnTo>
                    <a:pt x="50" y="294"/>
                  </a:lnTo>
                  <a:lnTo>
                    <a:pt x="51" y="296"/>
                  </a:lnTo>
                  <a:lnTo>
                    <a:pt x="54" y="297"/>
                  </a:lnTo>
                  <a:lnTo>
                    <a:pt x="59" y="297"/>
                  </a:lnTo>
                  <a:lnTo>
                    <a:pt x="59" y="297"/>
                  </a:lnTo>
                  <a:lnTo>
                    <a:pt x="57" y="300"/>
                  </a:lnTo>
                  <a:lnTo>
                    <a:pt x="56" y="301"/>
                  </a:lnTo>
                  <a:lnTo>
                    <a:pt x="56" y="304"/>
                  </a:lnTo>
                  <a:lnTo>
                    <a:pt x="54" y="307"/>
                  </a:lnTo>
                  <a:lnTo>
                    <a:pt x="53" y="310"/>
                  </a:lnTo>
                  <a:lnTo>
                    <a:pt x="51" y="312"/>
                  </a:lnTo>
                  <a:lnTo>
                    <a:pt x="51" y="313"/>
                  </a:lnTo>
                  <a:lnTo>
                    <a:pt x="50" y="313"/>
                  </a:lnTo>
                  <a:lnTo>
                    <a:pt x="47" y="313"/>
                  </a:lnTo>
                  <a:lnTo>
                    <a:pt x="42" y="315"/>
                  </a:lnTo>
                  <a:lnTo>
                    <a:pt x="39" y="315"/>
                  </a:lnTo>
                  <a:lnTo>
                    <a:pt x="36" y="316"/>
                  </a:lnTo>
                  <a:lnTo>
                    <a:pt x="36" y="318"/>
                  </a:lnTo>
                  <a:lnTo>
                    <a:pt x="39" y="319"/>
                  </a:lnTo>
                  <a:lnTo>
                    <a:pt x="45" y="322"/>
                  </a:lnTo>
                  <a:lnTo>
                    <a:pt x="45" y="324"/>
                  </a:lnTo>
                  <a:lnTo>
                    <a:pt x="45" y="324"/>
                  </a:lnTo>
                  <a:lnTo>
                    <a:pt x="44" y="329"/>
                  </a:lnTo>
                  <a:lnTo>
                    <a:pt x="41" y="332"/>
                  </a:lnTo>
                  <a:lnTo>
                    <a:pt x="39" y="334"/>
                  </a:lnTo>
                  <a:lnTo>
                    <a:pt x="36" y="337"/>
                  </a:lnTo>
                  <a:lnTo>
                    <a:pt x="36" y="340"/>
                  </a:lnTo>
                  <a:lnTo>
                    <a:pt x="35" y="342"/>
                  </a:lnTo>
                  <a:lnTo>
                    <a:pt x="33" y="352"/>
                  </a:lnTo>
                  <a:lnTo>
                    <a:pt x="27" y="352"/>
                  </a:lnTo>
                  <a:lnTo>
                    <a:pt x="21" y="375"/>
                  </a:lnTo>
                  <a:lnTo>
                    <a:pt x="14" y="379"/>
                  </a:lnTo>
                  <a:lnTo>
                    <a:pt x="21" y="379"/>
                  </a:lnTo>
                  <a:lnTo>
                    <a:pt x="21" y="381"/>
                  </a:lnTo>
                  <a:lnTo>
                    <a:pt x="20" y="381"/>
                  </a:lnTo>
                  <a:lnTo>
                    <a:pt x="17" y="384"/>
                  </a:lnTo>
                  <a:lnTo>
                    <a:pt x="15" y="385"/>
                  </a:lnTo>
                  <a:lnTo>
                    <a:pt x="12" y="388"/>
                  </a:lnTo>
                  <a:lnTo>
                    <a:pt x="12" y="389"/>
                  </a:lnTo>
                  <a:lnTo>
                    <a:pt x="12" y="392"/>
                  </a:lnTo>
                  <a:lnTo>
                    <a:pt x="14" y="393"/>
                  </a:lnTo>
                  <a:lnTo>
                    <a:pt x="14" y="395"/>
                  </a:lnTo>
                  <a:lnTo>
                    <a:pt x="12" y="396"/>
                  </a:lnTo>
                  <a:lnTo>
                    <a:pt x="11" y="397"/>
                  </a:lnTo>
                  <a:lnTo>
                    <a:pt x="8" y="400"/>
                  </a:lnTo>
                  <a:lnTo>
                    <a:pt x="8" y="403"/>
                  </a:lnTo>
                  <a:lnTo>
                    <a:pt x="6" y="405"/>
                  </a:lnTo>
                  <a:lnTo>
                    <a:pt x="8" y="406"/>
                  </a:lnTo>
                  <a:lnTo>
                    <a:pt x="11" y="406"/>
                  </a:lnTo>
                  <a:lnTo>
                    <a:pt x="12" y="408"/>
                  </a:lnTo>
                  <a:lnTo>
                    <a:pt x="12" y="411"/>
                  </a:lnTo>
                  <a:lnTo>
                    <a:pt x="11" y="412"/>
                  </a:lnTo>
                  <a:lnTo>
                    <a:pt x="6" y="417"/>
                  </a:lnTo>
                  <a:lnTo>
                    <a:pt x="3" y="418"/>
                  </a:lnTo>
                  <a:lnTo>
                    <a:pt x="0" y="420"/>
                  </a:lnTo>
                  <a:lnTo>
                    <a:pt x="0" y="421"/>
                  </a:lnTo>
                  <a:lnTo>
                    <a:pt x="0" y="423"/>
                  </a:lnTo>
                  <a:lnTo>
                    <a:pt x="0" y="425"/>
                  </a:lnTo>
                  <a:lnTo>
                    <a:pt x="0" y="426"/>
                  </a:lnTo>
                  <a:lnTo>
                    <a:pt x="2" y="427"/>
                  </a:lnTo>
                  <a:lnTo>
                    <a:pt x="3" y="427"/>
                  </a:lnTo>
                  <a:lnTo>
                    <a:pt x="5" y="429"/>
                  </a:lnTo>
                  <a:lnTo>
                    <a:pt x="3" y="430"/>
                  </a:lnTo>
                  <a:lnTo>
                    <a:pt x="3" y="433"/>
                  </a:lnTo>
                  <a:lnTo>
                    <a:pt x="3" y="435"/>
                  </a:lnTo>
                  <a:lnTo>
                    <a:pt x="2" y="438"/>
                  </a:lnTo>
                  <a:lnTo>
                    <a:pt x="2" y="441"/>
                  </a:lnTo>
                  <a:lnTo>
                    <a:pt x="2" y="442"/>
                  </a:lnTo>
                  <a:lnTo>
                    <a:pt x="2" y="444"/>
                  </a:lnTo>
                  <a:lnTo>
                    <a:pt x="171" y="432"/>
                  </a:lnTo>
                  <a:lnTo>
                    <a:pt x="171" y="453"/>
                  </a:lnTo>
                  <a:lnTo>
                    <a:pt x="170" y="453"/>
                  </a:lnTo>
                  <a:lnTo>
                    <a:pt x="168" y="455"/>
                  </a:lnTo>
                  <a:lnTo>
                    <a:pt x="167" y="459"/>
                  </a:lnTo>
                  <a:lnTo>
                    <a:pt x="165" y="462"/>
                  </a:lnTo>
                  <a:lnTo>
                    <a:pt x="164" y="468"/>
                  </a:lnTo>
                  <a:lnTo>
                    <a:pt x="164" y="472"/>
                  </a:lnTo>
                  <a:lnTo>
                    <a:pt x="167" y="477"/>
                  </a:lnTo>
                  <a:lnTo>
                    <a:pt x="171" y="480"/>
                  </a:lnTo>
                  <a:lnTo>
                    <a:pt x="173" y="481"/>
                  </a:lnTo>
                  <a:lnTo>
                    <a:pt x="176" y="484"/>
                  </a:lnTo>
                  <a:lnTo>
                    <a:pt x="178" y="488"/>
                  </a:lnTo>
                  <a:lnTo>
                    <a:pt x="182" y="493"/>
                  </a:lnTo>
                  <a:lnTo>
                    <a:pt x="185" y="499"/>
                  </a:lnTo>
                  <a:lnTo>
                    <a:pt x="188" y="505"/>
                  </a:lnTo>
                  <a:lnTo>
                    <a:pt x="188" y="513"/>
                  </a:lnTo>
                  <a:lnTo>
                    <a:pt x="187" y="519"/>
                  </a:lnTo>
                  <a:lnTo>
                    <a:pt x="203" y="51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" name="Freeform 102"/>
            <p:cNvSpPr>
              <a:spLocks/>
            </p:cNvSpPr>
            <p:nvPr/>
          </p:nvSpPr>
          <p:spPr bwMode="auto">
            <a:xfrm>
              <a:off x="2498871" y="5053407"/>
              <a:ext cx="200737" cy="348980"/>
            </a:xfrm>
            <a:custGeom>
              <a:avLst/>
              <a:gdLst>
                <a:gd name="T0" fmla="*/ 221 w 299"/>
                <a:gd name="T1" fmla="*/ 502 h 520"/>
                <a:gd name="T2" fmla="*/ 237 w 299"/>
                <a:gd name="T3" fmla="*/ 496 h 520"/>
                <a:gd name="T4" fmla="*/ 254 w 299"/>
                <a:gd name="T5" fmla="*/ 493 h 520"/>
                <a:gd name="T6" fmla="*/ 250 w 299"/>
                <a:gd name="T7" fmla="*/ 488 h 520"/>
                <a:gd name="T8" fmla="*/ 259 w 299"/>
                <a:gd name="T9" fmla="*/ 486 h 520"/>
                <a:gd name="T10" fmla="*/ 266 w 299"/>
                <a:gd name="T11" fmla="*/ 492 h 520"/>
                <a:gd name="T12" fmla="*/ 280 w 299"/>
                <a:gd name="T13" fmla="*/ 486 h 520"/>
                <a:gd name="T14" fmla="*/ 287 w 299"/>
                <a:gd name="T15" fmla="*/ 493 h 520"/>
                <a:gd name="T16" fmla="*/ 298 w 299"/>
                <a:gd name="T17" fmla="*/ 489 h 520"/>
                <a:gd name="T18" fmla="*/ 281 w 299"/>
                <a:gd name="T19" fmla="*/ 0 h 520"/>
                <a:gd name="T20" fmla="*/ 102 w 299"/>
                <a:gd name="T21" fmla="*/ 18 h 520"/>
                <a:gd name="T22" fmla="*/ 99 w 299"/>
                <a:gd name="T23" fmla="*/ 27 h 520"/>
                <a:gd name="T24" fmla="*/ 66 w 299"/>
                <a:gd name="T25" fmla="*/ 82 h 520"/>
                <a:gd name="T26" fmla="*/ 47 w 299"/>
                <a:gd name="T27" fmla="*/ 111 h 520"/>
                <a:gd name="T28" fmla="*/ 48 w 299"/>
                <a:gd name="T29" fmla="*/ 120 h 520"/>
                <a:gd name="T30" fmla="*/ 38 w 299"/>
                <a:gd name="T31" fmla="*/ 124 h 520"/>
                <a:gd name="T32" fmla="*/ 38 w 299"/>
                <a:gd name="T33" fmla="*/ 134 h 520"/>
                <a:gd name="T34" fmla="*/ 38 w 299"/>
                <a:gd name="T35" fmla="*/ 141 h 520"/>
                <a:gd name="T36" fmla="*/ 32 w 299"/>
                <a:gd name="T37" fmla="*/ 150 h 520"/>
                <a:gd name="T38" fmla="*/ 38 w 299"/>
                <a:gd name="T39" fmla="*/ 151 h 520"/>
                <a:gd name="T40" fmla="*/ 33 w 299"/>
                <a:gd name="T41" fmla="*/ 159 h 520"/>
                <a:gd name="T42" fmla="*/ 27 w 299"/>
                <a:gd name="T43" fmla="*/ 165 h 520"/>
                <a:gd name="T44" fmla="*/ 36 w 299"/>
                <a:gd name="T45" fmla="*/ 203 h 520"/>
                <a:gd name="T46" fmla="*/ 39 w 299"/>
                <a:gd name="T47" fmla="*/ 210 h 520"/>
                <a:gd name="T48" fmla="*/ 35 w 299"/>
                <a:gd name="T49" fmla="*/ 214 h 520"/>
                <a:gd name="T50" fmla="*/ 32 w 299"/>
                <a:gd name="T51" fmla="*/ 227 h 520"/>
                <a:gd name="T52" fmla="*/ 30 w 299"/>
                <a:gd name="T53" fmla="*/ 230 h 520"/>
                <a:gd name="T54" fmla="*/ 32 w 299"/>
                <a:gd name="T55" fmla="*/ 238 h 520"/>
                <a:gd name="T56" fmla="*/ 38 w 299"/>
                <a:gd name="T57" fmla="*/ 240 h 520"/>
                <a:gd name="T58" fmla="*/ 36 w 299"/>
                <a:gd name="T59" fmla="*/ 266 h 520"/>
                <a:gd name="T60" fmla="*/ 47 w 299"/>
                <a:gd name="T61" fmla="*/ 279 h 520"/>
                <a:gd name="T62" fmla="*/ 44 w 299"/>
                <a:gd name="T63" fmla="*/ 286 h 520"/>
                <a:gd name="T64" fmla="*/ 51 w 299"/>
                <a:gd name="T65" fmla="*/ 289 h 520"/>
                <a:gd name="T66" fmla="*/ 54 w 299"/>
                <a:gd name="T67" fmla="*/ 297 h 520"/>
                <a:gd name="T68" fmla="*/ 56 w 299"/>
                <a:gd name="T69" fmla="*/ 301 h 520"/>
                <a:gd name="T70" fmla="*/ 51 w 299"/>
                <a:gd name="T71" fmla="*/ 313 h 520"/>
                <a:gd name="T72" fmla="*/ 39 w 299"/>
                <a:gd name="T73" fmla="*/ 315 h 520"/>
                <a:gd name="T74" fmla="*/ 45 w 299"/>
                <a:gd name="T75" fmla="*/ 322 h 520"/>
                <a:gd name="T76" fmla="*/ 39 w 299"/>
                <a:gd name="T77" fmla="*/ 334 h 520"/>
                <a:gd name="T78" fmla="*/ 27 w 299"/>
                <a:gd name="T79" fmla="*/ 352 h 520"/>
                <a:gd name="T80" fmla="*/ 21 w 299"/>
                <a:gd name="T81" fmla="*/ 381 h 520"/>
                <a:gd name="T82" fmla="*/ 12 w 299"/>
                <a:gd name="T83" fmla="*/ 389 h 520"/>
                <a:gd name="T84" fmla="*/ 12 w 299"/>
                <a:gd name="T85" fmla="*/ 396 h 520"/>
                <a:gd name="T86" fmla="*/ 8 w 299"/>
                <a:gd name="T87" fmla="*/ 406 h 520"/>
                <a:gd name="T88" fmla="*/ 11 w 299"/>
                <a:gd name="T89" fmla="*/ 412 h 520"/>
                <a:gd name="T90" fmla="*/ 0 w 299"/>
                <a:gd name="T91" fmla="*/ 421 h 520"/>
                <a:gd name="T92" fmla="*/ 3 w 299"/>
                <a:gd name="T93" fmla="*/ 427 h 520"/>
                <a:gd name="T94" fmla="*/ 3 w 299"/>
                <a:gd name="T95" fmla="*/ 435 h 520"/>
                <a:gd name="T96" fmla="*/ 171 w 299"/>
                <a:gd name="T97" fmla="*/ 432 h 520"/>
                <a:gd name="T98" fmla="*/ 167 w 299"/>
                <a:gd name="T99" fmla="*/ 459 h 520"/>
                <a:gd name="T100" fmla="*/ 171 w 299"/>
                <a:gd name="T101" fmla="*/ 480 h 520"/>
                <a:gd name="T102" fmla="*/ 182 w 299"/>
                <a:gd name="T103" fmla="*/ 493 h 520"/>
                <a:gd name="T104" fmla="*/ 203 w 299"/>
                <a:gd name="T105" fmla="*/ 516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9" h="520">
                  <a:moveTo>
                    <a:pt x="203" y="516"/>
                  </a:moveTo>
                  <a:lnTo>
                    <a:pt x="212" y="507"/>
                  </a:lnTo>
                  <a:lnTo>
                    <a:pt x="212" y="499"/>
                  </a:lnTo>
                  <a:lnTo>
                    <a:pt x="221" y="502"/>
                  </a:lnTo>
                  <a:lnTo>
                    <a:pt x="221" y="502"/>
                  </a:lnTo>
                  <a:lnTo>
                    <a:pt x="221" y="502"/>
                  </a:lnTo>
                  <a:lnTo>
                    <a:pt x="224" y="501"/>
                  </a:lnTo>
                  <a:lnTo>
                    <a:pt x="229" y="499"/>
                  </a:lnTo>
                  <a:lnTo>
                    <a:pt x="233" y="498"/>
                  </a:lnTo>
                  <a:lnTo>
                    <a:pt x="237" y="496"/>
                  </a:lnTo>
                  <a:lnTo>
                    <a:pt x="239" y="495"/>
                  </a:lnTo>
                  <a:lnTo>
                    <a:pt x="242" y="495"/>
                  </a:lnTo>
                  <a:lnTo>
                    <a:pt x="245" y="495"/>
                  </a:lnTo>
                  <a:lnTo>
                    <a:pt x="245" y="495"/>
                  </a:lnTo>
                  <a:lnTo>
                    <a:pt x="254" y="493"/>
                  </a:lnTo>
                  <a:lnTo>
                    <a:pt x="259" y="493"/>
                  </a:lnTo>
                  <a:lnTo>
                    <a:pt x="259" y="492"/>
                  </a:lnTo>
                  <a:lnTo>
                    <a:pt x="257" y="490"/>
                  </a:lnTo>
                  <a:lnTo>
                    <a:pt x="254" y="489"/>
                  </a:lnTo>
                  <a:lnTo>
                    <a:pt x="250" y="488"/>
                  </a:lnTo>
                  <a:lnTo>
                    <a:pt x="247" y="488"/>
                  </a:lnTo>
                  <a:lnTo>
                    <a:pt x="247" y="488"/>
                  </a:lnTo>
                  <a:lnTo>
                    <a:pt x="247" y="488"/>
                  </a:lnTo>
                  <a:lnTo>
                    <a:pt x="254" y="486"/>
                  </a:lnTo>
                  <a:lnTo>
                    <a:pt x="259" y="486"/>
                  </a:lnTo>
                  <a:lnTo>
                    <a:pt x="263" y="486"/>
                  </a:lnTo>
                  <a:lnTo>
                    <a:pt x="265" y="488"/>
                  </a:lnTo>
                  <a:lnTo>
                    <a:pt x="266" y="489"/>
                  </a:lnTo>
                  <a:lnTo>
                    <a:pt x="266" y="492"/>
                  </a:lnTo>
                  <a:lnTo>
                    <a:pt x="266" y="492"/>
                  </a:lnTo>
                  <a:lnTo>
                    <a:pt x="266" y="493"/>
                  </a:lnTo>
                  <a:lnTo>
                    <a:pt x="272" y="495"/>
                  </a:lnTo>
                  <a:lnTo>
                    <a:pt x="280" y="486"/>
                  </a:lnTo>
                  <a:lnTo>
                    <a:pt x="280" y="486"/>
                  </a:lnTo>
                  <a:lnTo>
                    <a:pt x="280" y="486"/>
                  </a:lnTo>
                  <a:lnTo>
                    <a:pt x="281" y="488"/>
                  </a:lnTo>
                  <a:lnTo>
                    <a:pt x="283" y="489"/>
                  </a:lnTo>
                  <a:lnTo>
                    <a:pt x="283" y="490"/>
                  </a:lnTo>
                  <a:lnTo>
                    <a:pt x="283" y="490"/>
                  </a:lnTo>
                  <a:lnTo>
                    <a:pt x="287" y="493"/>
                  </a:lnTo>
                  <a:lnTo>
                    <a:pt x="290" y="495"/>
                  </a:lnTo>
                  <a:lnTo>
                    <a:pt x="293" y="495"/>
                  </a:lnTo>
                  <a:lnTo>
                    <a:pt x="295" y="493"/>
                  </a:lnTo>
                  <a:lnTo>
                    <a:pt x="296" y="492"/>
                  </a:lnTo>
                  <a:lnTo>
                    <a:pt x="298" y="489"/>
                  </a:lnTo>
                  <a:lnTo>
                    <a:pt x="298" y="488"/>
                  </a:lnTo>
                  <a:lnTo>
                    <a:pt x="298" y="488"/>
                  </a:lnTo>
                  <a:lnTo>
                    <a:pt x="277" y="332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02" y="17"/>
                  </a:lnTo>
                  <a:lnTo>
                    <a:pt x="102" y="18"/>
                  </a:lnTo>
                  <a:lnTo>
                    <a:pt x="101" y="21"/>
                  </a:lnTo>
                  <a:lnTo>
                    <a:pt x="101" y="22"/>
                  </a:lnTo>
                  <a:lnTo>
                    <a:pt x="101" y="24"/>
                  </a:lnTo>
                  <a:lnTo>
                    <a:pt x="99" y="25"/>
                  </a:lnTo>
                  <a:lnTo>
                    <a:pt x="99" y="27"/>
                  </a:lnTo>
                  <a:lnTo>
                    <a:pt x="87" y="36"/>
                  </a:lnTo>
                  <a:lnTo>
                    <a:pt x="78" y="49"/>
                  </a:lnTo>
                  <a:lnTo>
                    <a:pt x="78" y="75"/>
                  </a:lnTo>
                  <a:lnTo>
                    <a:pt x="71" y="82"/>
                  </a:lnTo>
                  <a:lnTo>
                    <a:pt x="66" y="82"/>
                  </a:lnTo>
                  <a:lnTo>
                    <a:pt x="54" y="96"/>
                  </a:lnTo>
                  <a:lnTo>
                    <a:pt x="59" y="104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7" y="111"/>
                  </a:lnTo>
                  <a:lnTo>
                    <a:pt x="47" y="112"/>
                  </a:lnTo>
                  <a:lnTo>
                    <a:pt x="48" y="114"/>
                  </a:lnTo>
                  <a:lnTo>
                    <a:pt x="48" y="115"/>
                  </a:lnTo>
                  <a:lnTo>
                    <a:pt x="48" y="117"/>
                  </a:lnTo>
                  <a:lnTo>
                    <a:pt x="48" y="120"/>
                  </a:lnTo>
                  <a:lnTo>
                    <a:pt x="45" y="121"/>
                  </a:lnTo>
                  <a:lnTo>
                    <a:pt x="41" y="123"/>
                  </a:lnTo>
                  <a:lnTo>
                    <a:pt x="41" y="123"/>
                  </a:lnTo>
                  <a:lnTo>
                    <a:pt x="39" y="123"/>
                  </a:lnTo>
                  <a:lnTo>
                    <a:pt x="38" y="124"/>
                  </a:lnTo>
                  <a:lnTo>
                    <a:pt x="36" y="126"/>
                  </a:lnTo>
                  <a:lnTo>
                    <a:pt x="36" y="127"/>
                  </a:lnTo>
                  <a:lnTo>
                    <a:pt x="36" y="129"/>
                  </a:lnTo>
                  <a:lnTo>
                    <a:pt x="36" y="132"/>
                  </a:lnTo>
                  <a:lnTo>
                    <a:pt x="38" y="134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9" y="140"/>
                  </a:lnTo>
                  <a:lnTo>
                    <a:pt x="38" y="141"/>
                  </a:lnTo>
                  <a:lnTo>
                    <a:pt x="36" y="144"/>
                  </a:lnTo>
                  <a:lnTo>
                    <a:pt x="35" y="145"/>
                  </a:lnTo>
                  <a:lnTo>
                    <a:pt x="33" y="147"/>
                  </a:lnTo>
                  <a:lnTo>
                    <a:pt x="32" y="148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3" y="150"/>
                  </a:lnTo>
                  <a:lnTo>
                    <a:pt x="35" y="150"/>
                  </a:lnTo>
                  <a:lnTo>
                    <a:pt x="36" y="150"/>
                  </a:lnTo>
                  <a:lnTo>
                    <a:pt x="38" y="151"/>
                  </a:lnTo>
                  <a:lnTo>
                    <a:pt x="39" y="153"/>
                  </a:lnTo>
                  <a:lnTo>
                    <a:pt x="39" y="154"/>
                  </a:lnTo>
                  <a:lnTo>
                    <a:pt x="38" y="156"/>
                  </a:lnTo>
                  <a:lnTo>
                    <a:pt x="33" y="159"/>
                  </a:lnTo>
                  <a:lnTo>
                    <a:pt x="33" y="159"/>
                  </a:lnTo>
                  <a:lnTo>
                    <a:pt x="32" y="159"/>
                  </a:lnTo>
                  <a:lnTo>
                    <a:pt x="29" y="160"/>
                  </a:lnTo>
                  <a:lnTo>
                    <a:pt x="29" y="160"/>
                  </a:lnTo>
                  <a:lnTo>
                    <a:pt x="27" y="162"/>
                  </a:lnTo>
                  <a:lnTo>
                    <a:pt x="27" y="165"/>
                  </a:lnTo>
                  <a:lnTo>
                    <a:pt x="24" y="173"/>
                  </a:lnTo>
                  <a:lnTo>
                    <a:pt x="30" y="180"/>
                  </a:lnTo>
                  <a:lnTo>
                    <a:pt x="32" y="186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8" y="204"/>
                  </a:lnTo>
                  <a:lnTo>
                    <a:pt x="38" y="206"/>
                  </a:lnTo>
                  <a:lnTo>
                    <a:pt x="39" y="208"/>
                  </a:lnTo>
                  <a:lnTo>
                    <a:pt x="39" y="210"/>
                  </a:lnTo>
                  <a:lnTo>
                    <a:pt x="39" y="211"/>
                  </a:lnTo>
                  <a:lnTo>
                    <a:pt x="38" y="213"/>
                  </a:lnTo>
                  <a:lnTo>
                    <a:pt x="35" y="214"/>
                  </a:lnTo>
                  <a:lnTo>
                    <a:pt x="35" y="214"/>
                  </a:lnTo>
                  <a:lnTo>
                    <a:pt x="35" y="214"/>
                  </a:lnTo>
                  <a:lnTo>
                    <a:pt x="33" y="216"/>
                  </a:lnTo>
                  <a:lnTo>
                    <a:pt x="33" y="219"/>
                  </a:lnTo>
                  <a:lnTo>
                    <a:pt x="32" y="222"/>
                  </a:lnTo>
                  <a:lnTo>
                    <a:pt x="32" y="225"/>
                  </a:lnTo>
                  <a:lnTo>
                    <a:pt x="32" y="227"/>
                  </a:lnTo>
                  <a:lnTo>
                    <a:pt x="32" y="228"/>
                  </a:lnTo>
                  <a:lnTo>
                    <a:pt x="32" y="228"/>
                  </a:lnTo>
                  <a:lnTo>
                    <a:pt x="30" y="228"/>
                  </a:lnTo>
                  <a:lnTo>
                    <a:pt x="30" y="228"/>
                  </a:lnTo>
                  <a:lnTo>
                    <a:pt x="30" y="230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36"/>
                  </a:lnTo>
                  <a:lnTo>
                    <a:pt x="30" y="237"/>
                  </a:lnTo>
                  <a:lnTo>
                    <a:pt x="32" y="238"/>
                  </a:lnTo>
                  <a:lnTo>
                    <a:pt x="33" y="238"/>
                  </a:lnTo>
                  <a:lnTo>
                    <a:pt x="35" y="237"/>
                  </a:lnTo>
                  <a:lnTo>
                    <a:pt x="35" y="237"/>
                  </a:lnTo>
                  <a:lnTo>
                    <a:pt x="36" y="237"/>
                  </a:lnTo>
                  <a:lnTo>
                    <a:pt x="38" y="240"/>
                  </a:lnTo>
                  <a:lnTo>
                    <a:pt x="38" y="241"/>
                  </a:lnTo>
                  <a:lnTo>
                    <a:pt x="39" y="243"/>
                  </a:lnTo>
                  <a:lnTo>
                    <a:pt x="38" y="253"/>
                  </a:lnTo>
                  <a:lnTo>
                    <a:pt x="44" y="258"/>
                  </a:lnTo>
                  <a:lnTo>
                    <a:pt x="36" y="266"/>
                  </a:lnTo>
                  <a:lnTo>
                    <a:pt x="38" y="270"/>
                  </a:lnTo>
                  <a:lnTo>
                    <a:pt x="48" y="269"/>
                  </a:lnTo>
                  <a:lnTo>
                    <a:pt x="48" y="279"/>
                  </a:lnTo>
                  <a:lnTo>
                    <a:pt x="48" y="279"/>
                  </a:lnTo>
                  <a:lnTo>
                    <a:pt x="47" y="279"/>
                  </a:lnTo>
                  <a:lnTo>
                    <a:pt x="47" y="280"/>
                  </a:lnTo>
                  <a:lnTo>
                    <a:pt x="45" y="282"/>
                  </a:lnTo>
                  <a:lnTo>
                    <a:pt x="44" y="283"/>
                  </a:lnTo>
                  <a:lnTo>
                    <a:pt x="42" y="285"/>
                  </a:lnTo>
                  <a:lnTo>
                    <a:pt x="44" y="286"/>
                  </a:lnTo>
                  <a:lnTo>
                    <a:pt x="45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9"/>
                  </a:lnTo>
                  <a:lnTo>
                    <a:pt x="51" y="291"/>
                  </a:lnTo>
                  <a:lnTo>
                    <a:pt x="50" y="291"/>
                  </a:lnTo>
                  <a:lnTo>
                    <a:pt x="50" y="294"/>
                  </a:lnTo>
                  <a:lnTo>
                    <a:pt x="51" y="296"/>
                  </a:lnTo>
                  <a:lnTo>
                    <a:pt x="54" y="297"/>
                  </a:lnTo>
                  <a:lnTo>
                    <a:pt x="59" y="297"/>
                  </a:lnTo>
                  <a:lnTo>
                    <a:pt x="59" y="297"/>
                  </a:lnTo>
                  <a:lnTo>
                    <a:pt x="59" y="297"/>
                  </a:lnTo>
                  <a:lnTo>
                    <a:pt x="57" y="300"/>
                  </a:lnTo>
                  <a:lnTo>
                    <a:pt x="56" y="301"/>
                  </a:lnTo>
                  <a:lnTo>
                    <a:pt x="56" y="304"/>
                  </a:lnTo>
                  <a:lnTo>
                    <a:pt x="54" y="307"/>
                  </a:lnTo>
                  <a:lnTo>
                    <a:pt x="53" y="310"/>
                  </a:lnTo>
                  <a:lnTo>
                    <a:pt x="51" y="312"/>
                  </a:lnTo>
                  <a:lnTo>
                    <a:pt x="51" y="313"/>
                  </a:lnTo>
                  <a:lnTo>
                    <a:pt x="51" y="313"/>
                  </a:lnTo>
                  <a:lnTo>
                    <a:pt x="50" y="313"/>
                  </a:lnTo>
                  <a:lnTo>
                    <a:pt x="47" y="313"/>
                  </a:lnTo>
                  <a:lnTo>
                    <a:pt x="42" y="315"/>
                  </a:lnTo>
                  <a:lnTo>
                    <a:pt x="39" y="315"/>
                  </a:lnTo>
                  <a:lnTo>
                    <a:pt x="36" y="316"/>
                  </a:lnTo>
                  <a:lnTo>
                    <a:pt x="36" y="318"/>
                  </a:lnTo>
                  <a:lnTo>
                    <a:pt x="39" y="319"/>
                  </a:lnTo>
                  <a:lnTo>
                    <a:pt x="45" y="322"/>
                  </a:lnTo>
                  <a:lnTo>
                    <a:pt x="45" y="322"/>
                  </a:lnTo>
                  <a:lnTo>
                    <a:pt x="45" y="324"/>
                  </a:lnTo>
                  <a:lnTo>
                    <a:pt x="45" y="324"/>
                  </a:lnTo>
                  <a:lnTo>
                    <a:pt x="44" y="329"/>
                  </a:lnTo>
                  <a:lnTo>
                    <a:pt x="41" y="332"/>
                  </a:lnTo>
                  <a:lnTo>
                    <a:pt x="39" y="334"/>
                  </a:lnTo>
                  <a:lnTo>
                    <a:pt x="36" y="337"/>
                  </a:lnTo>
                  <a:lnTo>
                    <a:pt x="36" y="340"/>
                  </a:lnTo>
                  <a:lnTo>
                    <a:pt x="35" y="342"/>
                  </a:lnTo>
                  <a:lnTo>
                    <a:pt x="33" y="352"/>
                  </a:lnTo>
                  <a:lnTo>
                    <a:pt x="27" y="352"/>
                  </a:lnTo>
                  <a:lnTo>
                    <a:pt x="21" y="375"/>
                  </a:lnTo>
                  <a:lnTo>
                    <a:pt x="14" y="379"/>
                  </a:lnTo>
                  <a:lnTo>
                    <a:pt x="21" y="379"/>
                  </a:lnTo>
                  <a:lnTo>
                    <a:pt x="21" y="379"/>
                  </a:lnTo>
                  <a:lnTo>
                    <a:pt x="21" y="381"/>
                  </a:lnTo>
                  <a:lnTo>
                    <a:pt x="20" y="381"/>
                  </a:lnTo>
                  <a:lnTo>
                    <a:pt x="17" y="384"/>
                  </a:lnTo>
                  <a:lnTo>
                    <a:pt x="15" y="385"/>
                  </a:lnTo>
                  <a:lnTo>
                    <a:pt x="12" y="388"/>
                  </a:lnTo>
                  <a:lnTo>
                    <a:pt x="12" y="389"/>
                  </a:lnTo>
                  <a:lnTo>
                    <a:pt x="12" y="392"/>
                  </a:lnTo>
                  <a:lnTo>
                    <a:pt x="14" y="393"/>
                  </a:lnTo>
                  <a:lnTo>
                    <a:pt x="14" y="393"/>
                  </a:lnTo>
                  <a:lnTo>
                    <a:pt x="14" y="395"/>
                  </a:lnTo>
                  <a:lnTo>
                    <a:pt x="12" y="396"/>
                  </a:lnTo>
                  <a:lnTo>
                    <a:pt x="11" y="397"/>
                  </a:lnTo>
                  <a:lnTo>
                    <a:pt x="8" y="400"/>
                  </a:lnTo>
                  <a:lnTo>
                    <a:pt x="8" y="403"/>
                  </a:lnTo>
                  <a:lnTo>
                    <a:pt x="6" y="405"/>
                  </a:lnTo>
                  <a:lnTo>
                    <a:pt x="8" y="406"/>
                  </a:lnTo>
                  <a:lnTo>
                    <a:pt x="11" y="406"/>
                  </a:lnTo>
                  <a:lnTo>
                    <a:pt x="11" y="406"/>
                  </a:lnTo>
                  <a:lnTo>
                    <a:pt x="12" y="408"/>
                  </a:lnTo>
                  <a:lnTo>
                    <a:pt x="12" y="411"/>
                  </a:lnTo>
                  <a:lnTo>
                    <a:pt x="11" y="412"/>
                  </a:lnTo>
                  <a:lnTo>
                    <a:pt x="6" y="417"/>
                  </a:lnTo>
                  <a:lnTo>
                    <a:pt x="6" y="417"/>
                  </a:lnTo>
                  <a:lnTo>
                    <a:pt x="3" y="418"/>
                  </a:lnTo>
                  <a:lnTo>
                    <a:pt x="0" y="420"/>
                  </a:lnTo>
                  <a:lnTo>
                    <a:pt x="0" y="421"/>
                  </a:lnTo>
                  <a:lnTo>
                    <a:pt x="0" y="423"/>
                  </a:lnTo>
                  <a:lnTo>
                    <a:pt x="0" y="425"/>
                  </a:lnTo>
                  <a:lnTo>
                    <a:pt x="0" y="426"/>
                  </a:lnTo>
                  <a:lnTo>
                    <a:pt x="2" y="427"/>
                  </a:lnTo>
                  <a:lnTo>
                    <a:pt x="3" y="427"/>
                  </a:lnTo>
                  <a:lnTo>
                    <a:pt x="3" y="427"/>
                  </a:lnTo>
                  <a:lnTo>
                    <a:pt x="5" y="429"/>
                  </a:lnTo>
                  <a:lnTo>
                    <a:pt x="3" y="430"/>
                  </a:lnTo>
                  <a:lnTo>
                    <a:pt x="3" y="433"/>
                  </a:lnTo>
                  <a:lnTo>
                    <a:pt x="3" y="435"/>
                  </a:lnTo>
                  <a:lnTo>
                    <a:pt x="2" y="438"/>
                  </a:lnTo>
                  <a:lnTo>
                    <a:pt x="2" y="441"/>
                  </a:lnTo>
                  <a:lnTo>
                    <a:pt x="2" y="442"/>
                  </a:lnTo>
                  <a:lnTo>
                    <a:pt x="2" y="444"/>
                  </a:lnTo>
                  <a:lnTo>
                    <a:pt x="171" y="432"/>
                  </a:lnTo>
                  <a:lnTo>
                    <a:pt x="171" y="453"/>
                  </a:lnTo>
                  <a:lnTo>
                    <a:pt x="171" y="453"/>
                  </a:lnTo>
                  <a:lnTo>
                    <a:pt x="170" y="453"/>
                  </a:lnTo>
                  <a:lnTo>
                    <a:pt x="168" y="455"/>
                  </a:lnTo>
                  <a:lnTo>
                    <a:pt x="167" y="459"/>
                  </a:lnTo>
                  <a:lnTo>
                    <a:pt x="165" y="462"/>
                  </a:lnTo>
                  <a:lnTo>
                    <a:pt x="164" y="468"/>
                  </a:lnTo>
                  <a:lnTo>
                    <a:pt x="164" y="472"/>
                  </a:lnTo>
                  <a:lnTo>
                    <a:pt x="167" y="477"/>
                  </a:lnTo>
                  <a:lnTo>
                    <a:pt x="171" y="480"/>
                  </a:lnTo>
                  <a:lnTo>
                    <a:pt x="171" y="480"/>
                  </a:lnTo>
                  <a:lnTo>
                    <a:pt x="173" y="481"/>
                  </a:lnTo>
                  <a:lnTo>
                    <a:pt x="176" y="484"/>
                  </a:lnTo>
                  <a:lnTo>
                    <a:pt x="178" y="488"/>
                  </a:lnTo>
                  <a:lnTo>
                    <a:pt x="182" y="493"/>
                  </a:lnTo>
                  <a:lnTo>
                    <a:pt x="185" y="499"/>
                  </a:lnTo>
                  <a:lnTo>
                    <a:pt x="188" y="505"/>
                  </a:lnTo>
                  <a:lnTo>
                    <a:pt x="188" y="513"/>
                  </a:lnTo>
                  <a:lnTo>
                    <a:pt x="187" y="519"/>
                  </a:lnTo>
                  <a:lnTo>
                    <a:pt x="203" y="51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" name="Freeform 103"/>
            <p:cNvSpPr>
              <a:spLocks/>
            </p:cNvSpPr>
            <p:nvPr/>
          </p:nvSpPr>
          <p:spPr bwMode="auto">
            <a:xfrm>
              <a:off x="2685140" y="5040988"/>
              <a:ext cx="215807" cy="350222"/>
            </a:xfrm>
            <a:custGeom>
              <a:avLst/>
              <a:gdLst>
                <a:gd name="T0" fmla="*/ 42 w 321"/>
                <a:gd name="T1" fmla="*/ 514 h 522"/>
                <a:gd name="T2" fmla="*/ 45 w 321"/>
                <a:gd name="T3" fmla="*/ 501 h 522"/>
                <a:gd name="T4" fmla="*/ 63 w 321"/>
                <a:gd name="T5" fmla="*/ 463 h 522"/>
                <a:gd name="T6" fmla="*/ 81 w 321"/>
                <a:gd name="T7" fmla="*/ 512 h 522"/>
                <a:gd name="T8" fmla="*/ 77 w 321"/>
                <a:gd name="T9" fmla="*/ 514 h 522"/>
                <a:gd name="T10" fmla="*/ 68 w 321"/>
                <a:gd name="T11" fmla="*/ 517 h 522"/>
                <a:gd name="T12" fmla="*/ 61 w 321"/>
                <a:gd name="T13" fmla="*/ 520 h 522"/>
                <a:gd name="T14" fmla="*/ 59 w 321"/>
                <a:gd name="T15" fmla="*/ 521 h 522"/>
                <a:gd name="T16" fmla="*/ 69 w 321"/>
                <a:gd name="T17" fmla="*/ 520 h 522"/>
                <a:gd name="T18" fmla="*/ 83 w 321"/>
                <a:gd name="T19" fmla="*/ 517 h 522"/>
                <a:gd name="T20" fmla="*/ 93 w 321"/>
                <a:gd name="T21" fmla="*/ 514 h 522"/>
                <a:gd name="T22" fmla="*/ 96 w 321"/>
                <a:gd name="T23" fmla="*/ 514 h 522"/>
                <a:gd name="T24" fmla="*/ 96 w 321"/>
                <a:gd name="T25" fmla="*/ 511 h 522"/>
                <a:gd name="T26" fmla="*/ 94 w 321"/>
                <a:gd name="T27" fmla="*/ 508 h 522"/>
                <a:gd name="T28" fmla="*/ 102 w 321"/>
                <a:gd name="T29" fmla="*/ 499 h 522"/>
                <a:gd name="T30" fmla="*/ 105 w 321"/>
                <a:gd name="T31" fmla="*/ 495 h 522"/>
                <a:gd name="T32" fmla="*/ 105 w 321"/>
                <a:gd name="T33" fmla="*/ 492 h 522"/>
                <a:gd name="T34" fmla="*/ 105 w 321"/>
                <a:gd name="T35" fmla="*/ 492 h 522"/>
                <a:gd name="T36" fmla="*/ 105 w 321"/>
                <a:gd name="T37" fmla="*/ 490 h 522"/>
                <a:gd name="T38" fmla="*/ 105 w 321"/>
                <a:gd name="T39" fmla="*/ 488 h 522"/>
                <a:gd name="T40" fmla="*/ 104 w 321"/>
                <a:gd name="T41" fmla="*/ 484 h 522"/>
                <a:gd name="T42" fmla="*/ 104 w 321"/>
                <a:gd name="T43" fmla="*/ 482 h 522"/>
                <a:gd name="T44" fmla="*/ 107 w 321"/>
                <a:gd name="T45" fmla="*/ 472 h 522"/>
                <a:gd name="T46" fmla="*/ 99 w 321"/>
                <a:gd name="T47" fmla="*/ 463 h 522"/>
                <a:gd name="T48" fmla="*/ 92 w 321"/>
                <a:gd name="T49" fmla="*/ 456 h 522"/>
                <a:gd name="T50" fmla="*/ 87 w 321"/>
                <a:gd name="T51" fmla="*/ 455 h 522"/>
                <a:gd name="T52" fmla="*/ 320 w 321"/>
                <a:gd name="T53" fmla="*/ 414 h 522"/>
                <a:gd name="T54" fmla="*/ 305 w 321"/>
                <a:gd name="T55" fmla="*/ 385 h 522"/>
                <a:gd name="T56" fmla="*/ 305 w 321"/>
                <a:gd name="T57" fmla="*/ 376 h 522"/>
                <a:gd name="T58" fmla="*/ 305 w 321"/>
                <a:gd name="T59" fmla="*/ 364 h 522"/>
                <a:gd name="T60" fmla="*/ 303 w 321"/>
                <a:gd name="T61" fmla="*/ 356 h 522"/>
                <a:gd name="T62" fmla="*/ 299 w 321"/>
                <a:gd name="T63" fmla="*/ 349 h 522"/>
                <a:gd name="T64" fmla="*/ 295 w 321"/>
                <a:gd name="T65" fmla="*/ 337 h 522"/>
                <a:gd name="T66" fmla="*/ 295 w 321"/>
                <a:gd name="T67" fmla="*/ 325 h 522"/>
                <a:gd name="T68" fmla="*/ 296 w 321"/>
                <a:gd name="T69" fmla="*/ 319 h 522"/>
                <a:gd name="T70" fmla="*/ 296 w 321"/>
                <a:gd name="T71" fmla="*/ 310 h 522"/>
                <a:gd name="T72" fmla="*/ 296 w 321"/>
                <a:gd name="T73" fmla="*/ 300 h 522"/>
                <a:gd name="T74" fmla="*/ 298 w 321"/>
                <a:gd name="T75" fmla="*/ 294 h 522"/>
                <a:gd name="T76" fmla="*/ 299 w 321"/>
                <a:gd name="T77" fmla="*/ 292 h 522"/>
                <a:gd name="T78" fmla="*/ 305 w 321"/>
                <a:gd name="T79" fmla="*/ 285 h 522"/>
                <a:gd name="T80" fmla="*/ 308 w 321"/>
                <a:gd name="T81" fmla="*/ 277 h 522"/>
                <a:gd name="T82" fmla="*/ 305 w 321"/>
                <a:gd name="T83" fmla="*/ 273 h 522"/>
                <a:gd name="T84" fmla="*/ 302 w 321"/>
                <a:gd name="T85" fmla="*/ 271 h 522"/>
                <a:gd name="T86" fmla="*/ 300 w 321"/>
                <a:gd name="T87" fmla="*/ 265 h 522"/>
                <a:gd name="T88" fmla="*/ 298 w 321"/>
                <a:gd name="T89" fmla="*/ 257 h 522"/>
                <a:gd name="T90" fmla="*/ 295 w 321"/>
                <a:gd name="T91" fmla="*/ 252 h 522"/>
                <a:gd name="T92" fmla="*/ 293 w 321"/>
                <a:gd name="T93" fmla="*/ 250 h 522"/>
                <a:gd name="T94" fmla="*/ 278 w 321"/>
                <a:gd name="T95" fmla="*/ 217 h 522"/>
                <a:gd name="T96" fmla="*/ 218 w 321"/>
                <a:gd name="T97" fmla="*/ 0 h 522"/>
                <a:gd name="T98" fmla="*/ 0 w 321"/>
                <a:gd name="T99" fmla="*/ 351 h 522"/>
                <a:gd name="T100" fmla="*/ 36 w 321"/>
                <a:gd name="T101" fmla="*/ 50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1" h="522">
                  <a:moveTo>
                    <a:pt x="36" y="507"/>
                  </a:moveTo>
                  <a:lnTo>
                    <a:pt x="42" y="514"/>
                  </a:lnTo>
                  <a:lnTo>
                    <a:pt x="48" y="508"/>
                  </a:lnTo>
                  <a:lnTo>
                    <a:pt x="45" y="501"/>
                  </a:lnTo>
                  <a:lnTo>
                    <a:pt x="51" y="465"/>
                  </a:lnTo>
                  <a:lnTo>
                    <a:pt x="63" y="463"/>
                  </a:lnTo>
                  <a:lnTo>
                    <a:pt x="61" y="496"/>
                  </a:lnTo>
                  <a:lnTo>
                    <a:pt x="81" y="512"/>
                  </a:lnTo>
                  <a:lnTo>
                    <a:pt x="80" y="512"/>
                  </a:lnTo>
                  <a:lnTo>
                    <a:pt x="77" y="514"/>
                  </a:lnTo>
                  <a:lnTo>
                    <a:pt x="72" y="515"/>
                  </a:lnTo>
                  <a:lnTo>
                    <a:pt x="68" y="517"/>
                  </a:lnTo>
                  <a:lnTo>
                    <a:pt x="64" y="518"/>
                  </a:lnTo>
                  <a:lnTo>
                    <a:pt x="61" y="520"/>
                  </a:lnTo>
                  <a:lnTo>
                    <a:pt x="59" y="521"/>
                  </a:lnTo>
                  <a:lnTo>
                    <a:pt x="59" y="521"/>
                  </a:lnTo>
                  <a:lnTo>
                    <a:pt x="64" y="521"/>
                  </a:lnTo>
                  <a:lnTo>
                    <a:pt x="69" y="520"/>
                  </a:lnTo>
                  <a:lnTo>
                    <a:pt x="77" y="518"/>
                  </a:lnTo>
                  <a:lnTo>
                    <a:pt x="83" y="517"/>
                  </a:lnTo>
                  <a:lnTo>
                    <a:pt x="89" y="515"/>
                  </a:lnTo>
                  <a:lnTo>
                    <a:pt x="93" y="514"/>
                  </a:lnTo>
                  <a:lnTo>
                    <a:pt x="96" y="514"/>
                  </a:lnTo>
                  <a:lnTo>
                    <a:pt x="96" y="514"/>
                  </a:lnTo>
                  <a:lnTo>
                    <a:pt x="96" y="512"/>
                  </a:lnTo>
                  <a:lnTo>
                    <a:pt x="96" y="511"/>
                  </a:lnTo>
                  <a:lnTo>
                    <a:pt x="94" y="509"/>
                  </a:lnTo>
                  <a:lnTo>
                    <a:pt x="94" y="508"/>
                  </a:lnTo>
                  <a:lnTo>
                    <a:pt x="98" y="504"/>
                  </a:lnTo>
                  <a:lnTo>
                    <a:pt x="102" y="499"/>
                  </a:lnTo>
                  <a:lnTo>
                    <a:pt x="104" y="496"/>
                  </a:lnTo>
                  <a:lnTo>
                    <a:pt x="105" y="495"/>
                  </a:lnTo>
                  <a:lnTo>
                    <a:pt x="105" y="493"/>
                  </a:lnTo>
                  <a:lnTo>
                    <a:pt x="105" y="492"/>
                  </a:lnTo>
                  <a:lnTo>
                    <a:pt x="105" y="492"/>
                  </a:lnTo>
                  <a:lnTo>
                    <a:pt x="105" y="492"/>
                  </a:lnTo>
                  <a:lnTo>
                    <a:pt x="105" y="492"/>
                  </a:lnTo>
                  <a:lnTo>
                    <a:pt x="105" y="490"/>
                  </a:lnTo>
                  <a:lnTo>
                    <a:pt x="105" y="489"/>
                  </a:lnTo>
                  <a:lnTo>
                    <a:pt x="105" y="488"/>
                  </a:lnTo>
                  <a:lnTo>
                    <a:pt x="104" y="485"/>
                  </a:lnTo>
                  <a:lnTo>
                    <a:pt x="104" y="484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7" y="478"/>
                  </a:lnTo>
                  <a:lnTo>
                    <a:pt x="107" y="472"/>
                  </a:lnTo>
                  <a:lnTo>
                    <a:pt x="104" y="468"/>
                  </a:lnTo>
                  <a:lnTo>
                    <a:pt x="99" y="463"/>
                  </a:lnTo>
                  <a:lnTo>
                    <a:pt x="96" y="460"/>
                  </a:lnTo>
                  <a:lnTo>
                    <a:pt x="92" y="456"/>
                  </a:lnTo>
                  <a:lnTo>
                    <a:pt x="89" y="455"/>
                  </a:lnTo>
                  <a:lnTo>
                    <a:pt x="87" y="455"/>
                  </a:lnTo>
                  <a:lnTo>
                    <a:pt x="86" y="436"/>
                  </a:lnTo>
                  <a:lnTo>
                    <a:pt x="320" y="414"/>
                  </a:lnTo>
                  <a:lnTo>
                    <a:pt x="305" y="386"/>
                  </a:lnTo>
                  <a:lnTo>
                    <a:pt x="305" y="385"/>
                  </a:lnTo>
                  <a:lnTo>
                    <a:pt x="305" y="381"/>
                  </a:lnTo>
                  <a:lnTo>
                    <a:pt x="305" y="376"/>
                  </a:lnTo>
                  <a:lnTo>
                    <a:pt x="305" y="370"/>
                  </a:lnTo>
                  <a:lnTo>
                    <a:pt x="305" y="364"/>
                  </a:lnTo>
                  <a:lnTo>
                    <a:pt x="303" y="358"/>
                  </a:lnTo>
                  <a:lnTo>
                    <a:pt x="303" y="356"/>
                  </a:lnTo>
                  <a:lnTo>
                    <a:pt x="303" y="353"/>
                  </a:lnTo>
                  <a:lnTo>
                    <a:pt x="299" y="349"/>
                  </a:lnTo>
                  <a:lnTo>
                    <a:pt x="296" y="343"/>
                  </a:lnTo>
                  <a:lnTo>
                    <a:pt x="295" y="337"/>
                  </a:lnTo>
                  <a:lnTo>
                    <a:pt x="295" y="330"/>
                  </a:lnTo>
                  <a:lnTo>
                    <a:pt x="295" y="325"/>
                  </a:lnTo>
                  <a:lnTo>
                    <a:pt x="295" y="322"/>
                  </a:lnTo>
                  <a:lnTo>
                    <a:pt x="296" y="319"/>
                  </a:lnTo>
                  <a:lnTo>
                    <a:pt x="296" y="316"/>
                  </a:lnTo>
                  <a:lnTo>
                    <a:pt x="296" y="310"/>
                  </a:lnTo>
                  <a:lnTo>
                    <a:pt x="296" y="304"/>
                  </a:lnTo>
                  <a:lnTo>
                    <a:pt x="296" y="300"/>
                  </a:lnTo>
                  <a:lnTo>
                    <a:pt x="298" y="295"/>
                  </a:lnTo>
                  <a:lnTo>
                    <a:pt x="298" y="294"/>
                  </a:lnTo>
                  <a:lnTo>
                    <a:pt x="298" y="292"/>
                  </a:lnTo>
                  <a:lnTo>
                    <a:pt x="299" y="292"/>
                  </a:lnTo>
                  <a:lnTo>
                    <a:pt x="299" y="290"/>
                  </a:lnTo>
                  <a:lnTo>
                    <a:pt x="305" y="285"/>
                  </a:lnTo>
                  <a:lnTo>
                    <a:pt x="308" y="280"/>
                  </a:lnTo>
                  <a:lnTo>
                    <a:pt x="308" y="277"/>
                  </a:lnTo>
                  <a:lnTo>
                    <a:pt x="308" y="274"/>
                  </a:lnTo>
                  <a:lnTo>
                    <a:pt x="305" y="273"/>
                  </a:lnTo>
                  <a:lnTo>
                    <a:pt x="303" y="273"/>
                  </a:lnTo>
                  <a:lnTo>
                    <a:pt x="302" y="271"/>
                  </a:lnTo>
                  <a:lnTo>
                    <a:pt x="300" y="270"/>
                  </a:lnTo>
                  <a:lnTo>
                    <a:pt x="300" y="265"/>
                  </a:lnTo>
                  <a:lnTo>
                    <a:pt x="300" y="260"/>
                  </a:lnTo>
                  <a:lnTo>
                    <a:pt x="298" y="257"/>
                  </a:lnTo>
                  <a:lnTo>
                    <a:pt x="296" y="255"/>
                  </a:lnTo>
                  <a:lnTo>
                    <a:pt x="295" y="252"/>
                  </a:lnTo>
                  <a:lnTo>
                    <a:pt x="293" y="250"/>
                  </a:lnTo>
                  <a:lnTo>
                    <a:pt x="293" y="250"/>
                  </a:lnTo>
                  <a:lnTo>
                    <a:pt x="292" y="249"/>
                  </a:lnTo>
                  <a:lnTo>
                    <a:pt x="278" y="217"/>
                  </a:lnTo>
                  <a:lnTo>
                    <a:pt x="216" y="0"/>
                  </a:lnTo>
                  <a:lnTo>
                    <a:pt x="218" y="0"/>
                  </a:lnTo>
                  <a:lnTo>
                    <a:pt x="3" y="18"/>
                  </a:lnTo>
                  <a:lnTo>
                    <a:pt x="0" y="351"/>
                  </a:lnTo>
                  <a:lnTo>
                    <a:pt x="20" y="507"/>
                  </a:lnTo>
                  <a:lnTo>
                    <a:pt x="36" y="50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" name="Freeform 104"/>
            <p:cNvSpPr>
              <a:spLocks/>
            </p:cNvSpPr>
            <p:nvPr/>
          </p:nvSpPr>
          <p:spPr bwMode="auto">
            <a:xfrm>
              <a:off x="2685140" y="5040988"/>
              <a:ext cx="215807" cy="350222"/>
            </a:xfrm>
            <a:custGeom>
              <a:avLst/>
              <a:gdLst>
                <a:gd name="T0" fmla="*/ 42 w 321"/>
                <a:gd name="T1" fmla="*/ 514 h 522"/>
                <a:gd name="T2" fmla="*/ 45 w 321"/>
                <a:gd name="T3" fmla="*/ 501 h 522"/>
                <a:gd name="T4" fmla="*/ 63 w 321"/>
                <a:gd name="T5" fmla="*/ 463 h 522"/>
                <a:gd name="T6" fmla="*/ 81 w 321"/>
                <a:gd name="T7" fmla="*/ 512 h 522"/>
                <a:gd name="T8" fmla="*/ 80 w 321"/>
                <a:gd name="T9" fmla="*/ 512 h 522"/>
                <a:gd name="T10" fmla="*/ 72 w 321"/>
                <a:gd name="T11" fmla="*/ 515 h 522"/>
                <a:gd name="T12" fmla="*/ 64 w 321"/>
                <a:gd name="T13" fmla="*/ 518 h 522"/>
                <a:gd name="T14" fmla="*/ 59 w 321"/>
                <a:gd name="T15" fmla="*/ 521 h 522"/>
                <a:gd name="T16" fmla="*/ 59 w 321"/>
                <a:gd name="T17" fmla="*/ 521 h 522"/>
                <a:gd name="T18" fmla="*/ 69 w 321"/>
                <a:gd name="T19" fmla="*/ 520 h 522"/>
                <a:gd name="T20" fmla="*/ 83 w 321"/>
                <a:gd name="T21" fmla="*/ 517 h 522"/>
                <a:gd name="T22" fmla="*/ 93 w 321"/>
                <a:gd name="T23" fmla="*/ 514 h 522"/>
                <a:gd name="T24" fmla="*/ 96 w 321"/>
                <a:gd name="T25" fmla="*/ 514 h 522"/>
                <a:gd name="T26" fmla="*/ 96 w 321"/>
                <a:gd name="T27" fmla="*/ 512 h 522"/>
                <a:gd name="T28" fmla="*/ 94 w 321"/>
                <a:gd name="T29" fmla="*/ 509 h 522"/>
                <a:gd name="T30" fmla="*/ 94 w 321"/>
                <a:gd name="T31" fmla="*/ 508 h 522"/>
                <a:gd name="T32" fmla="*/ 102 w 321"/>
                <a:gd name="T33" fmla="*/ 499 h 522"/>
                <a:gd name="T34" fmla="*/ 105 w 321"/>
                <a:gd name="T35" fmla="*/ 495 h 522"/>
                <a:gd name="T36" fmla="*/ 105 w 321"/>
                <a:gd name="T37" fmla="*/ 492 h 522"/>
                <a:gd name="T38" fmla="*/ 105 w 321"/>
                <a:gd name="T39" fmla="*/ 492 h 522"/>
                <a:gd name="T40" fmla="*/ 105 w 321"/>
                <a:gd name="T41" fmla="*/ 492 h 522"/>
                <a:gd name="T42" fmla="*/ 105 w 321"/>
                <a:gd name="T43" fmla="*/ 489 h 522"/>
                <a:gd name="T44" fmla="*/ 104 w 321"/>
                <a:gd name="T45" fmla="*/ 485 h 522"/>
                <a:gd name="T46" fmla="*/ 104 w 321"/>
                <a:gd name="T47" fmla="*/ 482 h 522"/>
                <a:gd name="T48" fmla="*/ 104 w 321"/>
                <a:gd name="T49" fmla="*/ 482 h 522"/>
                <a:gd name="T50" fmla="*/ 107 w 321"/>
                <a:gd name="T51" fmla="*/ 472 h 522"/>
                <a:gd name="T52" fmla="*/ 99 w 321"/>
                <a:gd name="T53" fmla="*/ 463 h 522"/>
                <a:gd name="T54" fmla="*/ 92 w 321"/>
                <a:gd name="T55" fmla="*/ 456 h 522"/>
                <a:gd name="T56" fmla="*/ 87 w 321"/>
                <a:gd name="T57" fmla="*/ 455 h 522"/>
                <a:gd name="T58" fmla="*/ 320 w 321"/>
                <a:gd name="T59" fmla="*/ 414 h 522"/>
                <a:gd name="T60" fmla="*/ 305 w 321"/>
                <a:gd name="T61" fmla="*/ 386 h 522"/>
                <a:gd name="T62" fmla="*/ 305 w 321"/>
                <a:gd name="T63" fmla="*/ 381 h 522"/>
                <a:gd name="T64" fmla="*/ 305 w 321"/>
                <a:gd name="T65" fmla="*/ 370 h 522"/>
                <a:gd name="T66" fmla="*/ 303 w 321"/>
                <a:gd name="T67" fmla="*/ 358 h 522"/>
                <a:gd name="T68" fmla="*/ 303 w 321"/>
                <a:gd name="T69" fmla="*/ 353 h 522"/>
                <a:gd name="T70" fmla="*/ 299 w 321"/>
                <a:gd name="T71" fmla="*/ 349 h 522"/>
                <a:gd name="T72" fmla="*/ 295 w 321"/>
                <a:gd name="T73" fmla="*/ 337 h 522"/>
                <a:gd name="T74" fmla="*/ 295 w 321"/>
                <a:gd name="T75" fmla="*/ 325 h 522"/>
                <a:gd name="T76" fmla="*/ 296 w 321"/>
                <a:gd name="T77" fmla="*/ 319 h 522"/>
                <a:gd name="T78" fmla="*/ 296 w 321"/>
                <a:gd name="T79" fmla="*/ 316 h 522"/>
                <a:gd name="T80" fmla="*/ 296 w 321"/>
                <a:gd name="T81" fmla="*/ 304 h 522"/>
                <a:gd name="T82" fmla="*/ 298 w 321"/>
                <a:gd name="T83" fmla="*/ 295 h 522"/>
                <a:gd name="T84" fmla="*/ 298 w 321"/>
                <a:gd name="T85" fmla="*/ 292 h 522"/>
                <a:gd name="T86" fmla="*/ 299 w 321"/>
                <a:gd name="T87" fmla="*/ 290 h 522"/>
                <a:gd name="T88" fmla="*/ 305 w 321"/>
                <a:gd name="T89" fmla="*/ 285 h 522"/>
                <a:gd name="T90" fmla="*/ 308 w 321"/>
                <a:gd name="T91" fmla="*/ 277 h 522"/>
                <a:gd name="T92" fmla="*/ 305 w 321"/>
                <a:gd name="T93" fmla="*/ 273 h 522"/>
                <a:gd name="T94" fmla="*/ 302 w 321"/>
                <a:gd name="T95" fmla="*/ 271 h 522"/>
                <a:gd name="T96" fmla="*/ 300 w 321"/>
                <a:gd name="T97" fmla="*/ 270 h 522"/>
                <a:gd name="T98" fmla="*/ 300 w 321"/>
                <a:gd name="T99" fmla="*/ 260 h 522"/>
                <a:gd name="T100" fmla="*/ 296 w 321"/>
                <a:gd name="T101" fmla="*/ 255 h 522"/>
                <a:gd name="T102" fmla="*/ 293 w 321"/>
                <a:gd name="T103" fmla="*/ 250 h 522"/>
                <a:gd name="T104" fmla="*/ 292 w 321"/>
                <a:gd name="T105" fmla="*/ 249 h 522"/>
                <a:gd name="T106" fmla="*/ 216 w 321"/>
                <a:gd name="T107" fmla="*/ 0 h 522"/>
                <a:gd name="T108" fmla="*/ 3 w 321"/>
                <a:gd name="T109" fmla="*/ 18 h 522"/>
                <a:gd name="T110" fmla="*/ 20 w 321"/>
                <a:gd name="T111" fmla="*/ 50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1" h="522">
                  <a:moveTo>
                    <a:pt x="36" y="507"/>
                  </a:moveTo>
                  <a:lnTo>
                    <a:pt x="42" y="514"/>
                  </a:lnTo>
                  <a:lnTo>
                    <a:pt x="48" y="508"/>
                  </a:lnTo>
                  <a:lnTo>
                    <a:pt x="45" y="501"/>
                  </a:lnTo>
                  <a:lnTo>
                    <a:pt x="51" y="465"/>
                  </a:lnTo>
                  <a:lnTo>
                    <a:pt x="63" y="463"/>
                  </a:lnTo>
                  <a:lnTo>
                    <a:pt x="61" y="496"/>
                  </a:lnTo>
                  <a:lnTo>
                    <a:pt x="81" y="512"/>
                  </a:lnTo>
                  <a:lnTo>
                    <a:pt x="81" y="512"/>
                  </a:lnTo>
                  <a:lnTo>
                    <a:pt x="80" y="512"/>
                  </a:lnTo>
                  <a:lnTo>
                    <a:pt x="77" y="514"/>
                  </a:lnTo>
                  <a:lnTo>
                    <a:pt x="72" y="515"/>
                  </a:lnTo>
                  <a:lnTo>
                    <a:pt x="68" y="517"/>
                  </a:lnTo>
                  <a:lnTo>
                    <a:pt x="64" y="518"/>
                  </a:lnTo>
                  <a:lnTo>
                    <a:pt x="61" y="520"/>
                  </a:lnTo>
                  <a:lnTo>
                    <a:pt x="59" y="521"/>
                  </a:lnTo>
                  <a:lnTo>
                    <a:pt x="59" y="521"/>
                  </a:lnTo>
                  <a:lnTo>
                    <a:pt x="59" y="521"/>
                  </a:lnTo>
                  <a:lnTo>
                    <a:pt x="64" y="521"/>
                  </a:lnTo>
                  <a:lnTo>
                    <a:pt x="69" y="520"/>
                  </a:lnTo>
                  <a:lnTo>
                    <a:pt x="77" y="518"/>
                  </a:lnTo>
                  <a:lnTo>
                    <a:pt x="83" y="517"/>
                  </a:lnTo>
                  <a:lnTo>
                    <a:pt x="89" y="515"/>
                  </a:lnTo>
                  <a:lnTo>
                    <a:pt x="93" y="514"/>
                  </a:lnTo>
                  <a:lnTo>
                    <a:pt x="96" y="514"/>
                  </a:lnTo>
                  <a:lnTo>
                    <a:pt x="96" y="514"/>
                  </a:lnTo>
                  <a:lnTo>
                    <a:pt x="96" y="514"/>
                  </a:lnTo>
                  <a:lnTo>
                    <a:pt x="96" y="512"/>
                  </a:lnTo>
                  <a:lnTo>
                    <a:pt x="96" y="511"/>
                  </a:lnTo>
                  <a:lnTo>
                    <a:pt x="94" y="509"/>
                  </a:lnTo>
                  <a:lnTo>
                    <a:pt x="94" y="508"/>
                  </a:lnTo>
                  <a:lnTo>
                    <a:pt x="94" y="508"/>
                  </a:lnTo>
                  <a:lnTo>
                    <a:pt x="98" y="504"/>
                  </a:lnTo>
                  <a:lnTo>
                    <a:pt x="102" y="499"/>
                  </a:lnTo>
                  <a:lnTo>
                    <a:pt x="104" y="496"/>
                  </a:lnTo>
                  <a:lnTo>
                    <a:pt x="105" y="495"/>
                  </a:lnTo>
                  <a:lnTo>
                    <a:pt x="105" y="493"/>
                  </a:lnTo>
                  <a:lnTo>
                    <a:pt x="105" y="492"/>
                  </a:lnTo>
                  <a:lnTo>
                    <a:pt x="105" y="492"/>
                  </a:lnTo>
                  <a:lnTo>
                    <a:pt x="105" y="492"/>
                  </a:lnTo>
                  <a:lnTo>
                    <a:pt x="105" y="492"/>
                  </a:lnTo>
                  <a:lnTo>
                    <a:pt x="105" y="492"/>
                  </a:lnTo>
                  <a:lnTo>
                    <a:pt x="105" y="490"/>
                  </a:lnTo>
                  <a:lnTo>
                    <a:pt x="105" y="489"/>
                  </a:lnTo>
                  <a:lnTo>
                    <a:pt x="105" y="488"/>
                  </a:lnTo>
                  <a:lnTo>
                    <a:pt x="104" y="485"/>
                  </a:lnTo>
                  <a:lnTo>
                    <a:pt x="104" y="484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7" y="478"/>
                  </a:lnTo>
                  <a:lnTo>
                    <a:pt x="107" y="472"/>
                  </a:lnTo>
                  <a:lnTo>
                    <a:pt x="104" y="468"/>
                  </a:lnTo>
                  <a:lnTo>
                    <a:pt x="99" y="463"/>
                  </a:lnTo>
                  <a:lnTo>
                    <a:pt x="96" y="460"/>
                  </a:lnTo>
                  <a:lnTo>
                    <a:pt x="92" y="456"/>
                  </a:lnTo>
                  <a:lnTo>
                    <a:pt x="89" y="455"/>
                  </a:lnTo>
                  <a:lnTo>
                    <a:pt x="87" y="455"/>
                  </a:lnTo>
                  <a:lnTo>
                    <a:pt x="86" y="436"/>
                  </a:lnTo>
                  <a:lnTo>
                    <a:pt x="320" y="414"/>
                  </a:lnTo>
                  <a:lnTo>
                    <a:pt x="305" y="386"/>
                  </a:lnTo>
                  <a:lnTo>
                    <a:pt x="305" y="386"/>
                  </a:lnTo>
                  <a:lnTo>
                    <a:pt x="305" y="385"/>
                  </a:lnTo>
                  <a:lnTo>
                    <a:pt x="305" y="381"/>
                  </a:lnTo>
                  <a:lnTo>
                    <a:pt x="305" y="376"/>
                  </a:lnTo>
                  <a:lnTo>
                    <a:pt x="305" y="370"/>
                  </a:lnTo>
                  <a:lnTo>
                    <a:pt x="305" y="364"/>
                  </a:lnTo>
                  <a:lnTo>
                    <a:pt x="303" y="358"/>
                  </a:lnTo>
                  <a:lnTo>
                    <a:pt x="303" y="356"/>
                  </a:lnTo>
                  <a:lnTo>
                    <a:pt x="303" y="353"/>
                  </a:lnTo>
                  <a:lnTo>
                    <a:pt x="303" y="353"/>
                  </a:lnTo>
                  <a:lnTo>
                    <a:pt x="299" y="349"/>
                  </a:lnTo>
                  <a:lnTo>
                    <a:pt x="296" y="343"/>
                  </a:lnTo>
                  <a:lnTo>
                    <a:pt x="295" y="337"/>
                  </a:lnTo>
                  <a:lnTo>
                    <a:pt x="295" y="330"/>
                  </a:lnTo>
                  <a:lnTo>
                    <a:pt x="295" y="325"/>
                  </a:lnTo>
                  <a:lnTo>
                    <a:pt x="295" y="322"/>
                  </a:lnTo>
                  <a:lnTo>
                    <a:pt x="296" y="319"/>
                  </a:lnTo>
                  <a:lnTo>
                    <a:pt x="296" y="316"/>
                  </a:lnTo>
                  <a:lnTo>
                    <a:pt x="296" y="316"/>
                  </a:lnTo>
                  <a:lnTo>
                    <a:pt x="296" y="310"/>
                  </a:lnTo>
                  <a:lnTo>
                    <a:pt x="296" y="304"/>
                  </a:lnTo>
                  <a:lnTo>
                    <a:pt x="296" y="300"/>
                  </a:lnTo>
                  <a:lnTo>
                    <a:pt x="298" y="295"/>
                  </a:lnTo>
                  <a:lnTo>
                    <a:pt x="298" y="294"/>
                  </a:lnTo>
                  <a:lnTo>
                    <a:pt x="298" y="292"/>
                  </a:lnTo>
                  <a:lnTo>
                    <a:pt x="299" y="292"/>
                  </a:lnTo>
                  <a:lnTo>
                    <a:pt x="299" y="290"/>
                  </a:lnTo>
                  <a:lnTo>
                    <a:pt x="299" y="290"/>
                  </a:lnTo>
                  <a:lnTo>
                    <a:pt x="305" y="285"/>
                  </a:lnTo>
                  <a:lnTo>
                    <a:pt x="308" y="280"/>
                  </a:lnTo>
                  <a:lnTo>
                    <a:pt x="308" y="277"/>
                  </a:lnTo>
                  <a:lnTo>
                    <a:pt x="308" y="274"/>
                  </a:lnTo>
                  <a:lnTo>
                    <a:pt x="305" y="273"/>
                  </a:lnTo>
                  <a:lnTo>
                    <a:pt x="303" y="273"/>
                  </a:lnTo>
                  <a:lnTo>
                    <a:pt x="302" y="271"/>
                  </a:lnTo>
                  <a:lnTo>
                    <a:pt x="300" y="270"/>
                  </a:lnTo>
                  <a:lnTo>
                    <a:pt x="300" y="270"/>
                  </a:lnTo>
                  <a:lnTo>
                    <a:pt x="300" y="265"/>
                  </a:lnTo>
                  <a:lnTo>
                    <a:pt x="300" y="260"/>
                  </a:lnTo>
                  <a:lnTo>
                    <a:pt x="298" y="257"/>
                  </a:lnTo>
                  <a:lnTo>
                    <a:pt x="296" y="255"/>
                  </a:lnTo>
                  <a:lnTo>
                    <a:pt x="295" y="252"/>
                  </a:lnTo>
                  <a:lnTo>
                    <a:pt x="293" y="250"/>
                  </a:lnTo>
                  <a:lnTo>
                    <a:pt x="293" y="250"/>
                  </a:lnTo>
                  <a:lnTo>
                    <a:pt x="292" y="249"/>
                  </a:lnTo>
                  <a:lnTo>
                    <a:pt x="278" y="217"/>
                  </a:lnTo>
                  <a:lnTo>
                    <a:pt x="216" y="0"/>
                  </a:lnTo>
                  <a:lnTo>
                    <a:pt x="218" y="0"/>
                  </a:lnTo>
                  <a:lnTo>
                    <a:pt x="3" y="18"/>
                  </a:lnTo>
                  <a:lnTo>
                    <a:pt x="0" y="351"/>
                  </a:lnTo>
                  <a:lnTo>
                    <a:pt x="20" y="507"/>
                  </a:lnTo>
                  <a:lnTo>
                    <a:pt x="36" y="50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" name="Freeform 105"/>
            <p:cNvSpPr>
              <a:spLocks/>
            </p:cNvSpPr>
            <p:nvPr/>
          </p:nvSpPr>
          <p:spPr bwMode="auto">
            <a:xfrm>
              <a:off x="2743010" y="5304896"/>
              <a:ext cx="507569" cy="389343"/>
            </a:xfrm>
            <a:custGeom>
              <a:avLst/>
              <a:gdLst>
                <a:gd name="T0" fmla="*/ 543 w 756"/>
                <a:gd name="T1" fmla="*/ 41 h 580"/>
                <a:gd name="T2" fmla="*/ 543 w 756"/>
                <a:gd name="T3" fmla="*/ 58 h 580"/>
                <a:gd name="T4" fmla="*/ 578 w 756"/>
                <a:gd name="T5" fmla="*/ 94 h 580"/>
                <a:gd name="T6" fmla="*/ 608 w 756"/>
                <a:gd name="T7" fmla="*/ 135 h 580"/>
                <a:gd name="T8" fmla="*/ 621 w 756"/>
                <a:gd name="T9" fmla="*/ 160 h 580"/>
                <a:gd name="T10" fmla="*/ 611 w 756"/>
                <a:gd name="T11" fmla="*/ 154 h 580"/>
                <a:gd name="T12" fmla="*/ 642 w 756"/>
                <a:gd name="T13" fmla="*/ 198 h 580"/>
                <a:gd name="T14" fmla="*/ 656 w 756"/>
                <a:gd name="T15" fmla="*/ 236 h 580"/>
                <a:gd name="T16" fmla="*/ 705 w 756"/>
                <a:gd name="T17" fmla="*/ 321 h 580"/>
                <a:gd name="T18" fmla="*/ 725 w 756"/>
                <a:gd name="T19" fmla="*/ 354 h 580"/>
                <a:gd name="T20" fmla="*/ 741 w 756"/>
                <a:gd name="T21" fmla="*/ 381 h 580"/>
                <a:gd name="T22" fmla="*/ 753 w 756"/>
                <a:gd name="T23" fmla="*/ 405 h 580"/>
                <a:gd name="T24" fmla="*/ 755 w 756"/>
                <a:gd name="T25" fmla="*/ 477 h 580"/>
                <a:gd name="T26" fmla="*/ 743 w 756"/>
                <a:gd name="T27" fmla="*/ 515 h 580"/>
                <a:gd name="T28" fmla="*/ 744 w 756"/>
                <a:gd name="T29" fmla="*/ 543 h 580"/>
                <a:gd name="T30" fmla="*/ 714 w 756"/>
                <a:gd name="T31" fmla="*/ 570 h 580"/>
                <a:gd name="T32" fmla="*/ 678 w 756"/>
                <a:gd name="T33" fmla="*/ 579 h 580"/>
                <a:gd name="T34" fmla="*/ 677 w 756"/>
                <a:gd name="T35" fmla="*/ 565 h 580"/>
                <a:gd name="T36" fmla="*/ 684 w 756"/>
                <a:gd name="T37" fmla="*/ 537 h 580"/>
                <a:gd name="T38" fmla="*/ 675 w 756"/>
                <a:gd name="T39" fmla="*/ 552 h 580"/>
                <a:gd name="T40" fmla="*/ 635 w 756"/>
                <a:gd name="T41" fmla="*/ 513 h 580"/>
                <a:gd name="T42" fmla="*/ 605 w 756"/>
                <a:gd name="T43" fmla="*/ 505 h 580"/>
                <a:gd name="T44" fmla="*/ 590 w 756"/>
                <a:gd name="T45" fmla="*/ 477 h 580"/>
                <a:gd name="T46" fmla="*/ 560 w 756"/>
                <a:gd name="T47" fmla="*/ 420 h 580"/>
                <a:gd name="T48" fmla="*/ 536 w 756"/>
                <a:gd name="T49" fmla="*/ 399 h 580"/>
                <a:gd name="T50" fmla="*/ 534 w 756"/>
                <a:gd name="T51" fmla="*/ 415 h 580"/>
                <a:gd name="T52" fmla="*/ 494 w 756"/>
                <a:gd name="T53" fmla="*/ 359 h 580"/>
                <a:gd name="T54" fmla="*/ 497 w 756"/>
                <a:gd name="T55" fmla="*/ 345 h 580"/>
                <a:gd name="T56" fmla="*/ 490 w 756"/>
                <a:gd name="T57" fmla="*/ 303 h 580"/>
                <a:gd name="T58" fmla="*/ 487 w 756"/>
                <a:gd name="T59" fmla="*/ 337 h 580"/>
                <a:gd name="T60" fmla="*/ 471 w 756"/>
                <a:gd name="T61" fmla="*/ 316 h 580"/>
                <a:gd name="T62" fmla="*/ 476 w 756"/>
                <a:gd name="T63" fmla="*/ 267 h 580"/>
                <a:gd name="T64" fmla="*/ 474 w 756"/>
                <a:gd name="T65" fmla="*/ 225 h 580"/>
                <a:gd name="T66" fmla="*/ 470 w 756"/>
                <a:gd name="T67" fmla="*/ 209 h 580"/>
                <a:gd name="T68" fmla="*/ 441 w 756"/>
                <a:gd name="T69" fmla="*/ 187 h 580"/>
                <a:gd name="T70" fmla="*/ 395 w 756"/>
                <a:gd name="T71" fmla="*/ 151 h 580"/>
                <a:gd name="T72" fmla="*/ 360 w 756"/>
                <a:gd name="T73" fmla="*/ 117 h 580"/>
                <a:gd name="T74" fmla="*/ 300 w 756"/>
                <a:gd name="T75" fmla="*/ 111 h 580"/>
                <a:gd name="T76" fmla="*/ 270 w 756"/>
                <a:gd name="T77" fmla="*/ 138 h 580"/>
                <a:gd name="T78" fmla="*/ 261 w 756"/>
                <a:gd name="T79" fmla="*/ 141 h 580"/>
                <a:gd name="T80" fmla="*/ 234 w 756"/>
                <a:gd name="T81" fmla="*/ 153 h 580"/>
                <a:gd name="T82" fmla="*/ 207 w 756"/>
                <a:gd name="T83" fmla="*/ 151 h 580"/>
                <a:gd name="T84" fmla="*/ 201 w 756"/>
                <a:gd name="T85" fmla="*/ 120 h 580"/>
                <a:gd name="T86" fmla="*/ 174 w 756"/>
                <a:gd name="T87" fmla="*/ 105 h 580"/>
                <a:gd name="T88" fmla="*/ 145 w 756"/>
                <a:gd name="T89" fmla="*/ 99 h 580"/>
                <a:gd name="T90" fmla="*/ 107 w 756"/>
                <a:gd name="T91" fmla="*/ 96 h 580"/>
                <a:gd name="T92" fmla="*/ 132 w 756"/>
                <a:gd name="T93" fmla="*/ 93 h 580"/>
                <a:gd name="T94" fmla="*/ 85 w 756"/>
                <a:gd name="T95" fmla="*/ 96 h 580"/>
                <a:gd name="T96" fmla="*/ 43 w 756"/>
                <a:gd name="T97" fmla="*/ 105 h 580"/>
                <a:gd name="T98" fmla="*/ 57 w 756"/>
                <a:gd name="T99" fmla="*/ 88 h 580"/>
                <a:gd name="T100" fmla="*/ 42 w 756"/>
                <a:gd name="T101" fmla="*/ 96 h 580"/>
                <a:gd name="T102" fmla="*/ 18 w 756"/>
                <a:gd name="T103" fmla="*/ 115 h 580"/>
                <a:gd name="T104" fmla="*/ 19 w 756"/>
                <a:gd name="T105" fmla="*/ 98 h 580"/>
                <a:gd name="T106" fmla="*/ 21 w 756"/>
                <a:gd name="T107" fmla="*/ 78 h 580"/>
                <a:gd name="T108" fmla="*/ 485 w 756"/>
                <a:gd name="T109" fmla="*/ 31 h 580"/>
                <a:gd name="T110" fmla="*/ 503 w 756"/>
                <a:gd name="T111" fmla="*/ 25 h 580"/>
                <a:gd name="T112" fmla="*/ 522 w 756"/>
                <a:gd name="T113" fmla="*/ 3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56" h="580">
                  <a:moveTo>
                    <a:pt x="551" y="11"/>
                  </a:moveTo>
                  <a:lnTo>
                    <a:pt x="551" y="27"/>
                  </a:lnTo>
                  <a:lnTo>
                    <a:pt x="555" y="27"/>
                  </a:lnTo>
                  <a:lnTo>
                    <a:pt x="556" y="35"/>
                  </a:lnTo>
                  <a:lnTo>
                    <a:pt x="555" y="35"/>
                  </a:lnTo>
                  <a:lnTo>
                    <a:pt x="554" y="36"/>
                  </a:lnTo>
                  <a:lnTo>
                    <a:pt x="552" y="36"/>
                  </a:lnTo>
                  <a:lnTo>
                    <a:pt x="549" y="38"/>
                  </a:lnTo>
                  <a:lnTo>
                    <a:pt x="545" y="38"/>
                  </a:lnTo>
                  <a:lnTo>
                    <a:pt x="543" y="41"/>
                  </a:lnTo>
                  <a:lnTo>
                    <a:pt x="540" y="44"/>
                  </a:lnTo>
                  <a:lnTo>
                    <a:pt x="539" y="48"/>
                  </a:lnTo>
                  <a:lnTo>
                    <a:pt x="539" y="52"/>
                  </a:lnTo>
                  <a:lnTo>
                    <a:pt x="539" y="57"/>
                  </a:lnTo>
                  <a:lnTo>
                    <a:pt x="539" y="58"/>
                  </a:lnTo>
                  <a:lnTo>
                    <a:pt x="539" y="60"/>
                  </a:lnTo>
                  <a:lnTo>
                    <a:pt x="539" y="60"/>
                  </a:lnTo>
                  <a:lnTo>
                    <a:pt x="540" y="60"/>
                  </a:lnTo>
                  <a:lnTo>
                    <a:pt x="543" y="60"/>
                  </a:lnTo>
                  <a:lnTo>
                    <a:pt x="543" y="58"/>
                  </a:lnTo>
                  <a:lnTo>
                    <a:pt x="545" y="51"/>
                  </a:lnTo>
                  <a:lnTo>
                    <a:pt x="546" y="45"/>
                  </a:lnTo>
                  <a:lnTo>
                    <a:pt x="549" y="42"/>
                  </a:lnTo>
                  <a:lnTo>
                    <a:pt x="552" y="39"/>
                  </a:lnTo>
                  <a:lnTo>
                    <a:pt x="556" y="39"/>
                  </a:lnTo>
                  <a:lnTo>
                    <a:pt x="558" y="39"/>
                  </a:lnTo>
                  <a:lnTo>
                    <a:pt x="560" y="39"/>
                  </a:lnTo>
                  <a:lnTo>
                    <a:pt x="561" y="41"/>
                  </a:lnTo>
                  <a:lnTo>
                    <a:pt x="579" y="80"/>
                  </a:lnTo>
                  <a:lnTo>
                    <a:pt x="578" y="94"/>
                  </a:lnTo>
                  <a:lnTo>
                    <a:pt x="587" y="111"/>
                  </a:lnTo>
                  <a:lnTo>
                    <a:pt x="590" y="107"/>
                  </a:lnTo>
                  <a:lnTo>
                    <a:pt x="591" y="108"/>
                  </a:lnTo>
                  <a:lnTo>
                    <a:pt x="593" y="111"/>
                  </a:lnTo>
                  <a:lnTo>
                    <a:pt x="596" y="115"/>
                  </a:lnTo>
                  <a:lnTo>
                    <a:pt x="599" y="121"/>
                  </a:lnTo>
                  <a:lnTo>
                    <a:pt x="602" y="126"/>
                  </a:lnTo>
                  <a:lnTo>
                    <a:pt x="605" y="129"/>
                  </a:lnTo>
                  <a:lnTo>
                    <a:pt x="606" y="134"/>
                  </a:lnTo>
                  <a:lnTo>
                    <a:pt x="608" y="135"/>
                  </a:lnTo>
                  <a:lnTo>
                    <a:pt x="615" y="147"/>
                  </a:lnTo>
                  <a:lnTo>
                    <a:pt x="621" y="156"/>
                  </a:lnTo>
                  <a:lnTo>
                    <a:pt x="624" y="161"/>
                  </a:lnTo>
                  <a:lnTo>
                    <a:pt x="627" y="165"/>
                  </a:lnTo>
                  <a:lnTo>
                    <a:pt x="627" y="168"/>
                  </a:lnTo>
                  <a:lnTo>
                    <a:pt x="627" y="168"/>
                  </a:lnTo>
                  <a:lnTo>
                    <a:pt x="627" y="168"/>
                  </a:lnTo>
                  <a:lnTo>
                    <a:pt x="624" y="165"/>
                  </a:lnTo>
                  <a:lnTo>
                    <a:pt x="623" y="162"/>
                  </a:lnTo>
                  <a:lnTo>
                    <a:pt x="621" y="160"/>
                  </a:lnTo>
                  <a:lnTo>
                    <a:pt x="618" y="157"/>
                  </a:lnTo>
                  <a:lnTo>
                    <a:pt x="615" y="153"/>
                  </a:lnTo>
                  <a:lnTo>
                    <a:pt x="612" y="150"/>
                  </a:lnTo>
                  <a:lnTo>
                    <a:pt x="611" y="147"/>
                  </a:lnTo>
                  <a:lnTo>
                    <a:pt x="609" y="146"/>
                  </a:lnTo>
                  <a:lnTo>
                    <a:pt x="609" y="146"/>
                  </a:lnTo>
                  <a:lnTo>
                    <a:pt x="605" y="147"/>
                  </a:lnTo>
                  <a:lnTo>
                    <a:pt x="606" y="147"/>
                  </a:lnTo>
                  <a:lnTo>
                    <a:pt x="608" y="150"/>
                  </a:lnTo>
                  <a:lnTo>
                    <a:pt x="611" y="154"/>
                  </a:lnTo>
                  <a:lnTo>
                    <a:pt x="614" y="159"/>
                  </a:lnTo>
                  <a:lnTo>
                    <a:pt x="618" y="164"/>
                  </a:lnTo>
                  <a:lnTo>
                    <a:pt x="621" y="168"/>
                  </a:lnTo>
                  <a:lnTo>
                    <a:pt x="623" y="171"/>
                  </a:lnTo>
                  <a:lnTo>
                    <a:pt x="623" y="173"/>
                  </a:lnTo>
                  <a:lnTo>
                    <a:pt x="633" y="183"/>
                  </a:lnTo>
                  <a:lnTo>
                    <a:pt x="639" y="190"/>
                  </a:lnTo>
                  <a:lnTo>
                    <a:pt x="644" y="195"/>
                  </a:lnTo>
                  <a:lnTo>
                    <a:pt x="644" y="198"/>
                  </a:lnTo>
                  <a:lnTo>
                    <a:pt x="642" y="198"/>
                  </a:lnTo>
                  <a:lnTo>
                    <a:pt x="641" y="198"/>
                  </a:lnTo>
                  <a:lnTo>
                    <a:pt x="639" y="198"/>
                  </a:lnTo>
                  <a:lnTo>
                    <a:pt x="638" y="198"/>
                  </a:lnTo>
                  <a:lnTo>
                    <a:pt x="638" y="198"/>
                  </a:lnTo>
                  <a:lnTo>
                    <a:pt x="638" y="198"/>
                  </a:lnTo>
                  <a:lnTo>
                    <a:pt x="639" y="198"/>
                  </a:lnTo>
                  <a:lnTo>
                    <a:pt x="639" y="198"/>
                  </a:lnTo>
                  <a:lnTo>
                    <a:pt x="644" y="211"/>
                  </a:lnTo>
                  <a:lnTo>
                    <a:pt x="650" y="225"/>
                  </a:lnTo>
                  <a:lnTo>
                    <a:pt x="656" y="236"/>
                  </a:lnTo>
                  <a:lnTo>
                    <a:pt x="660" y="247"/>
                  </a:lnTo>
                  <a:lnTo>
                    <a:pt x="666" y="257"/>
                  </a:lnTo>
                  <a:lnTo>
                    <a:pt x="672" y="269"/>
                  </a:lnTo>
                  <a:lnTo>
                    <a:pt x="678" y="277"/>
                  </a:lnTo>
                  <a:lnTo>
                    <a:pt x="683" y="286"/>
                  </a:lnTo>
                  <a:lnTo>
                    <a:pt x="689" y="294"/>
                  </a:lnTo>
                  <a:lnTo>
                    <a:pt x="692" y="302"/>
                  </a:lnTo>
                  <a:lnTo>
                    <a:pt x="696" y="309"/>
                  </a:lnTo>
                  <a:lnTo>
                    <a:pt x="701" y="316"/>
                  </a:lnTo>
                  <a:lnTo>
                    <a:pt x="705" y="321"/>
                  </a:lnTo>
                  <a:lnTo>
                    <a:pt x="708" y="326"/>
                  </a:lnTo>
                  <a:lnTo>
                    <a:pt x="710" y="330"/>
                  </a:lnTo>
                  <a:lnTo>
                    <a:pt x="711" y="333"/>
                  </a:lnTo>
                  <a:lnTo>
                    <a:pt x="714" y="336"/>
                  </a:lnTo>
                  <a:lnTo>
                    <a:pt x="717" y="340"/>
                  </a:lnTo>
                  <a:lnTo>
                    <a:pt x="720" y="343"/>
                  </a:lnTo>
                  <a:lnTo>
                    <a:pt x="722" y="348"/>
                  </a:lnTo>
                  <a:lnTo>
                    <a:pt x="722" y="351"/>
                  </a:lnTo>
                  <a:lnTo>
                    <a:pt x="724" y="353"/>
                  </a:lnTo>
                  <a:lnTo>
                    <a:pt x="725" y="354"/>
                  </a:lnTo>
                  <a:lnTo>
                    <a:pt x="726" y="354"/>
                  </a:lnTo>
                  <a:lnTo>
                    <a:pt x="731" y="359"/>
                  </a:lnTo>
                  <a:lnTo>
                    <a:pt x="735" y="362"/>
                  </a:lnTo>
                  <a:lnTo>
                    <a:pt x="737" y="365"/>
                  </a:lnTo>
                  <a:lnTo>
                    <a:pt x="738" y="367"/>
                  </a:lnTo>
                  <a:lnTo>
                    <a:pt x="738" y="370"/>
                  </a:lnTo>
                  <a:lnTo>
                    <a:pt x="737" y="373"/>
                  </a:lnTo>
                  <a:lnTo>
                    <a:pt x="737" y="375"/>
                  </a:lnTo>
                  <a:lnTo>
                    <a:pt x="737" y="376"/>
                  </a:lnTo>
                  <a:lnTo>
                    <a:pt x="741" y="381"/>
                  </a:lnTo>
                  <a:lnTo>
                    <a:pt x="744" y="384"/>
                  </a:lnTo>
                  <a:lnTo>
                    <a:pt x="746" y="386"/>
                  </a:lnTo>
                  <a:lnTo>
                    <a:pt x="746" y="389"/>
                  </a:lnTo>
                  <a:lnTo>
                    <a:pt x="746" y="390"/>
                  </a:lnTo>
                  <a:lnTo>
                    <a:pt x="746" y="390"/>
                  </a:lnTo>
                  <a:lnTo>
                    <a:pt x="746" y="392"/>
                  </a:lnTo>
                  <a:lnTo>
                    <a:pt x="744" y="392"/>
                  </a:lnTo>
                  <a:lnTo>
                    <a:pt x="753" y="400"/>
                  </a:lnTo>
                  <a:lnTo>
                    <a:pt x="753" y="402"/>
                  </a:lnTo>
                  <a:lnTo>
                    <a:pt x="753" y="405"/>
                  </a:lnTo>
                  <a:lnTo>
                    <a:pt x="755" y="409"/>
                  </a:lnTo>
                  <a:lnTo>
                    <a:pt x="755" y="415"/>
                  </a:lnTo>
                  <a:lnTo>
                    <a:pt x="755" y="420"/>
                  </a:lnTo>
                  <a:lnTo>
                    <a:pt x="755" y="429"/>
                  </a:lnTo>
                  <a:lnTo>
                    <a:pt x="755" y="438"/>
                  </a:lnTo>
                  <a:lnTo>
                    <a:pt x="755" y="445"/>
                  </a:lnTo>
                  <a:lnTo>
                    <a:pt x="755" y="453"/>
                  </a:lnTo>
                  <a:lnTo>
                    <a:pt x="755" y="462"/>
                  </a:lnTo>
                  <a:lnTo>
                    <a:pt x="755" y="469"/>
                  </a:lnTo>
                  <a:lnTo>
                    <a:pt x="755" y="477"/>
                  </a:lnTo>
                  <a:lnTo>
                    <a:pt x="755" y="482"/>
                  </a:lnTo>
                  <a:lnTo>
                    <a:pt x="755" y="486"/>
                  </a:lnTo>
                  <a:lnTo>
                    <a:pt x="755" y="491"/>
                  </a:lnTo>
                  <a:lnTo>
                    <a:pt x="755" y="491"/>
                  </a:lnTo>
                  <a:lnTo>
                    <a:pt x="752" y="495"/>
                  </a:lnTo>
                  <a:lnTo>
                    <a:pt x="749" y="498"/>
                  </a:lnTo>
                  <a:lnTo>
                    <a:pt x="747" y="502"/>
                  </a:lnTo>
                  <a:lnTo>
                    <a:pt x="746" y="507"/>
                  </a:lnTo>
                  <a:lnTo>
                    <a:pt x="744" y="511"/>
                  </a:lnTo>
                  <a:lnTo>
                    <a:pt x="743" y="515"/>
                  </a:lnTo>
                  <a:lnTo>
                    <a:pt x="743" y="519"/>
                  </a:lnTo>
                  <a:lnTo>
                    <a:pt x="743" y="523"/>
                  </a:lnTo>
                  <a:lnTo>
                    <a:pt x="743" y="526"/>
                  </a:lnTo>
                  <a:lnTo>
                    <a:pt x="743" y="531"/>
                  </a:lnTo>
                  <a:lnTo>
                    <a:pt x="743" y="534"/>
                  </a:lnTo>
                  <a:lnTo>
                    <a:pt x="743" y="537"/>
                  </a:lnTo>
                  <a:lnTo>
                    <a:pt x="743" y="540"/>
                  </a:lnTo>
                  <a:lnTo>
                    <a:pt x="743" y="541"/>
                  </a:lnTo>
                  <a:lnTo>
                    <a:pt x="744" y="543"/>
                  </a:lnTo>
                  <a:lnTo>
                    <a:pt x="744" y="543"/>
                  </a:lnTo>
                  <a:lnTo>
                    <a:pt x="743" y="549"/>
                  </a:lnTo>
                  <a:lnTo>
                    <a:pt x="741" y="555"/>
                  </a:lnTo>
                  <a:lnTo>
                    <a:pt x="738" y="558"/>
                  </a:lnTo>
                  <a:lnTo>
                    <a:pt x="735" y="559"/>
                  </a:lnTo>
                  <a:lnTo>
                    <a:pt x="732" y="561"/>
                  </a:lnTo>
                  <a:lnTo>
                    <a:pt x="729" y="561"/>
                  </a:lnTo>
                  <a:lnTo>
                    <a:pt x="726" y="561"/>
                  </a:lnTo>
                  <a:lnTo>
                    <a:pt x="725" y="561"/>
                  </a:lnTo>
                  <a:lnTo>
                    <a:pt x="720" y="565"/>
                  </a:lnTo>
                  <a:lnTo>
                    <a:pt x="714" y="570"/>
                  </a:lnTo>
                  <a:lnTo>
                    <a:pt x="710" y="571"/>
                  </a:lnTo>
                  <a:lnTo>
                    <a:pt x="707" y="571"/>
                  </a:lnTo>
                  <a:lnTo>
                    <a:pt x="704" y="571"/>
                  </a:lnTo>
                  <a:lnTo>
                    <a:pt x="701" y="570"/>
                  </a:lnTo>
                  <a:lnTo>
                    <a:pt x="699" y="570"/>
                  </a:lnTo>
                  <a:lnTo>
                    <a:pt x="699" y="570"/>
                  </a:lnTo>
                  <a:lnTo>
                    <a:pt x="692" y="576"/>
                  </a:lnTo>
                  <a:lnTo>
                    <a:pt x="687" y="579"/>
                  </a:lnTo>
                  <a:lnTo>
                    <a:pt x="683" y="579"/>
                  </a:lnTo>
                  <a:lnTo>
                    <a:pt x="678" y="579"/>
                  </a:lnTo>
                  <a:lnTo>
                    <a:pt x="675" y="579"/>
                  </a:lnTo>
                  <a:lnTo>
                    <a:pt x="672" y="576"/>
                  </a:lnTo>
                  <a:lnTo>
                    <a:pt x="671" y="576"/>
                  </a:lnTo>
                  <a:lnTo>
                    <a:pt x="671" y="574"/>
                  </a:lnTo>
                  <a:lnTo>
                    <a:pt x="666" y="567"/>
                  </a:lnTo>
                  <a:lnTo>
                    <a:pt x="666" y="564"/>
                  </a:lnTo>
                  <a:lnTo>
                    <a:pt x="668" y="561"/>
                  </a:lnTo>
                  <a:lnTo>
                    <a:pt x="669" y="562"/>
                  </a:lnTo>
                  <a:lnTo>
                    <a:pt x="674" y="564"/>
                  </a:lnTo>
                  <a:lnTo>
                    <a:pt x="677" y="565"/>
                  </a:lnTo>
                  <a:lnTo>
                    <a:pt x="680" y="567"/>
                  </a:lnTo>
                  <a:lnTo>
                    <a:pt x="680" y="568"/>
                  </a:lnTo>
                  <a:lnTo>
                    <a:pt x="695" y="562"/>
                  </a:lnTo>
                  <a:lnTo>
                    <a:pt x="687" y="552"/>
                  </a:lnTo>
                  <a:lnTo>
                    <a:pt x="687" y="552"/>
                  </a:lnTo>
                  <a:lnTo>
                    <a:pt x="689" y="551"/>
                  </a:lnTo>
                  <a:lnTo>
                    <a:pt x="689" y="549"/>
                  </a:lnTo>
                  <a:lnTo>
                    <a:pt x="691" y="548"/>
                  </a:lnTo>
                  <a:lnTo>
                    <a:pt x="687" y="541"/>
                  </a:lnTo>
                  <a:lnTo>
                    <a:pt x="684" y="537"/>
                  </a:lnTo>
                  <a:lnTo>
                    <a:pt x="681" y="535"/>
                  </a:lnTo>
                  <a:lnTo>
                    <a:pt x="680" y="534"/>
                  </a:lnTo>
                  <a:lnTo>
                    <a:pt x="678" y="535"/>
                  </a:lnTo>
                  <a:lnTo>
                    <a:pt x="677" y="537"/>
                  </a:lnTo>
                  <a:lnTo>
                    <a:pt x="677" y="538"/>
                  </a:lnTo>
                  <a:lnTo>
                    <a:pt x="677" y="540"/>
                  </a:lnTo>
                  <a:lnTo>
                    <a:pt x="680" y="546"/>
                  </a:lnTo>
                  <a:lnTo>
                    <a:pt x="680" y="549"/>
                  </a:lnTo>
                  <a:lnTo>
                    <a:pt x="678" y="551"/>
                  </a:lnTo>
                  <a:lnTo>
                    <a:pt x="675" y="552"/>
                  </a:lnTo>
                  <a:lnTo>
                    <a:pt x="672" y="552"/>
                  </a:lnTo>
                  <a:lnTo>
                    <a:pt x="669" y="552"/>
                  </a:lnTo>
                  <a:lnTo>
                    <a:pt x="668" y="551"/>
                  </a:lnTo>
                  <a:lnTo>
                    <a:pt x="666" y="551"/>
                  </a:lnTo>
                  <a:lnTo>
                    <a:pt x="660" y="541"/>
                  </a:lnTo>
                  <a:lnTo>
                    <a:pt x="656" y="532"/>
                  </a:lnTo>
                  <a:lnTo>
                    <a:pt x="651" y="525"/>
                  </a:lnTo>
                  <a:lnTo>
                    <a:pt x="647" y="519"/>
                  </a:lnTo>
                  <a:lnTo>
                    <a:pt x="641" y="515"/>
                  </a:lnTo>
                  <a:lnTo>
                    <a:pt x="635" y="513"/>
                  </a:lnTo>
                  <a:lnTo>
                    <a:pt x="630" y="510"/>
                  </a:lnTo>
                  <a:lnTo>
                    <a:pt x="626" y="507"/>
                  </a:lnTo>
                  <a:lnTo>
                    <a:pt x="623" y="505"/>
                  </a:lnTo>
                  <a:lnTo>
                    <a:pt x="618" y="505"/>
                  </a:lnTo>
                  <a:lnTo>
                    <a:pt x="614" y="505"/>
                  </a:lnTo>
                  <a:lnTo>
                    <a:pt x="611" y="505"/>
                  </a:lnTo>
                  <a:lnTo>
                    <a:pt x="609" y="505"/>
                  </a:lnTo>
                  <a:lnTo>
                    <a:pt x="606" y="505"/>
                  </a:lnTo>
                  <a:lnTo>
                    <a:pt x="605" y="505"/>
                  </a:lnTo>
                  <a:lnTo>
                    <a:pt x="605" y="505"/>
                  </a:lnTo>
                  <a:lnTo>
                    <a:pt x="605" y="507"/>
                  </a:lnTo>
                  <a:lnTo>
                    <a:pt x="605" y="507"/>
                  </a:lnTo>
                  <a:lnTo>
                    <a:pt x="603" y="505"/>
                  </a:lnTo>
                  <a:lnTo>
                    <a:pt x="602" y="502"/>
                  </a:lnTo>
                  <a:lnTo>
                    <a:pt x="599" y="501"/>
                  </a:lnTo>
                  <a:lnTo>
                    <a:pt x="597" y="498"/>
                  </a:lnTo>
                  <a:lnTo>
                    <a:pt x="596" y="495"/>
                  </a:lnTo>
                  <a:lnTo>
                    <a:pt x="594" y="493"/>
                  </a:lnTo>
                  <a:lnTo>
                    <a:pt x="593" y="491"/>
                  </a:lnTo>
                  <a:lnTo>
                    <a:pt x="590" y="477"/>
                  </a:lnTo>
                  <a:lnTo>
                    <a:pt x="587" y="465"/>
                  </a:lnTo>
                  <a:lnTo>
                    <a:pt x="582" y="458"/>
                  </a:lnTo>
                  <a:lnTo>
                    <a:pt x="579" y="453"/>
                  </a:lnTo>
                  <a:lnTo>
                    <a:pt x="576" y="452"/>
                  </a:lnTo>
                  <a:lnTo>
                    <a:pt x="573" y="452"/>
                  </a:lnTo>
                  <a:lnTo>
                    <a:pt x="572" y="452"/>
                  </a:lnTo>
                  <a:lnTo>
                    <a:pt x="572" y="452"/>
                  </a:lnTo>
                  <a:lnTo>
                    <a:pt x="564" y="445"/>
                  </a:lnTo>
                  <a:lnTo>
                    <a:pt x="560" y="435"/>
                  </a:lnTo>
                  <a:lnTo>
                    <a:pt x="560" y="420"/>
                  </a:lnTo>
                  <a:lnTo>
                    <a:pt x="554" y="411"/>
                  </a:lnTo>
                  <a:lnTo>
                    <a:pt x="560" y="399"/>
                  </a:lnTo>
                  <a:lnTo>
                    <a:pt x="548" y="406"/>
                  </a:lnTo>
                  <a:lnTo>
                    <a:pt x="548" y="405"/>
                  </a:lnTo>
                  <a:lnTo>
                    <a:pt x="546" y="405"/>
                  </a:lnTo>
                  <a:lnTo>
                    <a:pt x="543" y="403"/>
                  </a:lnTo>
                  <a:lnTo>
                    <a:pt x="542" y="402"/>
                  </a:lnTo>
                  <a:lnTo>
                    <a:pt x="539" y="400"/>
                  </a:lnTo>
                  <a:lnTo>
                    <a:pt x="537" y="400"/>
                  </a:lnTo>
                  <a:lnTo>
                    <a:pt x="536" y="399"/>
                  </a:lnTo>
                  <a:lnTo>
                    <a:pt x="536" y="400"/>
                  </a:lnTo>
                  <a:lnTo>
                    <a:pt x="540" y="408"/>
                  </a:lnTo>
                  <a:lnTo>
                    <a:pt x="545" y="414"/>
                  </a:lnTo>
                  <a:lnTo>
                    <a:pt x="546" y="418"/>
                  </a:lnTo>
                  <a:lnTo>
                    <a:pt x="546" y="420"/>
                  </a:lnTo>
                  <a:lnTo>
                    <a:pt x="545" y="420"/>
                  </a:lnTo>
                  <a:lnTo>
                    <a:pt x="543" y="420"/>
                  </a:lnTo>
                  <a:lnTo>
                    <a:pt x="540" y="419"/>
                  </a:lnTo>
                  <a:lnTo>
                    <a:pt x="539" y="418"/>
                  </a:lnTo>
                  <a:lnTo>
                    <a:pt x="534" y="415"/>
                  </a:lnTo>
                  <a:lnTo>
                    <a:pt x="531" y="412"/>
                  </a:lnTo>
                  <a:lnTo>
                    <a:pt x="527" y="409"/>
                  </a:lnTo>
                  <a:lnTo>
                    <a:pt x="525" y="406"/>
                  </a:lnTo>
                  <a:lnTo>
                    <a:pt x="522" y="403"/>
                  </a:lnTo>
                  <a:lnTo>
                    <a:pt x="519" y="400"/>
                  </a:lnTo>
                  <a:lnTo>
                    <a:pt x="518" y="399"/>
                  </a:lnTo>
                  <a:lnTo>
                    <a:pt x="518" y="399"/>
                  </a:lnTo>
                  <a:lnTo>
                    <a:pt x="515" y="386"/>
                  </a:lnTo>
                  <a:lnTo>
                    <a:pt x="492" y="359"/>
                  </a:lnTo>
                  <a:lnTo>
                    <a:pt x="494" y="359"/>
                  </a:lnTo>
                  <a:lnTo>
                    <a:pt x="495" y="357"/>
                  </a:lnTo>
                  <a:lnTo>
                    <a:pt x="497" y="357"/>
                  </a:lnTo>
                  <a:lnTo>
                    <a:pt x="498" y="356"/>
                  </a:lnTo>
                  <a:lnTo>
                    <a:pt x="500" y="356"/>
                  </a:lnTo>
                  <a:lnTo>
                    <a:pt x="501" y="354"/>
                  </a:lnTo>
                  <a:lnTo>
                    <a:pt x="503" y="354"/>
                  </a:lnTo>
                  <a:lnTo>
                    <a:pt x="503" y="354"/>
                  </a:lnTo>
                  <a:lnTo>
                    <a:pt x="498" y="353"/>
                  </a:lnTo>
                  <a:lnTo>
                    <a:pt x="497" y="349"/>
                  </a:lnTo>
                  <a:lnTo>
                    <a:pt x="497" y="345"/>
                  </a:lnTo>
                  <a:lnTo>
                    <a:pt x="497" y="339"/>
                  </a:lnTo>
                  <a:lnTo>
                    <a:pt x="498" y="333"/>
                  </a:lnTo>
                  <a:lnTo>
                    <a:pt x="500" y="327"/>
                  </a:lnTo>
                  <a:lnTo>
                    <a:pt x="500" y="323"/>
                  </a:lnTo>
                  <a:lnTo>
                    <a:pt x="500" y="321"/>
                  </a:lnTo>
                  <a:lnTo>
                    <a:pt x="497" y="313"/>
                  </a:lnTo>
                  <a:lnTo>
                    <a:pt x="495" y="307"/>
                  </a:lnTo>
                  <a:lnTo>
                    <a:pt x="492" y="304"/>
                  </a:lnTo>
                  <a:lnTo>
                    <a:pt x="492" y="303"/>
                  </a:lnTo>
                  <a:lnTo>
                    <a:pt x="490" y="303"/>
                  </a:lnTo>
                  <a:lnTo>
                    <a:pt x="489" y="304"/>
                  </a:lnTo>
                  <a:lnTo>
                    <a:pt x="489" y="307"/>
                  </a:lnTo>
                  <a:lnTo>
                    <a:pt x="487" y="310"/>
                  </a:lnTo>
                  <a:lnTo>
                    <a:pt x="487" y="315"/>
                  </a:lnTo>
                  <a:lnTo>
                    <a:pt x="487" y="319"/>
                  </a:lnTo>
                  <a:lnTo>
                    <a:pt x="487" y="323"/>
                  </a:lnTo>
                  <a:lnTo>
                    <a:pt x="487" y="327"/>
                  </a:lnTo>
                  <a:lnTo>
                    <a:pt x="487" y="332"/>
                  </a:lnTo>
                  <a:lnTo>
                    <a:pt x="487" y="334"/>
                  </a:lnTo>
                  <a:lnTo>
                    <a:pt x="487" y="337"/>
                  </a:lnTo>
                  <a:lnTo>
                    <a:pt x="487" y="337"/>
                  </a:lnTo>
                  <a:lnTo>
                    <a:pt x="487" y="337"/>
                  </a:lnTo>
                  <a:lnTo>
                    <a:pt x="485" y="336"/>
                  </a:lnTo>
                  <a:lnTo>
                    <a:pt x="482" y="333"/>
                  </a:lnTo>
                  <a:lnTo>
                    <a:pt x="479" y="330"/>
                  </a:lnTo>
                  <a:lnTo>
                    <a:pt x="474" y="327"/>
                  </a:lnTo>
                  <a:lnTo>
                    <a:pt x="473" y="324"/>
                  </a:lnTo>
                  <a:lnTo>
                    <a:pt x="470" y="323"/>
                  </a:lnTo>
                  <a:lnTo>
                    <a:pt x="470" y="321"/>
                  </a:lnTo>
                  <a:lnTo>
                    <a:pt x="471" y="316"/>
                  </a:lnTo>
                  <a:lnTo>
                    <a:pt x="473" y="309"/>
                  </a:lnTo>
                  <a:lnTo>
                    <a:pt x="473" y="303"/>
                  </a:lnTo>
                  <a:lnTo>
                    <a:pt x="473" y="297"/>
                  </a:lnTo>
                  <a:lnTo>
                    <a:pt x="471" y="291"/>
                  </a:lnTo>
                  <a:lnTo>
                    <a:pt x="471" y="288"/>
                  </a:lnTo>
                  <a:lnTo>
                    <a:pt x="470" y="285"/>
                  </a:lnTo>
                  <a:lnTo>
                    <a:pt x="470" y="283"/>
                  </a:lnTo>
                  <a:lnTo>
                    <a:pt x="473" y="277"/>
                  </a:lnTo>
                  <a:lnTo>
                    <a:pt x="474" y="273"/>
                  </a:lnTo>
                  <a:lnTo>
                    <a:pt x="476" y="267"/>
                  </a:lnTo>
                  <a:lnTo>
                    <a:pt x="476" y="263"/>
                  </a:lnTo>
                  <a:lnTo>
                    <a:pt x="477" y="257"/>
                  </a:lnTo>
                  <a:lnTo>
                    <a:pt x="477" y="253"/>
                  </a:lnTo>
                  <a:lnTo>
                    <a:pt x="477" y="247"/>
                  </a:lnTo>
                  <a:lnTo>
                    <a:pt x="477" y="243"/>
                  </a:lnTo>
                  <a:lnTo>
                    <a:pt x="476" y="239"/>
                  </a:lnTo>
                  <a:lnTo>
                    <a:pt x="476" y="234"/>
                  </a:lnTo>
                  <a:lnTo>
                    <a:pt x="474" y="231"/>
                  </a:lnTo>
                  <a:lnTo>
                    <a:pt x="474" y="227"/>
                  </a:lnTo>
                  <a:lnTo>
                    <a:pt x="474" y="225"/>
                  </a:lnTo>
                  <a:lnTo>
                    <a:pt x="473" y="223"/>
                  </a:lnTo>
                  <a:lnTo>
                    <a:pt x="473" y="222"/>
                  </a:lnTo>
                  <a:lnTo>
                    <a:pt x="473" y="222"/>
                  </a:lnTo>
                  <a:lnTo>
                    <a:pt x="473" y="222"/>
                  </a:lnTo>
                  <a:lnTo>
                    <a:pt x="473" y="220"/>
                  </a:lnTo>
                  <a:lnTo>
                    <a:pt x="473" y="217"/>
                  </a:lnTo>
                  <a:lnTo>
                    <a:pt x="473" y="216"/>
                  </a:lnTo>
                  <a:lnTo>
                    <a:pt x="471" y="213"/>
                  </a:lnTo>
                  <a:lnTo>
                    <a:pt x="471" y="210"/>
                  </a:lnTo>
                  <a:lnTo>
                    <a:pt x="470" y="209"/>
                  </a:lnTo>
                  <a:lnTo>
                    <a:pt x="470" y="209"/>
                  </a:lnTo>
                  <a:lnTo>
                    <a:pt x="467" y="207"/>
                  </a:lnTo>
                  <a:lnTo>
                    <a:pt x="464" y="204"/>
                  </a:lnTo>
                  <a:lnTo>
                    <a:pt x="461" y="201"/>
                  </a:lnTo>
                  <a:lnTo>
                    <a:pt x="459" y="195"/>
                  </a:lnTo>
                  <a:lnTo>
                    <a:pt x="456" y="192"/>
                  </a:lnTo>
                  <a:lnTo>
                    <a:pt x="453" y="189"/>
                  </a:lnTo>
                  <a:lnTo>
                    <a:pt x="452" y="186"/>
                  </a:lnTo>
                  <a:lnTo>
                    <a:pt x="452" y="184"/>
                  </a:lnTo>
                  <a:lnTo>
                    <a:pt x="441" y="187"/>
                  </a:lnTo>
                  <a:lnTo>
                    <a:pt x="435" y="187"/>
                  </a:lnTo>
                  <a:lnTo>
                    <a:pt x="431" y="187"/>
                  </a:lnTo>
                  <a:lnTo>
                    <a:pt x="429" y="186"/>
                  </a:lnTo>
                  <a:lnTo>
                    <a:pt x="428" y="183"/>
                  </a:lnTo>
                  <a:lnTo>
                    <a:pt x="428" y="181"/>
                  </a:lnTo>
                  <a:lnTo>
                    <a:pt x="429" y="181"/>
                  </a:lnTo>
                  <a:lnTo>
                    <a:pt x="429" y="180"/>
                  </a:lnTo>
                  <a:lnTo>
                    <a:pt x="421" y="174"/>
                  </a:lnTo>
                  <a:lnTo>
                    <a:pt x="410" y="161"/>
                  </a:lnTo>
                  <a:lnTo>
                    <a:pt x="395" y="151"/>
                  </a:lnTo>
                  <a:lnTo>
                    <a:pt x="393" y="151"/>
                  </a:lnTo>
                  <a:lnTo>
                    <a:pt x="393" y="148"/>
                  </a:lnTo>
                  <a:lnTo>
                    <a:pt x="388" y="146"/>
                  </a:lnTo>
                  <a:lnTo>
                    <a:pt x="385" y="141"/>
                  </a:lnTo>
                  <a:lnTo>
                    <a:pt x="381" y="137"/>
                  </a:lnTo>
                  <a:lnTo>
                    <a:pt x="378" y="132"/>
                  </a:lnTo>
                  <a:lnTo>
                    <a:pt x="377" y="129"/>
                  </a:lnTo>
                  <a:lnTo>
                    <a:pt x="375" y="128"/>
                  </a:lnTo>
                  <a:lnTo>
                    <a:pt x="366" y="121"/>
                  </a:lnTo>
                  <a:lnTo>
                    <a:pt x="360" y="117"/>
                  </a:lnTo>
                  <a:lnTo>
                    <a:pt x="354" y="111"/>
                  </a:lnTo>
                  <a:lnTo>
                    <a:pt x="348" y="108"/>
                  </a:lnTo>
                  <a:lnTo>
                    <a:pt x="342" y="105"/>
                  </a:lnTo>
                  <a:lnTo>
                    <a:pt x="338" y="104"/>
                  </a:lnTo>
                  <a:lnTo>
                    <a:pt x="335" y="104"/>
                  </a:lnTo>
                  <a:lnTo>
                    <a:pt x="333" y="102"/>
                  </a:lnTo>
                  <a:lnTo>
                    <a:pt x="319" y="102"/>
                  </a:lnTo>
                  <a:lnTo>
                    <a:pt x="311" y="102"/>
                  </a:lnTo>
                  <a:lnTo>
                    <a:pt x="305" y="107"/>
                  </a:lnTo>
                  <a:lnTo>
                    <a:pt x="300" y="111"/>
                  </a:lnTo>
                  <a:lnTo>
                    <a:pt x="300" y="117"/>
                  </a:lnTo>
                  <a:lnTo>
                    <a:pt x="300" y="121"/>
                  </a:lnTo>
                  <a:lnTo>
                    <a:pt x="302" y="124"/>
                  </a:lnTo>
                  <a:lnTo>
                    <a:pt x="302" y="126"/>
                  </a:lnTo>
                  <a:lnTo>
                    <a:pt x="296" y="124"/>
                  </a:lnTo>
                  <a:lnTo>
                    <a:pt x="289" y="126"/>
                  </a:lnTo>
                  <a:lnTo>
                    <a:pt x="283" y="128"/>
                  </a:lnTo>
                  <a:lnTo>
                    <a:pt x="279" y="131"/>
                  </a:lnTo>
                  <a:lnTo>
                    <a:pt x="275" y="135"/>
                  </a:lnTo>
                  <a:lnTo>
                    <a:pt x="270" y="138"/>
                  </a:lnTo>
                  <a:lnTo>
                    <a:pt x="267" y="141"/>
                  </a:lnTo>
                  <a:lnTo>
                    <a:pt x="267" y="143"/>
                  </a:lnTo>
                  <a:lnTo>
                    <a:pt x="262" y="148"/>
                  </a:lnTo>
                  <a:lnTo>
                    <a:pt x="259" y="150"/>
                  </a:lnTo>
                  <a:lnTo>
                    <a:pt x="258" y="150"/>
                  </a:lnTo>
                  <a:lnTo>
                    <a:pt x="258" y="148"/>
                  </a:lnTo>
                  <a:lnTo>
                    <a:pt x="258" y="147"/>
                  </a:lnTo>
                  <a:lnTo>
                    <a:pt x="259" y="144"/>
                  </a:lnTo>
                  <a:lnTo>
                    <a:pt x="261" y="143"/>
                  </a:lnTo>
                  <a:lnTo>
                    <a:pt x="261" y="141"/>
                  </a:lnTo>
                  <a:lnTo>
                    <a:pt x="259" y="141"/>
                  </a:lnTo>
                  <a:lnTo>
                    <a:pt x="259" y="143"/>
                  </a:lnTo>
                  <a:lnTo>
                    <a:pt x="256" y="146"/>
                  </a:lnTo>
                  <a:lnTo>
                    <a:pt x="253" y="147"/>
                  </a:lnTo>
                  <a:lnTo>
                    <a:pt x="252" y="150"/>
                  </a:lnTo>
                  <a:lnTo>
                    <a:pt x="249" y="151"/>
                  </a:lnTo>
                  <a:lnTo>
                    <a:pt x="247" y="153"/>
                  </a:lnTo>
                  <a:lnTo>
                    <a:pt x="246" y="154"/>
                  </a:lnTo>
                  <a:lnTo>
                    <a:pt x="240" y="153"/>
                  </a:lnTo>
                  <a:lnTo>
                    <a:pt x="234" y="153"/>
                  </a:lnTo>
                  <a:lnTo>
                    <a:pt x="229" y="154"/>
                  </a:lnTo>
                  <a:lnTo>
                    <a:pt x="225" y="157"/>
                  </a:lnTo>
                  <a:lnTo>
                    <a:pt x="220" y="159"/>
                  </a:lnTo>
                  <a:lnTo>
                    <a:pt x="217" y="160"/>
                  </a:lnTo>
                  <a:lnTo>
                    <a:pt x="214" y="161"/>
                  </a:lnTo>
                  <a:lnTo>
                    <a:pt x="214" y="161"/>
                  </a:lnTo>
                  <a:lnTo>
                    <a:pt x="209" y="156"/>
                  </a:lnTo>
                  <a:lnTo>
                    <a:pt x="206" y="151"/>
                  </a:lnTo>
                  <a:lnTo>
                    <a:pt x="206" y="151"/>
                  </a:lnTo>
                  <a:lnTo>
                    <a:pt x="207" y="151"/>
                  </a:lnTo>
                  <a:lnTo>
                    <a:pt x="210" y="153"/>
                  </a:lnTo>
                  <a:lnTo>
                    <a:pt x="213" y="156"/>
                  </a:lnTo>
                  <a:lnTo>
                    <a:pt x="216" y="157"/>
                  </a:lnTo>
                  <a:lnTo>
                    <a:pt x="217" y="157"/>
                  </a:lnTo>
                  <a:lnTo>
                    <a:pt x="217" y="148"/>
                  </a:lnTo>
                  <a:lnTo>
                    <a:pt x="209" y="137"/>
                  </a:lnTo>
                  <a:lnTo>
                    <a:pt x="184" y="118"/>
                  </a:lnTo>
                  <a:lnTo>
                    <a:pt x="196" y="120"/>
                  </a:lnTo>
                  <a:lnTo>
                    <a:pt x="201" y="121"/>
                  </a:lnTo>
                  <a:lnTo>
                    <a:pt x="201" y="120"/>
                  </a:lnTo>
                  <a:lnTo>
                    <a:pt x="198" y="118"/>
                  </a:lnTo>
                  <a:lnTo>
                    <a:pt x="195" y="115"/>
                  </a:lnTo>
                  <a:lnTo>
                    <a:pt x="189" y="114"/>
                  </a:lnTo>
                  <a:lnTo>
                    <a:pt x="184" y="111"/>
                  </a:lnTo>
                  <a:lnTo>
                    <a:pt x="183" y="111"/>
                  </a:lnTo>
                  <a:lnTo>
                    <a:pt x="189" y="98"/>
                  </a:lnTo>
                  <a:lnTo>
                    <a:pt x="173" y="101"/>
                  </a:lnTo>
                  <a:lnTo>
                    <a:pt x="173" y="101"/>
                  </a:lnTo>
                  <a:lnTo>
                    <a:pt x="173" y="102"/>
                  </a:lnTo>
                  <a:lnTo>
                    <a:pt x="174" y="105"/>
                  </a:lnTo>
                  <a:lnTo>
                    <a:pt x="174" y="107"/>
                  </a:lnTo>
                  <a:lnTo>
                    <a:pt x="174" y="110"/>
                  </a:lnTo>
                  <a:lnTo>
                    <a:pt x="176" y="113"/>
                  </a:lnTo>
                  <a:lnTo>
                    <a:pt x="176" y="114"/>
                  </a:lnTo>
                  <a:lnTo>
                    <a:pt x="176" y="114"/>
                  </a:lnTo>
                  <a:lnTo>
                    <a:pt x="170" y="110"/>
                  </a:lnTo>
                  <a:lnTo>
                    <a:pt x="163" y="107"/>
                  </a:lnTo>
                  <a:lnTo>
                    <a:pt x="157" y="104"/>
                  </a:lnTo>
                  <a:lnTo>
                    <a:pt x="151" y="102"/>
                  </a:lnTo>
                  <a:lnTo>
                    <a:pt x="145" y="99"/>
                  </a:lnTo>
                  <a:lnTo>
                    <a:pt x="138" y="98"/>
                  </a:lnTo>
                  <a:lnTo>
                    <a:pt x="134" y="96"/>
                  </a:lnTo>
                  <a:lnTo>
                    <a:pt x="129" y="96"/>
                  </a:lnTo>
                  <a:lnTo>
                    <a:pt x="124" y="96"/>
                  </a:lnTo>
                  <a:lnTo>
                    <a:pt x="120" y="96"/>
                  </a:lnTo>
                  <a:lnTo>
                    <a:pt x="115" y="96"/>
                  </a:lnTo>
                  <a:lnTo>
                    <a:pt x="112" y="96"/>
                  </a:lnTo>
                  <a:lnTo>
                    <a:pt x="109" y="96"/>
                  </a:lnTo>
                  <a:lnTo>
                    <a:pt x="108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8" y="96"/>
                  </a:lnTo>
                  <a:lnTo>
                    <a:pt x="109" y="94"/>
                  </a:lnTo>
                  <a:lnTo>
                    <a:pt x="112" y="94"/>
                  </a:lnTo>
                  <a:lnTo>
                    <a:pt x="115" y="94"/>
                  </a:lnTo>
                  <a:lnTo>
                    <a:pt x="118" y="93"/>
                  </a:lnTo>
                  <a:lnTo>
                    <a:pt x="120" y="93"/>
                  </a:lnTo>
                  <a:lnTo>
                    <a:pt x="121" y="93"/>
                  </a:lnTo>
                  <a:lnTo>
                    <a:pt x="132" y="93"/>
                  </a:lnTo>
                  <a:lnTo>
                    <a:pt x="138" y="91"/>
                  </a:lnTo>
                  <a:lnTo>
                    <a:pt x="138" y="91"/>
                  </a:lnTo>
                  <a:lnTo>
                    <a:pt x="137" y="88"/>
                  </a:lnTo>
                  <a:lnTo>
                    <a:pt x="131" y="88"/>
                  </a:lnTo>
                  <a:lnTo>
                    <a:pt x="126" y="87"/>
                  </a:lnTo>
                  <a:lnTo>
                    <a:pt x="123" y="85"/>
                  </a:lnTo>
                  <a:lnTo>
                    <a:pt x="120" y="85"/>
                  </a:lnTo>
                  <a:lnTo>
                    <a:pt x="94" y="91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2" y="96"/>
                  </a:lnTo>
                  <a:lnTo>
                    <a:pt x="79" y="96"/>
                  </a:lnTo>
                  <a:lnTo>
                    <a:pt x="75" y="96"/>
                  </a:lnTo>
                  <a:lnTo>
                    <a:pt x="72" y="96"/>
                  </a:lnTo>
                  <a:lnTo>
                    <a:pt x="68" y="96"/>
                  </a:lnTo>
                  <a:lnTo>
                    <a:pt x="66" y="98"/>
                  </a:lnTo>
                  <a:lnTo>
                    <a:pt x="65" y="98"/>
                  </a:lnTo>
                  <a:lnTo>
                    <a:pt x="54" y="102"/>
                  </a:lnTo>
                  <a:lnTo>
                    <a:pt x="46" y="105"/>
                  </a:lnTo>
                  <a:lnTo>
                    <a:pt x="43" y="105"/>
                  </a:lnTo>
                  <a:lnTo>
                    <a:pt x="45" y="104"/>
                  </a:lnTo>
                  <a:lnTo>
                    <a:pt x="48" y="102"/>
                  </a:lnTo>
                  <a:lnTo>
                    <a:pt x="52" y="99"/>
                  </a:lnTo>
                  <a:lnTo>
                    <a:pt x="55" y="98"/>
                  </a:lnTo>
                  <a:lnTo>
                    <a:pt x="57" y="96"/>
                  </a:lnTo>
                  <a:lnTo>
                    <a:pt x="61" y="93"/>
                  </a:lnTo>
                  <a:lnTo>
                    <a:pt x="63" y="90"/>
                  </a:lnTo>
                  <a:lnTo>
                    <a:pt x="63" y="88"/>
                  </a:lnTo>
                  <a:lnTo>
                    <a:pt x="60" y="88"/>
                  </a:lnTo>
                  <a:lnTo>
                    <a:pt x="57" y="88"/>
                  </a:lnTo>
                  <a:lnTo>
                    <a:pt x="54" y="90"/>
                  </a:lnTo>
                  <a:lnTo>
                    <a:pt x="51" y="90"/>
                  </a:lnTo>
                  <a:lnTo>
                    <a:pt x="49" y="90"/>
                  </a:lnTo>
                  <a:lnTo>
                    <a:pt x="42" y="84"/>
                  </a:lnTo>
                  <a:lnTo>
                    <a:pt x="38" y="81"/>
                  </a:lnTo>
                  <a:lnTo>
                    <a:pt x="36" y="83"/>
                  </a:lnTo>
                  <a:lnTo>
                    <a:pt x="36" y="85"/>
                  </a:lnTo>
                  <a:lnTo>
                    <a:pt x="38" y="88"/>
                  </a:lnTo>
                  <a:lnTo>
                    <a:pt x="40" y="93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36" y="102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0" y="111"/>
                  </a:lnTo>
                  <a:lnTo>
                    <a:pt x="27" y="111"/>
                  </a:lnTo>
                  <a:lnTo>
                    <a:pt x="24" y="113"/>
                  </a:lnTo>
                  <a:lnTo>
                    <a:pt x="22" y="114"/>
                  </a:lnTo>
                  <a:lnTo>
                    <a:pt x="19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22" y="110"/>
                  </a:lnTo>
                  <a:lnTo>
                    <a:pt x="24" y="107"/>
                  </a:lnTo>
                  <a:lnTo>
                    <a:pt x="25" y="102"/>
                  </a:lnTo>
                  <a:lnTo>
                    <a:pt x="24" y="101"/>
                  </a:lnTo>
                  <a:lnTo>
                    <a:pt x="22" y="98"/>
                  </a:lnTo>
                  <a:lnTo>
                    <a:pt x="21" y="98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9" y="98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9" y="94"/>
                  </a:lnTo>
                  <a:lnTo>
                    <a:pt x="18" y="91"/>
                  </a:lnTo>
                  <a:lnTo>
                    <a:pt x="18" y="90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21" y="84"/>
                  </a:lnTo>
                  <a:lnTo>
                    <a:pt x="21" y="78"/>
                  </a:lnTo>
                  <a:lnTo>
                    <a:pt x="18" y="74"/>
                  </a:lnTo>
                  <a:lnTo>
                    <a:pt x="13" y="69"/>
                  </a:lnTo>
                  <a:lnTo>
                    <a:pt x="9" y="66"/>
                  </a:lnTo>
                  <a:lnTo>
                    <a:pt x="5" y="63"/>
                  </a:lnTo>
                  <a:lnTo>
                    <a:pt x="2" y="61"/>
                  </a:lnTo>
                  <a:lnTo>
                    <a:pt x="0" y="61"/>
                  </a:lnTo>
                  <a:lnTo>
                    <a:pt x="0" y="42"/>
                  </a:lnTo>
                  <a:lnTo>
                    <a:pt x="233" y="20"/>
                  </a:lnTo>
                  <a:lnTo>
                    <a:pt x="247" y="47"/>
                  </a:lnTo>
                  <a:lnTo>
                    <a:pt x="485" y="31"/>
                  </a:lnTo>
                  <a:lnTo>
                    <a:pt x="492" y="50"/>
                  </a:lnTo>
                  <a:lnTo>
                    <a:pt x="506" y="50"/>
                  </a:lnTo>
                  <a:lnTo>
                    <a:pt x="506" y="48"/>
                  </a:lnTo>
                  <a:lnTo>
                    <a:pt x="504" y="45"/>
                  </a:lnTo>
                  <a:lnTo>
                    <a:pt x="504" y="42"/>
                  </a:lnTo>
                  <a:lnTo>
                    <a:pt x="504" y="38"/>
                  </a:lnTo>
                  <a:lnTo>
                    <a:pt x="503" y="33"/>
                  </a:lnTo>
                  <a:lnTo>
                    <a:pt x="503" y="30"/>
                  </a:lnTo>
                  <a:lnTo>
                    <a:pt x="503" y="27"/>
                  </a:lnTo>
                  <a:lnTo>
                    <a:pt x="503" y="25"/>
                  </a:lnTo>
                  <a:lnTo>
                    <a:pt x="498" y="18"/>
                  </a:lnTo>
                  <a:lnTo>
                    <a:pt x="498" y="11"/>
                  </a:lnTo>
                  <a:lnTo>
                    <a:pt x="498" y="6"/>
                  </a:lnTo>
                  <a:lnTo>
                    <a:pt x="501" y="3"/>
                  </a:lnTo>
                  <a:lnTo>
                    <a:pt x="504" y="0"/>
                  </a:lnTo>
                  <a:lnTo>
                    <a:pt x="506" y="0"/>
                  </a:lnTo>
                  <a:lnTo>
                    <a:pt x="509" y="0"/>
                  </a:lnTo>
                  <a:lnTo>
                    <a:pt x="510" y="0"/>
                  </a:lnTo>
                  <a:lnTo>
                    <a:pt x="515" y="2"/>
                  </a:lnTo>
                  <a:lnTo>
                    <a:pt x="522" y="3"/>
                  </a:lnTo>
                  <a:lnTo>
                    <a:pt x="527" y="5"/>
                  </a:lnTo>
                  <a:lnTo>
                    <a:pt x="533" y="6"/>
                  </a:lnTo>
                  <a:lnTo>
                    <a:pt x="539" y="6"/>
                  </a:lnTo>
                  <a:lnTo>
                    <a:pt x="542" y="6"/>
                  </a:lnTo>
                  <a:lnTo>
                    <a:pt x="545" y="6"/>
                  </a:lnTo>
                  <a:lnTo>
                    <a:pt x="546" y="6"/>
                  </a:lnTo>
                  <a:lnTo>
                    <a:pt x="551" y="11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" name="Freeform 106"/>
            <p:cNvSpPr>
              <a:spLocks/>
            </p:cNvSpPr>
            <p:nvPr/>
          </p:nvSpPr>
          <p:spPr bwMode="auto">
            <a:xfrm>
              <a:off x="2743010" y="5304896"/>
              <a:ext cx="507569" cy="389343"/>
            </a:xfrm>
            <a:custGeom>
              <a:avLst/>
              <a:gdLst>
                <a:gd name="T0" fmla="*/ 549 w 756"/>
                <a:gd name="T1" fmla="*/ 38 h 580"/>
                <a:gd name="T2" fmla="*/ 539 w 756"/>
                <a:gd name="T3" fmla="*/ 60 h 580"/>
                <a:gd name="T4" fmla="*/ 558 w 756"/>
                <a:gd name="T5" fmla="*/ 39 h 580"/>
                <a:gd name="T6" fmla="*/ 596 w 756"/>
                <a:gd name="T7" fmla="*/ 115 h 580"/>
                <a:gd name="T8" fmla="*/ 627 w 756"/>
                <a:gd name="T9" fmla="*/ 165 h 580"/>
                <a:gd name="T10" fmla="*/ 611 w 756"/>
                <a:gd name="T11" fmla="*/ 147 h 580"/>
                <a:gd name="T12" fmla="*/ 621 w 756"/>
                <a:gd name="T13" fmla="*/ 168 h 580"/>
                <a:gd name="T14" fmla="*/ 639 w 756"/>
                <a:gd name="T15" fmla="*/ 198 h 580"/>
                <a:gd name="T16" fmla="*/ 656 w 756"/>
                <a:gd name="T17" fmla="*/ 236 h 580"/>
                <a:gd name="T18" fmla="*/ 705 w 756"/>
                <a:gd name="T19" fmla="*/ 321 h 580"/>
                <a:gd name="T20" fmla="*/ 724 w 756"/>
                <a:gd name="T21" fmla="*/ 353 h 580"/>
                <a:gd name="T22" fmla="*/ 737 w 756"/>
                <a:gd name="T23" fmla="*/ 375 h 580"/>
                <a:gd name="T24" fmla="*/ 744 w 756"/>
                <a:gd name="T25" fmla="*/ 392 h 580"/>
                <a:gd name="T26" fmla="*/ 755 w 756"/>
                <a:gd name="T27" fmla="*/ 445 h 580"/>
                <a:gd name="T28" fmla="*/ 752 w 756"/>
                <a:gd name="T29" fmla="*/ 495 h 580"/>
                <a:gd name="T30" fmla="*/ 743 w 756"/>
                <a:gd name="T31" fmla="*/ 534 h 580"/>
                <a:gd name="T32" fmla="*/ 735 w 756"/>
                <a:gd name="T33" fmla="*/ 559 h 580"/>
                <a:gd name="T34" fmla="*/ 704 w 756"/>
                <a:gd name="T35" fmla="*/ 571 h 580"/>
                <a:gd name="T36" fmla="*/ 672 w 756"/>
                <a:gd name="T37" fmla="*/ 576 h 580"/>
                <a:gd name="T38" fmla="*/ 680 w 756"/>
                <a:gd name="T39" fmla="*/ 567 h 580"/>
                <a:gd name="T40" fmla="*/ 687 w 756"/>
                <a:gd name="T41" fmla="*/ 541 h 580"/>
                <a:gd name="T42" fmla="*/ 680 w 756"/>
                <a:gd name="T43" fmla="*/ 549 h 580"/>
                <a:gd name="T44" fmla="*/ 651 w 756"/>
                <a:gd name="T45" fmla="*/ 525 h 580"/>
                <a:gd name="T46" fmla="*/ 609 w 756"/>
                <a:gd name="T47" fmla="*/ 505 h 580"/>
                <a:gd name="T48" fmla="*/ 597 w 756"/>
                <a:gd name="T49" fmla="*/ 498 h 580"/>
                <a:gd name="T50" fmla="*/ 573 w 756"/>
                <a:gd name="T51" fmla="*/ 452 h 580"/>
                <a:gd name="T52" fmla="*/ 548 w 756"/>
                <a:gd name="T53" fmla="*/ 405 h 580"/>
                <a:gd name="T54" fmla="*/ 545 w 756"/>
                <a:gd name="T55" fmla="*/ 414 h 580"/>
                <a:gd name="T56" fmla="*/ 525 w 756"/>
                <a:gd name="T57" fmla="*/ 406 h 580"/>
                <a:gd name="T58" fmla="*/ 497 w 756"/>
                <a:gd name="T59" fmla="*/ 357 h 580"/>
                <a:gd name="T60" fmla="*/ 497 w 756"/>
                <a:gd name="T61" fmla="*/ 339 h 580"/>
                <a:gd name="T62" fmla="*/ 490 w 756"/>
                <a:gd name="T63" fmla="*/ 303 h 580"/>
                <a:gd name="T64" fmla="*/ 487 w 756"/>
                <a:gd name="T65" fmla="*/ 337 h 580"/>
                <a:gd name="T66" fmla="*/ 470 w 756"/>
                <a:gd name="T67" fmla="*/ 321 h 580"/>
                <a:gd name="T68" fmla="*/ 470 w 756"/>
                <a:gd name="T69" fmla="*/ 283 h 580"/>
                <a:gd name="T70" fmla="*/ 476 w 756"/>
                <a:gd name="T71" fmla="*/ 234 h 580"/>
                <a:gd name="T72" fmla="*/ 473 w 756"/>
                <a:gd name="T73" fmla="*/ 217 h 580"/>
                <a:gd name="T74" fmla="*/ 459 w 756"/>
                <a:gd name="T75" fmla="*/ 195 h 580"/>
                <a:gd name="T76" fmla="*/ 428 w 756"/>
                <a:gd name="T77" fmla="*/ 183 h 580"/>
                <a:gd name="T78" fmla="*/ 388 w 756"/>
                <a:gd name="T79" fmla="*/ 146 h 580"/>
                <a:gd name="T80" fmla="*/ 348 w 756"/>
                <a:gd name="T81" fmla="*/ 108 h 580"/>
                <a:gd name="T82" fmla="*/ 300 w 756"/>
                <a:gd name="T83" fmla="*/ 117 h 580"/>
                <a:gd name="T84" fmla="*/ 270 w 756"/>
                <a:gd name="T85" fmla="*/ 138 h 580"/>
                <a:gd name="T86" fmla="*/ 261 w 756"/>
                <a:gd name="T87" fmla="*/ 143 h 580"/>
                <a:gd name="T88" fmla="*/ 246 w 756"/>
                <a:gd name="T89" fmla="*/ 154 h 580"/>
                <a:gd name="T90" fmla="*/ 214 w 756"/>
                <a:gd name="T91" fmla="*/ 161 h 580"/>
                <a:gd name="T92" fmla="*/ 209 w 756"/>
                <a:gd name="T93" fmla="*/ 137 h 580"/>
                <a:gd name="T94" fmla="*/ 183 w 756"/>
                <a:gd name="T95" fmla="*/ 111 h 580"/>
                <a:gd name="T96" fmla="*/ 176 w 756"/>
                <a:gd name="T97" fmla="*/ 114 h 580"/>
                <a:gd name="T98" fmla="*/ 129 w 756"/>
                <a:gd name="T99" fmla="*/ 96 h 580"/>
                <a:gd name="T100" fmla="*/ 107 w 756"/>
                <a:gd name="T101" fmla="*/ 96 h 580"/>
                <a:gd name="T102" fmla="*/ 138 w 756"/>
                <a:gd name="T103" fmla="*/ 91 h 580"/>
                <a:gd name="T104" fmla="*/ 85 w 756"/>
                <a:gd name="T105" fmla="*/ 96 h 580"/>
                <a:gd name="T106" fmla="*/ 46 w 756"/>
                <a:gd name="T107" fmla="*/ 105 h 580"/>
                <a:gd name="T108" fmla="*/ 63 w 756"/>
                <a:gd name="T109" fmla="*/ 88 h 580"/>
                <a:gd name="T110" fmla="*/ 36 w 756"/>
                <a:gd name="T111" fmla="*/ 85 h 580"/>
                <a:gd name="T112" fmla="*/ 27 w 756"/>
                <a:gd name="T113" fmla="*/ 111 h 580"/>
                <a:gd name="T114" fmla="*/ 24 w 756"/>
                <a:gd name="T115" fmla="*/ 101 h 580"/>
                <a:gd name="T116" fmla="*/ 19 w 756"/>
                <a:gd name="T117" fmla="*/ 94 h 580"/>
                <a:gd name="T118" fmla="*/ 9 w 756"/>
                <a:gd name="T119" fmla="*/ 66 h 580"/>
                <a:gd name="T120" fmla="*/ 506 w 756"/>
                <a:gd name="T121" fmla="*/ 50 h 580"/>
                <a:gd name="T122" fmla="*/ 498 w 756"/>
                <a:gd name="T123" fmla="*/ 18 h 580"/>
                <a:gd name="T124" fmla="*/ 522 w 756"/>
                <a:gd name="T125" fmla="*/ 3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6" h="580">
                  <a:moveTo>
                    <a:pt x="551" y="11"/>
                  </a:moveTo>
                  <a:lnTo>
                    <a:pt x="551" y="27"/>
                  </a:lnTo>
                  <a:lnTo>
                    <a:pt x="555" y="27"/>
                  </a:lnTo>
                  <a:lnTo>
                    <a:pt x="556" y="35"/>
                  </a:lnTo>
                  <a:lnTo>
                    <a:pt x="556" y="35"/>
                  </a:lnTo>
                  <a:lnTo>
                    <a:pt x="555" y="35"/>
                  </a:lnTo>
                  <a:lnTo>
                    <a:pt x="554" y="36"/>
                  </a:lnTo>
                  <a:lnTo>
                    <a:pt x="552" y="36"/>
                  </a:lnTo>
                  <a:lnTo>
                    <a:pt x="549" y="38"/>
                  </a:lnTo>
                  <a:lnTo>
                    <a:pt x="549" y="38"/>
                  </a:lnTo>
                  <a:lnTo>
                    <a:pt x="545" y="38"/>
                  </a:lnTo>
                  <a:lnTo>
                    <a:pt x="543" y="41"/>
                  </a:lnTo>
                  <a:lnTo>
                    <a:pt x="540" y="44"/>
                  </a:lnTo>
                  <a:lnTo>
                    <a:pt x="539" y="48"/>
                  </a:lnTo>
                  <a:lnTo>
                    <a:pt x="539" y="52"/>
                  </a:lnTo>
                  <a:lnTo>
                    <a:pt x="539" y="57"/>
                  </a:lnTo>
                  <a:lnTo>
                    <a:pt x="539" y="58"/>
                  </a:lnTo>
                  <a:lnTo>
                    <a:pt x="539" y="60"/>
                  </a:lnTo>
                  <a:lnTo>
                    <a:pt x="539" y="60"/>
                  </a:lnTo>
                  <a:lnTo>
                    <a:pt x="539" y="60"/>
                  </a:lnTo>
                  <a:lnTo>
                    <a:pt x="540" y="60"/>
                  </a:lnTo>
                  <a:lnTo>
                    <a:pt x="543" y="60"/>
                  </a:lnTo>
                  <a:lnTo>
                    <a:pt x="543" y="58"/>
                  </a:lnTo>
                  <a:lnTo>
                    <a:pt x="543" y="58"/>
                  </a:lnTo>
                  <a:lnTo>
                    <a:pt x="545" y="51"/>
                  </a:lnTo>
                  <a:lnTo>
                    <a:pt x="546" y="45"/>
                  </a:lnTo>
                  <a:lnTo>
                    <a:pt x="549" y="42"/>
                  </a:lnTo>
                  <a:lnTo>
                    <a:pt x="552" y="39"/>
                  </a:lnTo>
                  <a:lnTo>
                    <a:pt x="556" y="39"/>
                  </a:lnTo>
                  <a:lnTo>
                    <a:pt x="558" y="39"/>
                  </a:lnTo>
                  <a:lnTo>
                    <a:pt x="560" y="39"/>
                  </a:lnTo>
                  <a:lnTo>
                    <a:pt x="561" y="41"/>
                  </a:lnTo>
                  <a:lnTo>
                    <a:pt x="579" y="80"/>
                  </a:lnTo>
                  <a:lnTo>
                    <a:pt x="578" y="94"/>
                  </a:lnTo>
                  <a:lnTo>
                    <a:pt x="587" y="111"/>
                  </a:lnTo>
                  <a:lnTo>
                    <a:pt x="590" y="107"/>
                  </a:lnTo>
                  <a:lnTo>
                    <a:pt x="590" y="107"/>
                  </a:lnTo>
                  <a:lnTo>
                    <a:pt x="591" y="108"/>
                  </a:lnTo>
                  <a:lnTo>
                    <a:pt x="593" y="111"/>
                  </a:lnTo>
                  <a:lnTo>
                    <a:pt x="596" y="115"/>
                  </a:lnTo>
                  <a:lnTo>
                    <a:pt x="599" y="121"/>
                  </a:lnTo>
                  <a:lnTo>
                    <a:pt x="602" y="126"/>
                  </a:lnTo>
                  <a:lnTo>
                    <a:pt x="605" y="129"/>
                  </a:lnTo>
                  <a:lnTo>
                    <a:pt x="606" y="134"/>
                  </a:lnTo>
                  <a:lnTo>
                    <a:pt x="608" y="135"/>
                  </a:lnTo>
                  <a:lnTo>
                    <a:pt x="608" y="135"/>
                  </a:lnTo>
                  <a:lnTo>
                    <a:pt x="615" y="147"/>
                  </a:lnTo>
                  <a:lnTo>
                    <a:pt x="621" y="156"/>
                  </a:lnTo>
                  <a:lnTo>
                    <a:pt x="624" y="161"/>
                  </a:lnTo>
                  <a:lnTo>
                    <a:pt x="627" y="165"/>
                  </a:lnTo>
                  <a:lnTo>
                    <a:pt x="627" y="168"/>
                  </a:lnTo>
                  <a:lnTo>
                    <a:pt x="627" y="168"/>
                  </a:lnTo>
                  <a:lnTo>
                    <a:pt x="627" y="168"/>
                  </a:lnTo>
                  <a:lnTo>
                    <a:pt x="624" y="165"/>
                  </a:lnTo>
                  <a:lnTo>
                    <a:pt x="623" y="162"/>
                  </a:lnTo>
                  <a:lnTo>
                    <a:pt x="621" y="160"/>
                  </a:lnTo>
                  <a:lnTo>
                    <a:pt x="618" y="157"/>
                  </a:lnTo>
                  <a:lnTo>
                    <a:pt x="615" y="153"/>
                  </a:lnTo>
                  <a:lnTo>
                    <a:pt x="612" y="150"/>
                  </a:lnTo>
                  <a:lnTo>
                    <a:pt x="611" y="147"/>
                  </a:lnTo>
                  <a:lnTo>
                    <a:pt x="609" y="146"/>
                  </a:lnTo>
                  <a:lnTo>
                    <a:pt x="609" y="146"/>
                  </a:lnTo>
                  <a:lnTo>
                    <a:pt x="605" y="147"/>
                  </a:lnTo>
                  <a:lnTo>
                    <a:pt x="605" y="147"/>
                  </a:lnTo>
                  <a:lnTo>
                    <a:pt x="606" y="147"/>
                  </a:lnTo>
                  <a:lnTo>
                    <a:pt x="608" y="150"/>
                  </a:lnTo>
                  <a:lnTo>
                    <a:pt x="611" y="154"/>
                  </a:lnTo>
                  <a:lnTo>
                    <a:pt x="614" y="159"/>
                  </a:lnTo>
                  <a:lnTo>
                    <a:pt x="618" y="164"/>
                  </a:lnTo>
                  <a:lnTo>
                    <a:pt x="621" y="168"/>
                  </a:lnTo>
                  <a:lnTo>
                    <a:pt x="623" y="171"/>
                  </a:lnTo>
                  <a:lnTo>
                    <a:pt x="623" y="173"/>
                  </a:lnTo>
                  <a:lnTo>
                    <a:pt x="623" y="173"/>
                  </a:lnTo>
                  <a:lnTo>
                    <a:pt x="633" y="183"/>
                  </a:lnTo>
                  <a:lnTo>
                    <a:pt x="639" y="190"/>
                  </a:lnTo>
                  <a:lnTo>
                    <a:pt x="644" y="195"/>
                  </a:lnTo>
                  <a:lnTo>
                    <a:pt x="644" y="198"/>
                  </a:lnTo>
                  <a:lnTo>
                    <a:pt x="642" y="198"/>
                  </a:lnTo>
                  <a:lnTo>
                    <a:pt x="641" y="198"/>
                  </a:lnTo>
                  <a:lnTo>
                    <a:pt x="639" y="198"/>
                  </a:lnTo>
                  <a:lnTo>
                    <a:pt x="638" y="198"/>
                  </a:lnTo>
                  <a:lnTo>
                    <a:pt x="638" y="198"/>
                  </a:lnTo>
                  <a:lnTo>
                    <a:pt x="638" y="198"/>
                  </a:lnTo>
                  <a:lnTo>
                    <a:pt x="638" y="198"/>
                  </a:lnTo>
                  <a:lnTo>
                    <a:pt x="639" y="198"/>
                  </a:lnTo>
                  <a:lnTo>
                    <a:pt x="639" y="198"/>
                  </a:lnTo>
                  <a:lnTo>
                    <a:pt x="639" y="198"/>
                  </a:lnTo>
                  <a:lnTo>
                    <a:pt x="644" y="211"/>
                  </a:lnTo>
                  <a:lnTo>
                    <a:pt x="650" y="225"/>
                  </a:lnTo>
                  <a:lnTo>
                    <a:pt x="656" y="236"/>
                  </a:lnTo>
                  <a:lnTo>
                    <a:pt x="660" y="247"/>
                  </a:lnTo>
                  <a:lnTo>
                    <a:pt x="666" y="257"/>
                  </a:lnTo>
                  <a:lnTo>
                    <a:pt x="672" y="269"/>
                  </a:lnTo>
                  <a:lnTo>
                    <a:pt x="678" y="277"/>
                  </a:lnTo>
                  <a:lnTo>
                    <a:pt x="683" y="286"/>
                  </a:lnTo>
                  <a:lnTo>
                    <a:pt x="689" y="294"/>
                  </a:lnTo>
                  <a:lnTo>
                    <a:pt x="692" y="302"/>
                  </a:lnTo>
                  <a:lnTo>
                    <a:pt x="696" y="309"/>
                  </a:lnTo>
                  <a:lnTo>
                    <a:pt x="701" y="316"/>
                  </a:lnTo>
                  <a:lnTo>
                    <a:pt x="705" y="321"/>
                  </a:lnTo>
                  <a:lnTo>
                    <a:pt x="708" y="326"/>
                  </a:lnTo>
                  <a:lnTo>
                    <a:pt x="710" y="330"/>
                  </a:lnTo>
                  <a:lnTo>
                    <a:pt x="711" y="333"/>
                  </a:lnTo>
                  <a:lnTo>
                    <a:pt x="711" y="333"/>
                  </a:lnTo>
                  <a:lnTo>
                    <a:pt x="714" y="336"/>
                  </a:lnTo>
                  <a:lnTo>
                    <a:pt x="717" y="340"/>
                  </a:lnTo>
                  <a:lnTo>
                    <a:pt x="720" y="343"/>
                  </a:lnTo>
                  <a:lnTo>
                    <a:pt x="722" y="348"/>
                  </a:lnTo>
                  <a:lnTo>
                    <a:pt x="722" y="351"/>
                  </a:lnTo>
                  <a:lnTo>
                    <a:pt x="724" y="353"/>
                  </a:lnTo>
                  <a:lnTo>
                    <a:pt x="725" y="354"/>
                  </a:lnTo>
                  <a:lnTo>
                    <a:pt x="726" y="354"/>
                  </a:lnTo>
                  <a:lnTo>
                    <a:pt x="726" y="354"/>
                  </a:lnTo>
                  <a:lnTo>
                    <a:pt x="731" y="359"/>
                  </a:lnTo>
                  <a:lnTo>
                    <a:pt x="735" y="362"/>
                  </a:lnTo>
                  <a:lnTo>
                    <a:pt x="737" y="365"/>
                  </a:lnTo>
                  <a:lnTo>
                    <a:pt x="738" y="367"/>
                  </a:lnTo>
                  <a:lnTo>
                    <a:pt x="738" y="370"/>
                  </a:lnTo>
                  <a:lnTo>
                    <a:pt x="737" y="373"/>
                  </a:lnTo>
                  <a:lnTo>
                    <a:pt x="737" y="375"/>
                  </a:lnTo>
                  <a:lnTo>
                    <a:pt x="737" y="376"/>
                  </a:lnTo>
                  <a:lnTo>
                    <a:pt x="737" y="376"/>
                  </a:lnTo>
                  <a:lnTo>
                    <a:pt x="741" y="381"/>
                  </a:lnTo>
                  <a:lnTo>
                    <a:pt x="744" y="384"/>
                  </a:lnTo>
                  <a:lnTo>
                    <a:pt x="746" y="386"/>
                  </a:lnTo>
                  <a:lnTo>
                    <a:pt x="746" y="389"/>
                  </a:lnTo>
                  <a:lnTo>
                    <a:pt x="746" y="390"/>
                  </a:lnTo>
                  <a:lnTo>
                    <a:pt x="746" y="390"/>
                  </a:lnTo>
                  <a:lnTo>
                    <a:pt x="746" y="392"/>
                  </a:lnTo>
                  <a:lnTo>
                    <a:pt x="744" y="392"/>
                  </a:lnTo>
                  <a:lnTo>
                    <a:pt x="753" y="400"/>
                  </a:lnTo>
                  <a:lnTo>
                    <a:pt x="753" y="400"/>
                  </a:lnTo>
                  <a:lnTo>
                    <a:pt x="753" y="402"/>
                  </a:lnTo>
                  <a:lnTo>
                    <a:pt x="753" y="405"/>
                  </a:lnTo>
                  <a:lnTo>
                    <a:pt x="755" y="409"/>
                  </a:lnTo>
                  <a:lnTo>
                    <a:pt x="755" y="415"/>
                  </a:lnTo>
                  <a:lnTo>
                    <a:pt x="755" y="420"/>
                  </a:lnTo>
                  <a:lnTo>
                    <a:pt x="755" y="429"/>
                  </a:lnTo>
                  <a:lnTo>
                    <a:pt x="755" y="438"/>
                  </a:lnTo>
                  <a:lnTo>
                    <a:pt x="755" y="445"/>
                  </a:lnTo>
                  <a:lnTo>
                    <a:pt x="755" y="453"/>
                  </a:lnTo>
                  <a:lnTo>
                    <a:pt x="755" y="462"/>
                  </a:lnTo>
                  <a:lnTo>
                    <a:pt x="755" y="469"/>
                  </a:lnTo>
                  <a:lnTo>
                    <a:pt x="755" y="477"/>
                  </a:lnTo>
                  <a:lnTo>
                    <a:pt x="755" y="482"/>
                  </a:lnTo>
                  <a:lnTo>
                    <a:pt x="755" y="486"/>
                  </a:lnTo>
                  <a:lnTo>
                    <a:pt x="755" y="491"/>
                  </a:lnTo>
                  <a:lnTo>
                    <a:pt x="755" y="491"/>
                  </a:lnTo>
                  <a:lnTo>
                    <a:pt x="755" y="491"/>
                  </a:lnTo>
                  <a:lnTo>
                    <a:pt x="752" y="495"/>
                  </a:lnTo>
                  <a:lnTo>
                    <a:pt x="749" y="498"/>
                  </a:lnTo>
                  <a:lnTo>
                    <a:pt x="747" y="502"/>
                  </a:lnTo>
                  <a:lnTo>
                    <a:pt x="746" y="507"/>
                  </a:lnTo>
                  <a:lnTo>
                    <a:pt x="744" y="511"/>
                  </a:lnTo>
                  <a:lnTo>
                    <a:pt x="743" y="515"/>
                  </a:lnTo>
                  <a:lnTo>
                    <a:pt x="743" y="519"/>
                  </a:lnTo>
                  <a:lnTo>
                    <a:pt x="743" y="523"/>
                  </a:lnTo>
                  <a:lnTo>
                    <a:pt x="743" y="526"/>
                  </a:lnTo>
                  <a:lnTo>
                    <a:pt x="743" y="531"/>
                  </a:lnTo>
                  <a:lnTo>
                    <a:pt x="743" y="534"/>
                  </a:lnTo>
                  <a:lnTo>
                    <a:pt x="743" y="537"/>
                  </a:lnTo>
                  <a:lnTo>
                    <a:pt x="743" y="540"/>
                  </a:lnTo>
                  <a:lnTo>
                    <a:pt x="743" y="541"/>
                  </a:lnTo>
                  <a:lnTo>
                    <a:pt x="744" y="543"/>
                  </a:lnTo>
                  <a:lnTo>
                    <a:pt x="744" y="543"/>
                  </a:lnTo>
                  <a:lnTo>
                    <a:pt x="744" y="543"/>
                  </a:lnTo>
                  <a:lnTo>
                    <a:pt x="743" y="549"/>
                  </a:lnTo>
                  <a:lnTo>
                    <a:pt x="741" y="555"/>
                  </a:lnTo>
                  <a:lnTo>
                    <a:pt x="738" y="558"/>
                  </a:lnTo>
                  <a:lnTo>
                    <a:pt x="735" y="559"/>
                  </a:lnTo>
                  <a:lnTo>
                    <a:pt x="732" y="561"/>
                  </a:lnTo>
                  <a:lnTo>
                    <a:pt x="729" y="561"/>
                  </a:lnTo>
                  <a:lnTo>
                    <a:pt x="726" y="561"/>
                  </a:lnTo>
                  <a:lnTo>
                    <a:pt x="725" y="561"/>
                  </a:lnTo>
                  <a:lnTo>
                    <a:pt x="725" y="561"/>
                  </a:lnTo>
                  <a:lnTo>
                    <a:pt x="720" y="565"/>
                  </a:lnTo>
                  <a:lnTo>
                    <a:pt x="714" y="570"/>
                  </a:lnTo>
                  <a:lnTo>
                    <a:pt x="710" y="571"/>
                  </a:lnTo>
                  <a:lnTo>
                    <a:pt x="707" y="571"/>
                  </a:lnTo>
                  <a:lnTo>
                    <a:pt x="704" y="571"/>
                  </a:lnTo>
                  <a:lnTo>
                    <a:pt x="701" y="570"/>
                  </a:lnTo>
                  <a:lnTo>
                    <a:pt x="699" y="570"/>
                  </a:lnTo>
                  <a:lnTo>
                    <a:pt x="699" y="570"/>
                  </a:lnTo>
                  <a:lnTo>
                    <a:pt x="699" y="570"/>
                  </a:lnTo>
                  <a:lnTo>
                    <a:pt x="692" y="576"/>
                  </a:lnTo>
                  <a:lnTo>
                    <a:pt x="687" y="579"/>
                  </a:lnTo>
                  <a:lnTo>
                    <a:pt x="683" y="579"/>
                  </a:lnTo>
                  <a:lnTo>
                    <a:pt x="678" y="579"/>
                  </a:lnTo>
                  <a:lnTo>
                    <a:pt x="675" y="579"/>
                  </a:lnTo>
                  <a:lnTo>
                    <a:pt x="672" y="576"/>
                  </a:lnTo>
                  <a:lnTo>
                    <a:pt x="671" y="576"/>
                  </a:lnTo>
                  <a:lnTo>
                    <a:pt x="671" y="574"/>
                  </a:lnTo>
                  <a:lnTo>
                    <a:pt x="671" y="574"/>
                  </a:lnTo>
                  <a:lnTo>
                    <a:pt x="666" y="567"/>
                  </a:lnTo>
                  <a:lnTo>
                    <a:pt x="666" y="564"/>
                  </a:lnTo>
                  <a:lnTo>
                    <a:pt x="668" y="561"/>
                  </a:lnTo>
                  <a:lnTo>
                    <a:pt x="669" y="562"/>
                  </a:lnTo>
                  <a:lnTo>
                    <a:pt x="674" y="564"/>
                  </a:lnTo>
                  <a:lnTo>
                    <a:pt x="677" y="565"/>
                  </a:lnTo>
                  <a:lnTo>
                    <a:pt x="680" y="567"/>
                  </a:lnTo>
                  <a:lnTo>
                    <a:pt x="680" y="568"/>
                  </a:lnTo>
                  <a:lnTo>
                    <a:pt x="695" y="562"/>
                  </a:lnTo>
                  <a:lnTo>
                    <a:pt x="687" y="552"/>
                  </a:lnTo>
                  <a:lnTo>
                    <a:pt x="687" y="552"/>
                  </a:lnTo>
                  <a:lnTo>
                    <a:pt x="687" y="552"/>
                  </a:lnTo>
                  <a:lnTo>
                    <a:pt x="689" y="551"/>
                  </a:lnTo>
                  <a:lnTo>
                    <a:pt x="689" y="549"/>
                  </a:lnTo>
                  <a:lnTo>
                    <a:pt x="691" y="548"/>
                  </a:lnTo>
                  <a:lnTo>
                    <a:pt x="691" y="548"/>
                  </a:lnTo>
                  <a:lnTo>
                    <a:pt x="687" y="541"/>
                  </a:lnTo>
                  <a:lnTo>
                    <a:pt x="684" y="537"/>
                  </a:lnTo>
                  <a:lnTo>
                    <a:pt x="681" y="535"/>
                  </a:lnTo>
                  <a:lnTo>
                    <a:pt x="680" y="534"/>
                  </a:lnTo>
                  <a:lnTo>
                    <a:pt x="678" y="535"/>
                  </a:lnTo>
                  <a:lnTo>
                    <a:pt x="677" y="537"/>
                  </a:lnTo>
                  <a:lnTo>
                    <a:pt x="677" y="538"/>
                  </a:lnTo>
                  <a:lnTo>
                    <a:pt x="677" y="540"/>
                  </a:lnTo>
                  <a:lnTo>
                    <a:pt x="677" y="540"/>
                  </a:lnTo>
                  <a:lnTo>
                    <a:pt x="680" y="546"/>
                  </a:lnTo>
                  <a:lnTo>
                    <a:pt x="680" y="549"/>
                  </a:lnTo>
                  <a:lnTo>
                    <a:pt x="678" y="551"/>
                  </a:lnTo>
                  <a:lnTo>
                    <a:pt x="675" y="552"/>
                  </a:lnTo>
                  <a:lnTo>
                    <a:pt x="672" y="552"/>
                  </a:lnTo>
                  <a:lnTo>
                    <a:pt x="669" y="552"/>
                  </a:lnTo>
                  <a:lnTo>
                    <a:pt x="668" y="551"/>
                  </a:lnTo>
                  <a:lnTo>
                    <a:pt x="666" y="551"/>
                  </a:lnTo>
                  <a:lnTo>
                    <a:pt x="666" y="551"/>
                  </a:lnTo>
                  <a:lnTo>
                    <a:pt x="660" y="541"/>
                  </a:lnTo>
                  <a:lnTo>
                    <a:pt x="656" y="532"/>
                  </a:lnTo>
                  <a:lnTo>
                    <a:pt x="651" y="525"/>
                  </a:lnTo>
                  <a:lnTo>
                    <a:pt x="647" y="519"/>
                  </a:lnTo>
                  <a:lnTo>
                    <a:pt x="641" y="515"/>
                  </a:lnTo>
                  <a:lnTo>
                    <a:pt x="635" y="513"/>
                  </a:lnTo>
                  <a:lnTo>
                    <a:pt x="630" y="510"/>
                  </a:lnTo>
                  <a:lnTo>
                    <a:pt x="626" y="507"/>
                  </a:lnTo>
                  <a:lnTo>
                    <a:pt x="623" y="505"/>
                  </a:lnTo>
                  <a:lnTo>
                    <a:pt x="618" y="505"/>
                  </a:lnTo>
                  <a:lnTo>
                    <a:pt x="614" y="505"/>
                  </a:lnTo>
                  <a:lnTo>
                    <a:pt x="611" y="505"/>
                  </a:lnTo>
                  <a:lnTo>
                    <a:pt x="609" y="505"/>
                  </a:lnTo>
                  <a:lnTo>
                    <a:pt x="606" y="505"/>
                  </a:lnTo>
                  <a:lnTo>
                    <a:pt x="605" y="505"/>
                  </a:lnTo>
                  <a:lnTo>
                    <a:pt x="605" y="505"/>
                  </a:lnTo>
                  <a:lnTo>
                    <a:pt x="605" y="507"/>
                  </a:lnTo>
                  <a:lnTo>
                    <a:pt x="605" y="507"/>
                  </a:lnTo>
                  <a:lnTo>
                    <a:pt x="605" y="507"/>
                  </a:lnTo>
                  <a:lnTo>
                    <a:pt x="603" y="505"/>
                  </a:lnTo>
                  <a:lnTo>
                    <a:pt x="602" y="502"/>
                  </a:lnTo>
                  <a:lnTo>
                    <a:pt x="599" y="501"/>
                  </a:lnTo>
                  <a:lnTo>
                    <a:pt x="597" y="498"/>
                  </a:lnTo>
                  <a:lnTo>
                    <a:pt x="596" y="495"/>
                  </a:lnTo>
                  <a:lnTo>
                    <a:pt x="594" y="493"/>
                  </a:lnTo>
                  <a:lnTo>
                    <a:pt x="593" y="491"/>
                  </a:lnTo>
                  <a:lnTo>
                    <a:pt x="593" y="491"/>
                  </a:lnTo>
                  <a:lnTo>
                    <a:pt x="590" y="477"/>
                  </a:lnTo>
                  <a:lnTo>
                    <a:pt x="587" y="465"/>
                  </a:lnTo>
                  <a:lnTo>
                    <a:pt x="582" y="458"/>
                  </a:lnTo>
                  <a:lnTo>
                    <a:pt x="579" y="453"/>
                  </a:lnTo>
                  <a:lnTo>
                    <a:pt x="576" y="452"/>
                  </a:lnTo>
                  <a:lnTo>
                    <a:pt x="573" y="452"/>
                  </a:lnTo>
                  <a:lnTo>
                    <a:pt x="572" y="452"/>
                  </a:lnTo>
                  <a:lnTo>
                    <a:pt x="572" y="452"/>
                  </a:lnTo>
                  <a:lnTo>
                    <a:pt x="564" y="445"/>
                  </a:lnTo>
                  <a:lnTo>
                    <a:pt x="560" y="435"/>
                  </a:lnTo>
                  <a:lnTo>
                    <a:pt x="560" y="420"/>
                  </a:lnTo>
                  <a:lnTo>
                    <a:pt x="554" y="411"/>
                  </a:lnTo>
                  <a:lnTo>
                    <a:pt x="560" y="399"/>
                  </a:lnTo>
                  <a:lnTo>
                    <a:pt x="548" y="406"/>
                  </a:lnTo>
                  <a:lnTo>
                    <a:pt x="548" y="406"/>
                  </a:lnTo>
                  <a:lnTo>
                    <a:pt x="548" y="405"/>
                  </a:lnTo>
                  <a:lnTo>
                    <a:pt x="546" y="405"/>
                  </a:lnTo>
                  <a:lnTo>
                    <a:pt x="543" y="403"/>
                  </a:lnTo>
                  <a:lnTo>
                    <a:pt x="542" y="402"/>
                  </a:lnTo>
                  <a:lnTo>
                    <a:pt x="539" y="400"/>
                  </a:lnTo>
                  <a:lnTo>
                    <a:pt x="537" y="400"/>
                  </a:lnTo>
                  <a:lnTo>
                    <a:pt x="536" y="399"/>
                  </a:lnTo>
                  <a:lnTo>
                    <a:pt x="536" y="400"/>
                  </a:lnTo>
                  <a:lnTo>
                    <a:pt x="536" y="400"/>
                  </a:lnTo>
                  <a:lnTo>
                    <a:pt x="540" y="408"/>
                  </a:lnTo>
                  <a:lnTo>
                    <a:pt x="545" y="414"/>
                  </a:lnTo>
                  <a:lnTo>
                    <a:pt x="546" y="418"/>
                  </a:lnTo>
                  <a:lnTo>
                    <a:pt x="546" y="420"/>
                  </a:lnTo>
                  <a:lnTo>
                    <a:pt x="545" y="420"/>
                  </a:lnTo>
                  <a:lnTo>
                    <a:pt x="543" y="420"/>
                  </a:lnTo>
                  <a:lnTo>
                    <a:pt x="540" y="419"/>
                  </a:lnTo>
                  <a:lnTo>
                    <a:pt x="539" y="418"/>
                  </a:lnTo>
                  <a:lnTo>
                    <a:pt x="534" y="415"/>
                  </a:lnTo>
                  <a:lnTo>
                    <a:pt x="531" y="412"/>
                  </a:lnTo>
                  <a:lnTo>
                    <a:pt x="527" y="409"/>
                  </a:lnTo>
                  <a:lnTo>
                    <a:pt x="525" y="406"/>
                  </a:lnTo>
                  <a:lnTo>
                    <a:pt x="522" y="403"/>
                  </a:lnTo>
                  <a:lnTo>
                    <a:pt x="519" y="400"/>
                  </a:lnTo>
                  <a:lnTo>
                    <a:pt x="518" y="399"/>
                  </a:lnTo>
                  <a:lnTo>
                    <a:pt x="518" y="399"/>
                  </a:lnTo>
                  <a:lnTo>
                    <a:pt x="515" y="386"/>
                  </a:lnTo>
                  <a:lnTo>
                    <a:pt x="492" y="359"/>
                  </a:lnTo>
                  <a:lnTo>
                    <a:pt x="492" y="359"/>
                  </a:lnTo>
                  <a:lnTo>
                    <a:pt x="494" y="359"/>
                  </a:lnTo>
                  <a:lnTo>
                    <a:pt x="495" y="357"/>
                  </a:lnTo>
                  <a:lnTo>
                    <a:pt x="497" y="357"/>
                  </a:lnTo>
                  <a:lnTo>
                    <a:pt x="498" y="356"/>
                  </a:lnTo>
                  <a:lnTo>
                    <a:pt x="500" y="356"/>
                  </a:lnTo>
                  <a:lnTo>
                    <a:pt x="501" y="354"/>
                  </a:lnTo>
                  <a:lnTo>
                    <a:pt x="503" y="354"/>
                  </a:lnTo>
                  <a:lnTo>
                    <a:pt x="503" y="354"/>
                  </a:lnTo>
                  <a:lnTo>
                    <a:pt x="503" y="354"/>
                  </a:lnTo>
                  <a:lnTo>
                    <a:pt x="498" y="353"/>
                  </a:lnTo>
                  <a:lnTo>
                    <a:pt x="497" y="349"/>
                  </a:lnTo>
                  <a:lnTo>
                    <a:pt x="497" y="345"/>
                  </a:lnTo>
                  <a:lnTo>
                    <a:pt x="497" y="339"/>
                  </a:lnTo>
                  <a:lnTo>
                    <a:pt x="498" y="333"/>
                  </a:lnTo>
                  <a:lnTo>
                    <a:pt x="500" y="327"/>
                  </a:lnTo>
                  <a:lnTo>
                    <a:pt x="500" y="323"/>
                  </a:lnTo>
                  <a:lnTo>
                    <a:pt x="500" y="321"/>
                  </a:lnTo>
                  <a:lnTo>
                    <a:pt x="500" y="321"/>
                  </a:lnTo>
                  <a:lnTo>
                    <a:pt x="497" y="313"/>
                  </a:lnTo>
                  <a:lnTo>
                    <a:pt x="495" y="307"/>
                  </a:lnTo>
                  <a:lnTo>
                    <a:pt x="492" y="304"/>
                  </a:lnTo>
                  <a:lnTo>
                    <a:pt x="492" y="303"/>
                  </a:lnTo>
                  <a:lnTo>
                    <a:pt x="490" y="303"/>
                  </a:lnTo>
                  <a:lnTo>
                    <a:pt x="489" y="304"/>
                  </a:lnTo>
                  <a:lnTo>
                    <a:pt x="489" y="307"/>
                  </a:lnTo>
                  <a:lnTo>
                    <a:pt x="487" y="310"/>
                  </a:lnTo>
                  <a:lnTo>
                    <a:pt x="487" y="315"/>
                  </a:lnTo>
                  <a:lnTo>
                    <a:pt x="487" y="319"/>
                  </a:lnTo>
                  <a:lnTo>
                    <a:pt x="487" y="323"/>
                  </a:lnTo>
                  <a:lnTo>
                    <a:pt x="487" y="327"/>
                  </a:lnTo>
                  <a:lnTo>
                    <a:pt x="487" y="332"/>
                  </a:lnTo>
                  <a:lnTo>
                    <a:pt x="487" y="334"/>
                  </a:lnTo>
                  <a:lnTo>
                    <a:pt x="487" y="337"/>
                  </a:lnTo>
                  <a:lnTo>
                    <a:pt x="487" y="337"/>
                  </a:lnTo>
                  <a:lnTo>
                    <a:pt x="487" y="337"/>
                  </a:lnTo>
                  <a:lnTo>
                    <a:pt x="487" y="337"/>
                  </a:lnTo>
                  <a:lnTo>
                    <a:pt x="485" y="336"/>
                  </a:lnTo>
                  <a:lnTo>
                    <a:pt x="482" y="333"/>
                  </a:lnTo>
                  <a:lnTo>
                    <a:pt x="479" y="330"/>
                  </a:lnTo>
                  <a:lnTo>
                    <a:pt x="474" y="327"/>
                  </a:lnTo>
                  <a:lnTo>
                    <a:pt x="473" y="324"/>
                  </a:lnTo>
                  <a:lnTo>
                    <a:pt x="470" y="323"/>
                  </a:lnTo>
                  <a:lnTo>
                    <a:pt x="470" y="321"/>
                  </a:lnTo>
                  <a:lnTo>
                    <a:pt x="470" y="321"/>
                  </a:lnTo>
                  <a:lnTo>
                    <a:pt x="471" y="316"/>
                  </a:lnTo>
                  <a:lnTo>
                    <a:pt x="473" y="309"/>
                  </a:lnTo>
                  <a:lnTo>
                    <a:pt x="473" y="303"/>
                  </a:lnTo>
                  <a:lnTo>
                    <a:pt x="473" y="297"/>
                  </a:lnTo>
                  <a:lnTo>
                    <a:pt x="471" y="291"/>
                  </a:lnTo>
                  <a:lnTo>
                    <a:pt x="471" y="288"/>
                  </a:lnTo>
                  <a:lnTo>
                    <a:pt x="470" y="285"/>
                  </a:lnTo>
                  <a:lnTo>
                    <a:pt x="470" y="283"/>
                  </a:lnTo>
                  <a:lnTo>
                    <a:pt x="470" y="283"/>
                  </a:lnTo>
                  <a:lnTo>
                    <a:pt x="473" y="277"/>
                  </a:lnTo>
                  <a:lnTo>
                    <a:pt x="474" y="273"/>
                  </a:lnTo>
                  <a:lnTo>
                    <a:pt x="476" y="267"/>
                  </a:lnTo>
                  <a:lnTo>
                    <a:pt x="476" y="263"/>
                  </a:lnTo>
                  <a:lnTo>
                    <a:pt x="477" y="257"/>
                  </a:lnTo>
                  <a:lnTo>
                    <a:pt x="477" y="253"/>
                  </a:lnTo>
                  <a:lnTo>
                    <a:pt x="477" y="247"/>
                  </a:lnTo>
                  <a:lnTo>
                    <a:pt x="477" y="243"/>
                  </a:lnTo>
                  <a:lnTo>
                    <a:pt x="476" y="239"/>
                  </a:lnTo>
                  <a:lnTo>
                    <a:pt x="476" y="234"/>
                  </a:lnTo>
                  <a:lnTo>
                    <a:pt x="474" y="231"/>
                  </a:lnTo>
                  <a:lnTo>
                    <a:pt x="474" y="227"/>
                  </a:lnTo>
                  <a:lnTo>
                    <a:pt x="474" y="225"/>
                  </a:lnTo>
                  <a:lnTo>
                    <a:pt x="473" y="223"/>
                  </a:lnTo>
                  <a:lnTo>
                    <a:pt x="473" y="222"/>
                  </a:lnTo>
                  <a:lnTo>
                    <a:pt x="473" y="222"/>
                  </a:lnTo>
                  <a:lnTo>
                    <a:pt x="473" y="222"/>
                  </a:lnTo>
                  <a:lnTo>
                    <a:pt x="473" y="222"/>
                  </a:lnTo>
                  <a:lnTo>
                    <a:pt x="473" y="220"/>
                  </a:lnTo>
                  <a:lnTo>
                    <a:pt x="473" y="217"/>
                  </a:lnTo>
                  <a:lnTo>
                    <a:pt x="473" y="216"/>
                  </a:lnTo>
                  <a:lnTo>
                    <a:pt x="471" y="213"/>
                  </a:lnTo>
                  <a:lnTo>
                    <a:pt x="471" y="210"/>
                  </a:lnTo>
                  <a:lnTo>
                    <a:pt x="470" y="209"/>
                  </a:lnTo>
                  <a:lnTo>
                    <a:pt x="470" y="209"/>
                  </a:lnTo>
                  <a:lnTo>
                    <a:pt x="470" y="209"/>
                  </a:lnTo>
                  <a:lnTo>
                    <a:pt x="467" y="207"/>
                  </a:lnTo>
                  <a:lnTo>
                    <a:pt x="464" y="204"/>
                  </a:lnTo>
                  <a:lnTo>
                    <a:pt x="461" y="201"/>
                  </a:lnTo>
                  <a:lnTo>
                    <a:pt x="459" y="195"/>
                  </a:lnTo>
                  <a:lnTo>
                    <a:pt x="456" y="192"/>
                  </a:lnTo>
                  <a:lnTo>
                    <a:pt x="453" y="189"/>
                  </a:lnTo>
                  <a:lnTo>
                    <a:pt x="452" y="186"/>
                  </a:lnTo>
                  <a:lnTo>
                    <a:pt x="452" y="184"/>
                  </a:lnTo>
                  <a:lnTo>
                    <a:pt x="452" y="184"/>
                  </a:lnTo>
                  <a:lnTo>
                    <a:pt x="441" y="187"/>
                  </a:lnTo>
                  <a:lnTo>
                    <a:pt x="435" y="187"/>
                  </a:lnTo>
                  <a:lnTo>
                    <a:pt x="431" y="187"/>
                  </a:lnTo>
                  <a:lnTo>
                    <a:pt x="429" y="186"/>
                  </a:lnTo>
                  <a:lnTo>
                    <a:pt x="428" y="183"/>
                  </a:lnTo>
                  <a:lnTo>
                    <a:pt x="428" y="181"/>
                  </a:lnTo>
                  <a:lnTo>
                    <a:pt x="429" y="181"/>
                  </a:lnTo>
                  <a:lnTo>
                    <a:pt x="429" y="180"/>
                  </a:lnTo>
                  <a:lnTo>
                    <a:pt x="421" y="174"/>
                  </a:lnTo>
                  <a:lnTo>
                    <a:pt x="410" y="161"/>
                  </a:lnTo>
                  <a:lnTo>
                    <a:pt x="395" y="151"/>
                  </a:lnTo>
                  <a:lnTo>
                    <a:pt x="395" y="151"/>
                  </a:lnTo>
                  <a:lnTo>
                    <a:pt x="393" y="151"/>
                  </a:lnTo>
                  <a:lnTo>
                    <a:pt x="393" y="148"/>
                  </a:lnTo>
                  <a:lnTo>
                    <a:pt x="388" y="146"/>
                  </a:lnTo>
                  <a:lnTo>
                    <a:pt x="385" y="141"/>
                  </a:lnTo>
                  <a:lnTo>
                    <a:pt x="381" y="137"/>
                  </a:lnTo>
                  <a:lnTo>
                    <a:pt x="378" y="132"/>
                  </a:lnTo>
                  <a:lnTo>
                    <a:pt x="377" y="129"/>
                  </a:lnTo>
                  <a:lnTo>
                    <a:pt x="375" y="128"/>
                  </a:lnTo>
                  <a:lnTo>
                    <a:pt x="375" y="128"/>
                  </a:lnTo>
                  <a:lnTo>
                    <a:pt x="366" y="121"/>
                  </a:lnTo>
                  <a:lnTo>
                    <a:pt x="360" y="117"/>
                  </a:lnTo>
                  <a:lnTo>
                    <a:pt x="354" y="111"/>
                  </a:lnTo>
                  <a:lnTo>
                    <a:pt x="348" y="108"/>
                  </a:lnTo>
                  <a:lnTo>
                    <a:pt x="342" y="105"/>
                  </a:lnTo>
                  <a:lnTo>
                    <a:pt x="338" y="104"/>
                  </a:lnTo>
                  <a:lnTo>
                    <a:pt x="335" y="104"/>
                  </a:lnTo>
                  <a:lnTo>
                    <a:pt x="333" y="102"/>
                  </a:lnTo>
                  <a:lnTo>
                    <a:pt x="333" y="102"/>
                  </a:lnTo>
                  <a:lnTo>
                    <a:pt x="319" y="102"/>
                  </a:lnTo>
                  <a:lnTo>
                    <a:pt x="311" y="102"/>
                  </a:lnTo>
                  <a:lnTo>
                    <a:pt x="305" y="107"/>
                  </a:lnTo>
                  <a:lnTo>
                    <a:pt x="300" y="111"/>
                  </a:lnTo>
                  <a:lnTo>
                    <a:pt x="300" y="117"/>
                  </a:lnTo>
                  <a:lnTo>
                    <a:pt x="300" y="121"/>
                  </a:lnTo>
                  <a:lnTo>
                    <a:pt x="302" y="124"/>
                  </a:lnTo>
                  <a:lnTo>
                    <a:pt x="302" y="126"/>
                  </a:lnTo>
                  <a:lnTo>
                    <a:pt x="302" y="126"/>
                  </a:lnTo>
                  <a:lnTo>
                    <a:pt x="296" y="124"/>
                  </a:lnTo>
                  <a:lnTo>
                    <a:pt x="289" y="126"/>
                  </a:lnTo>
                  <a:lnTo>
                    <a:pt x="283" y="128"/>
                  </a:lnTo>
                  <a:lnTo>
                    <a:pt x="279" y="131"/>
                  </a:lnTo>
                  <a:lnTo>
                    <a:pt x="275" y="135"/>
                  </a:lnTo>
                  <a:lnTo>
                    <a:pt x="270" y="138"/>
                  </a:lnTo>
                  <a:lnTo>
                    <a:pt x="267" y="141"/>
                  </a:lnTo>
                  <a:lnTo>
                    <a:pt x="267" y="143"/>
                  </a:lnTo>
                  <a:lnTo>
                    <a:pt x="267" y="143"/>
                  </a:lnTo>
                  <a:lnTo>
                    <a:pt x="262" y="148"/>
                  </a:lnTo>
                  <a:lnTo>
                    <a:pt x="259" y="150"/>
                  </a:lnTo>
                  <a:lnTo>
                    <a:pt x="258" y="150"/>
                  </a:lnTo>
                  <a:lnTo>
                    <a:pt x="258" y="148"/>
                  </a:lnTo>
                  <a:lnTo>
                    <a:pt x="258" y="147"/>
                  </a:lnTo>
                  <a:lnTo>
                    <a:pt x="259" y="144"/>
                  </a:lnTo>
                  <a:lnTo>
                    <a:pt x="261" y="143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59" y="141"/>
                  </a:lnTo>
                  <a:lnTo>
                    <a:pt x="259" y="143"/>
                  </a:lnTo>
                  <a:lnTo>
                    <a:pt x="256" y="146"/>
                  </a:lnTo>
                  <a:lnTo>
                    <a:pt x="253" y="147"/>
                  </a:lnTo>
                  <a:lnTo>
                    <a:pt x="252" y="150"/>
                  </a:lnTo>
                  <a:lnTo>
                    <a:pt x="249" y="151"/>
                  </a:lnTo>
                  <a:lnTo>
                    <a:pt x="247" y="153"/>
                  </a:lnTo>
                  <a:lnTo>
                    <a:pt x="246" y="154"/>
                  </a:lnTo>
                  <a:lnTo>
                    <a:pt x="246" y="154"/>
                  </a:lnTo>
                  <a:lnTo>
                    <a:pt x="240" y="153"/>
                  </a:lnTo>
                  <a:lnTo>
                    <a:pt x="234" y="153"/>
                  </a:lnTo>
                  <a:lnTo>
                    <a:pt x="229" y="154"/>
                  </a:lnTo>
                  <a:lnTo>
                    <a:pt x="225" y="157"/>
                  </a:lnTo>
                  <a:lnTo>
                    <a:pt x="220" y="159"/>
                  </a:lnTo>
                  <a:lnTo>
                    <a:pt x="217" y="160"/>
                  </a:lnTo>
                  <a:lnTo>
                    <a:pt x="214" y="161"/>
                  </a:lnTo>
                  <a:lnTo>
                    <a:pt x="214" y="161"/>
                  </a:lnTo>
                  <a:lnTo>
                    <a:pt x="214" y="161"/>
                  </a:lnTo>
                  <a:lnTo>
                    <a:pt x="209" y="156"/>
                  </a:lnTo>
                  <a:lnTo>
                    <a:pt x="206" y="151"/>
                  </a:lnTo>
                  <a:lnTo>
                    <a:pt x="206" y="151"/>
                  </a:lnTo>
                  <a:lnTo>
                    <a:pt x="207" y="151"/>
                  </a:lnTo>
                  <a:lnTo>
                    <a:pt x="210" y="153"/>
                  </a:lnTo>
                  <a:lnTo>
                    <a:pt x="213" y="156"/>
                  </a:lnTo>
                  <a:lnTo>
                    <a:pt x="216" y="157"/>
                  </a:lnTo>
                  <a:lnTo>
                    <a:pt x="217" y="157"/>
                  </a:lnTo>
                  <a:lnTo>
                    <a:pt x="217" y="148"/>
                  </a:lnTo>
                  <a:lnTo>
                    <a:pt x="209" y="137"/>
                  </a:lnTo>
                  <a:lnTo>
                    <a:pt x="184" y="118"/>
                  </a:lnTo>
                  <a:lnTo>
                    <a:pt x="184" y="118"/>
                  </a:lnTo>
                  <a:lnTo>
                    <a:pt x="196" y="120"/>
                  </a:lnTo>
                  <a:lnTo>
                    <a:pt x="201" y="121"/>
                  </a:lnTo>
                  <a:lnTo>
                    <a:pt x="201" y="120"/>
                  </a:lnTo>
                  <a:lnTo>
                    <a:pt x="198" y="118"/>
                  </a:lnTo>
                  <a:lnTo>
                    <a:pt x="195" y="115"/>
                  </a:lnTo>
                  <a:lnTo>
                    <a:pt x="189" y="114"/>
                  </a:lnTo>
                  <a:lnTo>
                    <a:pt x="184" y="111"/>
                  </a:lnTo>
                  <a:lnTo>
                    <a:pt x="183" y="111"/>
                  </a:lnTo>
                  <a:lnTo>
                    <a:pt x="189" y="98"/>
                  </a:lnTo>
                  <a:lnTo>
                    <a:pt x="173" y="101"/>
                  </a:lnTo>
                  <a:lnTo>
                    <a:pt x="173" y="101"/>
                  </a:lnTo>
                  <a:lnTo>
                    <a:pt x="173" y="101"/>
                  </a:lnTo>
                  <a:lnTo>
                    <a:pt x="173" y="102"/>
                  </a:lnTo>
                  <a:lnTo>
                    <a:pt x="174" y="105"/>
                  </a:lnTo>
                  <a:lnTo>
                    <a:pt x="174" y="107"/>
                  </a:lnTo>
                  <a:lnTo>
                    <a:pt x="174" y="110"/>
                  </a:lnTo>
                  <a:lnTo>
                    <a:pt x="176" y="113"/>
                  </a:lnTo>
                  <a:lnTo>
                    <a:pt x="176" y="114"/>
                  </a:lnTo>
                  <a:lnTo>
                    <a:pt x="176" y="114"/>
                  </a:lnTo>
                  <a:lnTo>
                    <a:pt x="176" y="114"/>
                  </a:lnTo>
                  <a:lnTo>
                    <a:pt x="170" y="110"/>
                  </a:lnTo>
                  <a:lnTo>
                    <a:pt x="163" y="107"/>
                  </a:lnTo>
                  <a:lnTo>
                    <a:pt x="157" y="104"/>
                  </a:lnTo>
                  <a:lnTo>
                    <a:pt x="151" y="102"/>
                  </a:lnTo>
                  <a:lnTo>
                    <a:pt x="145" y="99"/>
                  </a:lnTo>
                  <a:lnTo>
                    <a:pt x="138" y="98"/>
                  </a:lnTo>
                  <a:lnTo>
                    <a:pt x="134" y="96"/>
                  </a:lnTo>
                  <a:lnTo>
                    <a:pt x="129" y="96"/>
                  </a:lnTo>
                  <a:lnTo>
                    <a:pt x="124" y="96"/>
                  </a:lnTo>
                  <a:lnTo>
                    <a:pt x="120" y="96"/>
                  </a:lnTo>
                  <a:lnTo>
                    <a:pt x="115" y="96"/>
                  </a:lnTo>
                  <a:lnTo>
                    <a:pt x="112" y="96"/>
                  </a:lnTo>
                  <a:lnTo>
                    <a:pt x="109" y="96"/>
                  </a:lnTo>
                  <a:lnTo>
                    <a:pt x="108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8" y="96"/>
                  </a:lnTo>
                  <a:lnTo>
                    <a:pt x="109" y="94"/>
                  </a:lnTo>
                  <a:lnTo>
                    <a:pt x="112" y="94"/>
                  </a:lnTo>
                  <a:lnTo>
                    <a:pt x="115" y="94"/>
                  </a:lnTo>
                  <a:lnTo>
                    <a:pt x="118" y="93"/>
                  </a:lnTo>
                  <a:lnTo>
                    <a:pt x="120" y="93"/>
                  </a:lnTo>
                  <a:lnTo>
                    <a:pt x="121" y="93"/>
                  </a:lnTo>
                  <a:lnTo>
                    <a:pt x="121" y="93"/>
                  </a:lnTo>
                  <a:lnTo>
                    <a:pt x="132" y="93"/>
                  </a:lnTo>
                  <a:lnTo>
                    <a:pt x="138" y="91"/>
                  </a:lnTo>
                  <a:lnTo>
                    <a:pt x="138" y="91"/>
                  </a:lnTo>
                  <a:lnTo>
                    <a:pt x="137" y="88"/>
                  </a:lnTo>
                  <a:lnTo>
                    <a:pt x="131" y="88"/>
                  </a:lnTo>
                  <a:lnTo>
                    <a:pt x="126" y="87"/>
                  </a:lnTo>
                  <a:lnTo>
                    <a:pt x="123" y="85"/>
                  </a:lnTo>
                  <a:lnTo>
                    <a:pt x="120" y="85"/>
                  </a:lnTo>
                  <a:lnTo>
                    <a:pt x="94" y="91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2" y="96"/>
                  </a:lnTo>
                  <a:lnTo>
                    <a:pt x="79" y="96"/>
                  </a:lnTo>
                  <a:lnTo>
                    <a:pt x="75" y="96"/>
                  </a:lnTo>
                  <a:lnTo>
                    <a:pt x="72" y="96"/>
                  </a:lnTo>
                  <a:lnTo>
                    <a:pt x="68" y="96"/>
                  </a:lnTo>
                  <a:lnTo>
                    <a:pt x="66" y="98"/>
                  </a:lnTo>
                  <a:lnTo>
                    <a:pt x="65" y="98"/>
                  </a:lnTo>
                  <a:lnTo>
                    <a:pt x="65" y="98"/>
                  </a:lnTo>
                  <a:lnTo>
                    <a:pt x="54" y="102"/>
                  </a:lnTo>
                  <a:lnTo>
                    <a:pt x="46" y="105"/>
                  </a:lnTo>
                  <a:lnTo>
                    <a:pt x="43" y="105"/>
                  </a:lnTo>
                  <a:lnTo>
                    <a:pt x="45" y="104"/>
                  </a:lnTo>
                  <a:lnTo>
                    <a:pt x="48" y="102"/>
                  </a:lnTo>
                  <a:lnTo>
                    <a:pt x="52" y="99"/>
                  </a:lnTo>
                  <a:lnTo>
                    <a:pt x="55" y="98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61" y="93"/>
                  </a:lnTo>
                  <a:lnTo>
                    <a:pt x="63" y="90"/>
                  </a:lnTo>
                  <a:lnTo>
                    <a:pt x="63" y="88"/>
                  </a:lnTo>
                  <a:lnTo>
                    <a:pt x="60" y="88"/>
                  </a:lnTo>
                  <a:lnTo>
                    <a:pt x="57" y="88"/>
                  </a:lnTo>
                  <a:lnTo>
                    <a:pt x="54" y="90"/>
                  </a:lnTo>
                  <a:lnTo>
                    <a:pt x="51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2" y="84"/>
                  </a:lnTo>
                  <a:lnTo>
                    <a:pt x="38" y="81"/>
                  </a:lnTo>
                  <a:lnTo>
                    <a:pt x="36" y="83"/>
                  </a:lnTo>
                  <a:lnTo>
                    <a:pt x="36" y="85"/>
                  </a:lnTo>
                  <a:lnTo>
                    <a:pt x="38" y="88"/>
                  </a:lnTo>
                  <a:lnTo>
                    <a:pt x="40" y="93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36" y="102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0" y="111"/>
                  </a:lnTo>
                  <a:lnTo>
                    <a:pt x="27" y="111"/>
                  </a:lnTo>
                  <a:lnTo>
                    <a:pt x="24" y="113"/>
                  </a:lnTo>
                  <a:lnTo>
                    <a:pt x="22" y="114"/>
                  </a:lnTo>
                  <a:lnTo>
                    <a:pt x="19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22" y="110"/>
                  </a:lnTo>
                  <a:lnTo>
                    <a:pt x="24" y="107"/>
                  </a:lnTo>
                  <a:lnTo>
                    <a:pt x="25" y="102"/>
                  </a:lnTo>
                  <a:lnTo>
                    <a:pt x="24" y="101"/>
                  </a:lnTo>
                  <a:lnTo>
                    <a:pt x="22" y="98"/>
                  </a:lnTo>
                  <a:lnTo>
                    <a:pt x="21" y="98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9" y="98"/>
                  </a:lnTo>
                  <a:lnTo>
                    <a:pt x="19" y="98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9" y="94"/>
                  </a:lnTo>
                  <a:lnTo>
                    <a:pt x="18" y="91"/>
                  </a:lnTo>
                  <a:lnTo>
                    <a:pt x="18" y="90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21" y="84"/>
                  </a:lnTo>
                  <a:lnTo>
                    <a:pt x="21" y="78"/>
                  </a:lnTo>
                  <a:lnTo>
                    <a:pt x="18" y="74"/>
                  </a:lnTo>
                  <a:lnTo>
                    <a:pt x="13" y="69"/>
                  </a:lnTo>
                  <a:lnTo>
                    <a:pt x="9" y="66"/>
                  </a:lnTo>
                  <a:lnTo>
                    <a:pt x="5" y="63"/>
                  </a:lnTo>
                  <a:lnTo>
                    <a:pt x="2" y="61"/>
                  </a:lnTo>
                  <a:lnTo>
                    <a:pt x="0" y="61"/>
                  </a:lnTo>
                  <a:lnTo>
                    <a:pt x="0" y="42"/>
                  </a:lnTo>
                  <a:lnTo>
                    <a:pt x="233" y="20"/>
                  </a:lnTo>
                  <a:lnTo>
                    <a:pt x="247" y="47"/>
                  </a:lnTo>
                  <a:lnTo>
                    <a:pt x="485" y="31"/>
                  </a:lnTo>
                  <a:lnTo>
                    <a:pt x="492" y="50"/>
                  </a:lnTo>
                  <a:lnTo>
                    <a:pt x="506" y="50"/>
                  </a:lnTo>
                  <a:lnTo>
                    <a:pt x="506" y="50"/>
                  </a:lnTo>
                  <a:lnTo>
                    <a:pt x="506" y="48"/>
                  </a:lnTo>
                  <a:lnTo>
                    <a:pt x="504" y="45"/>
                  </a:lnTo>
                  <a:lnTo>
                    <a:pt x="504" y="42"/>
                  </a:lnTo>
                  <a:lnTo>
                    <a:pt x="504" y="38"/>
                  </a:lnTo>
                  <a:lnTo>
                    <a:pt x="503" y="33"/>
                  </a:lnTo>
                  <a:lnTo>
                    <a:pt x="503" y="30"/>
                  </a:lnTo>
                  <a:lnTo>
                    <a:pt x="503" y="27"/>
                  </a:lnTo>
                  <a:lnTo>
                    <a:pt x="503" y="25"/>
                  </a:lnTo>
                  <a:lnTo>
                    <a:pt x="503" y="25"/>
                  </a:lnTo>
                  <a:lnTo>
                    <a:pt x="498" y="18"/>
                  </a:lnTo>
                  <a:lnTo>
                    <a:pt x="498" y="11"/>
                  </a:lnTo>
                  <a:lnTo>
                    <a:pt x="498" y="6"/>
                  </a:lnTo>
                  <a:lnTo>
                    <a:pt x="501" y="3"/>
                  </a:lnTo>
                  <a:lnTo>
                    <a:pt x="504" y="0"/>
                  </a:lnTo>
                  <a:lnTo>
                    <a:pt x="506" y="0"/>
                  </a:lnTo>
                  <a:lnTo>
                    <a:pt x="509" y="0"/>
                  </a:lnTo>
                  <a:lnTo>
                    <a:pt x="510" y="0"/>
                  </a:lnTo>
                  <a:lnTo>
                    <a:pt x="510" y="0"/>
                  </a:lnTo>
                  <a:lnTo>
                    <a:pt x="515" y="2"/>
                  </a:lnTo>
                  <a:lnTo>
                    <a:pt x="522" y="3"/>
                  </a:lnTo>
                  <a:lnTo>
                    <a:pt x="527" y="5"/>
                  </a:lnTo>
                  <a:lnTo>
                    <a:pt x="533" y="6"/>
                  </a:lnTo>
                  <a:lnTo>
                    <a:pt x="539" y="6"/>
                  </a:lnTo>
                  <a:lnTo>
                    <a:pt x="542" y="6"/>
                  </a:lnTo>
                  <a:lnTo>
                    <a:pt x="545" y="6"/>
                  </a:lnTo>
                  <a:lnTo>
                    <a:pt x="546" y="6"/>
                  </a:lnTo>
                  <a:lnTo>
                    <a:pt x="551" y="11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" name="Freeform 107"/>
            <p:cNvSpPr>
              <a:spLocks/>
            </p:cNvSpPr>
            <p:nvPr/>
          </p:nvSpPr>
          <p:spPr bwMode="auto">
            <a:xfrm>
              <a:off x="3183668" y="5450201"/>
              <a:ext cx="11454" cy="21113"/>
            </a:xfrm>
            <a:custGeom>
              <a:avLst/>
              <a:gdLst>
                <a:gd name="T0" fmla="*/ 12 w 17"/>
                <a:gd name="T1" fmla="*/ 8 h 32"/>
                <a:gd name="T2" fmla="*/ 12 w 17"/>
                <a:gd name="T3" fmla="*/ 6 h 32"/>
                <a:gd name="T4" fmla="*/ 11 w 17"/>
                <a:gd name="T5" fmla="*/ 5 h 32"/>
                <a:gd name="T6" fmla="*/ 11 w 17"/>
                <a:gd name="T7" fmla="*/ 2 h 32"/>
                <a:gd name="T8" fmla="*/ 11 w 17"/>
                <a:gd name="T9" fmla="*/ 0 h 32"/>
                <a:gd name="T10" fmla="*/ 8 w 17"/>
                <a:gd name="T11" fmla="*/ 0 h 32"/>
                <a:gd name="T12" fmla="*/ 6 w 17"/>
                <a:gd name="T13" fmla="*/ 0 h 32"/>
                <a:gd name="T14" fmla="*/ 1 w 17"/>
                <a:gd name="T15" fmla="*/ 2 h 32"/>
                <a:gd name="T16" fmla="*/ 0 w 17"/>
                <a:gd name="T17" fmla="*/ 8 h 32"/>
                <a:gd name="T18" fmla="*/ 0 w 17"/>
                <a:gd name="T19" fmla="*/ 9 h 32"/>
                <a:gd name="T20" fmla="*/ 0 w 17"/>
                <a:gd name="T21" fmla="*/ 11 h 32"/>
                <a:gd name="T22" fmla="*/ 1 w 17"/>
                <a:gd name="T23" fmla="*/ 12 h 32"/>
                <a:gd name="T24" fmla="*/ 1 w 17"/>
                <a:gd name="T25" fmla="*/ 15 h 32"/>
                <a:gd name="T26" fmla="*/ 4 w 17"/>
                <a:gd name="T27" fmla="*/ 17 h 32"/>
                <a:gd name="T28" fmla="*/ 4 w 17"/>
                <a:gd name="T29" fmla="*/ 18 h 32"/>
                <a:gd name="T30" fmla="*/ 6 w 17"/>
                <a:gd name="T31" fmla="*/ 20 h 32"/>
                <a:gd name="T32" fmla="*/ 6 w 17"/>
                <a:gd name="T33" fmla="*/ 21 h 32"/>
                <a:gd name="T34" fmla="*/ 16 w 17"/>
                <a:gd name="T35" fmla="*/ 31 h 32"/>
                <a:gd name="T36" fmla="*/ 12 w 17"/>
                <a:gd name="T37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" h="32">
                  <a:moveTo>
                    <a:pt x="12" y="8"/>
                  </a:moveTo>
                  <a:lnTo>
                    <a:pt x="12" y="6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1" y="2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1"/>
                  </a:lnTo>
                  <a:lnTo>
                    <a:pt x="1" y="12"/>
                  </a:lnTo>
                  <a:lnTo>
                    <a:pt x="1" y="15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6" y="21"/>
                  </a:lnTo>
                  <a:lnTo>
                    <a:pt x="16" y="31"/>
                  </a:lnTo>
                  <a:lnTo>
                    <a:pt x="12" y="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" name="Freeform 108"/>
            <p:cNvSpPr>
              <a:spLocks/>
            </p:cNvSpPr>
            <p:nvPr/>
          </p:nvSpPr>
          <p:spPr bwMode="auto">
            <a:xfrm>
              <a:off x="3183668" y="5450201"/>
              <a:ext cx="11454" cy="21113"/>
            </a:xfrm>
            <a:custGeom>
              <a:avLst/>
              <a:gdLst>
                <a:gd name="T0" fmla="*/ 12 w 17"/>
                <a:gd name="T1" fmla="*/ 8 h 32"/>
                <a:gd name="T2" fmla="*/ 12 w 17"/>
                <a:gd name="T3" fmla="*/ 8 h 32"/>
                <a:gd name="T4" fmla="*/ 12 w 17"/>
                <a:gd name="T5" fmla="*/ 6 h 32"/>
                <a:gd name="T6" fmla="*/ 11 w 17"/>
                <a:gd name="T7" fmla="*/ 5 h 32"/>
                <a:gd name="T8" fmla="*/ 11 w 17"/>
                <a:gd name="T9" fmla="*/ 2 h 32"/>
                <a:gd name="T10" fmla="*/ 11 w 17"/>
                <a:gd name="T11" fmla="*/ 0 h 32"/>
                <a:gd name="T12" fmla="*/ 8 w 17"/>
                <a:gd name="T13" fmla="*/ 0 h 32"/>
                <a:gd name="T14" fmla="*/ 6 w 17"/>
                <a:gd name="T15" fmla="*/ 0 h 32"/>
                <a:gd name="T16" fmla="*/ 1 w 17"/>
                <a:gd name="T17" fmla="*/ 2 h 32"/>
                <a:gd name="T18" fmla="*/ 0 w 17"/>
                <a:gd name="T19" fmla="*/ 8 h 32"/>
                <a:gd name="T20" fmla="*/ 0 w 17"/>
                <a:gd name="T21" fmla="*/ 8 h 32"/>
                <a:gd name="T22" fmla="*/ 0 w 17"/>
                <a:gd name="T23" fmla="*/ 9 h 32"/>
                <a:gd name="T24" fmla="*/ 0 w 17"/>
                <a:gd name="T25" fmla="*/ 11 h 32"/>
                <a:gd name="T26" fmla="*/ 1 w 17"/>
                <a:gd name="T27" fmla="*/ 12 h 32"/>
                <a:gd name="T28" fmla="*/ 1 w 17"/>
                <a:gd name="T29" fmla="*/ 15 h 32"/>
                <a:gd name="T30" fmla="*/ 4 w 17"/>
                <a:gd name="T31" fmla="*/ 17 h 32"/>
                <a:gd name="T32" fmla="*/ 4 w 17"/>
                <a:gd name="T33" fmla="*/ 18 h 32"/>
                <a:gd name="T34" fmla="*/ 6 w 17"/>
                <a:gd name="T35" fmla="*/ 20 h 32"/>
                <a:gd name="T36" fmla="*/ 6 w 17"/>
                <a:gd name="T37" fmla="*/ 21 h 32"/>
                <a:gd name="T38" fmla="*/ 16 w 17"/>
                <a:gd name="T39" fmla="*/ 31 h 32"/>
                <a:gd name="T40" fmla="*/ 12 w 17"/>
                <a:gd name="T41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32">
                  <a:moveTo>
                    <a:pt x="12" y="8"/>
                  </a:moveTo>
                  <a:lnTo>
                    <a:pt x="12" y="8"/>
                  </a:lnTo>
                  <a:lnTo>
                    <a:pt x="12" y="6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1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1"/>
                  </a:lnTo>
                  <a:lnTo>
                    <a:pt x="1" y="12"/>
                  </a:lnTo>
                  <a:lnTo>
                    <a:pt x="1" y="15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6" y="21"/>
                  </a:lnTo>
                  <a:lnTo>
                    <a:pt x="16" y="31"/>
                  </a:lnTo>
                  <a:lnTo>
                    <a:pt x="12" y="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" name="Freeform 109"/>
            <p:cNvSpPr>
              <a:spLocks/>
            </p:cNvSpPr>
            <p:nvPr/>
          </p:nvSpPr>
          <p:spPr bwMode="auto">
            <a:xfrm>
              <a:off x="3227673" y="5671263"/>
              <a:ext cx="21099" cy="35395"/>
            </a:xfrm>
            <a:custGeom>
              <a:avLst/>
              <a:gdLst>
                <a:gd name="T0" fmla="*/ 30 w 31"/>
                <a:gd name="T1" fmla="*/ 0 h 52"/>
                <a:gd name="T2" fmla="*/ 30 w 31"/>
                <a:gd name="T3" fmla="*/ 0 h 52"/>
                <a:gd name="T4" fmla="*/ 30 w 31"/>
                <a:gd name="T5" fmla="*/ 0 h 52"/>
                <a:gd name="T6" fmla="*/ 30 w 31"/>
                <a:gd name="T7" fmla="*/ 2 h 52"/>
                <a:gd name="T8" fmla="*/ 30 w 31"/>
                <a:gd name="T9" fmla="*/ 3 h 52"/>
                <a:gd name="T10" fmla="*/ 28 w 31"/>
                <a:gd name="T11" fmla="*/ 6 h 52"/>
                <a:gd name="T12" fmla="*/ 28 w 31"/>
                <a:gd name="T13" fmla="*/ 9 h 52"/>
                <a:gd name="T14" fmla="*/ 27 w 31"/>
                <a:gd name="T15" fmla="*/ 12 h 52"/>
                <a:gd name="T16" fmla="*/ 25 w 31"/>
                <a:gd name="T17" fmla="*/ 16 h 52"/>
                <a:gd name="T18" fmla="*/ 24 w 31"/>
                <a:gd name="T19" fmla="*/ 19 h 52"/>
                <a:gd name="T20" fmla="*/ 22 w 31"/>
                <a:gd name="T21" fmla="*/ 24 h 52"/>
                <a:gd name="T22" fmla="*/ 19 w 31"/>
                <a:gd name="T23" fmla="*/ 27 h 52"/>
                <a:gd name="T24" fmla="*/ 16 w 31"/>
                <a:gd name="T25" fmla="*/ 32 h 52"/>
                <a:gd name="T26" fmla="*/ 13 w 31"/>
                <a:gd name="T27" fmla="*/ 36 h 52"/>
                <a:gd name="T28" fmla="*/ 9 w 31"/>
                <a:gd name="T29" fmla="*/ 40 h 52"/>
                <a:gd name="T30" fmla="*/ 4 w 31"/>
                <a:gd name="T31" fmla="*/ 46 h 52"/>
                <a:gd name="T32" fmla="*/ 0 w 31"/>
                <a:gd name="T33" fmla="*/ 51 h 52"/>
                <a:gd name="T34" fmla="*/ 0 w 31"/>
                <a:gd name="T35" fmla="*/ 51 h 52"/>
                <a:gd name="T36" fmla="*/ 0 w 31"/>
                <a:gd name="T37" fmla="*/ 49 h 52"/>
                <a:gd name="T38" fmla="*/ 0 w 31"/>
                <a:gd name="T39" fmla="*/ 48 h 52"/>
                <a:gd name="T40" fmla="*/ 0 w 31"/>
                <a:gd name="T41" fmla="*/ 46 h 52"/>
                <a:gd name="T42" fmla="*/ 15 w 31"/>
                <a:gd name="T43" fmla="*/ 29 h 52"/>
                <a:gd name="T44" fmla="*/ 15 w 31"/>
                <a:gd name="T45" fmla="*/ 22 h 52"/>
                <a:gd name="T46" fmla="*/ 15 w 31"/>
                <a:gd name="T47" fmla="*/ 21 h 52"/>
                <a:gd name="T48" fmla="*/ 16 w 31"/>
                <a:gd name="T49" fmla="*/ 21 h 52"/>
                <a:gd name="T50" fmla="*/ 18 w 31"/>
                <a:gd name="T51" fmla="*/ 19 h 52"/>
                <a:gd name="T52" fmla="*/ 19 w 31"/>
                <a:gd name="T53" fmla="*/ 18 h 52"/>
                <a:gd name="T54" fmla="*/ 21 w 31"/>
                <a:gd name="T55" fmla="*/ 15 h 52"/>
                <a:gd name="T56" fmla="*/ 22 w 31"/>
                <a:gd name="T57" fmla="*/ 12 h 52"/>
                <a:gd name="T58" fmla="*/ 24 w 31"/>
                <a:gd name="T59" fmla="*/ 9 h 52"/>
                <a:gd name="T60" fmla="*/ 24 w 31"/>
                <a:gd name="T61" fmla="*/ 3 h 52"/>
                <a:gd name="T62" fmla="*/ 25 w 31"/>
                <a:gd name="T63" fmla="*/ 2 h 52"/>
                <a:gd name="T64" fmla="*/ 27 w 31"/>
                <a:gd name="T65" fmla="*/ 0 h 52"/>
                <a:gd name="T66" fmla="*/ 28 w 31"/>
                <a:gd name="T67" fmla="*/ 0 h 52"/>
                <a:gd name="T68" fmla="*/ 30 w 31"/>
                <a:gd name="T6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52">
                  <a:moveTo>
                    <a:pt x="30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28" y="6"/>
                  </a:lnTo>
                  <a:lnTo>
                    <a:pt x="28" y="9"/>
                  </a:lnTo>
                  <a:lnTo>
                    <a:pt x="27" y="12"/>
                  </a:lnTo>
                  <a:lnTo>
                    <a:pt x="25" y="16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7"/>
                  </a:lnTo>
                  <a:lnTo>
                    <a:pt x="16" y="32"/>
                  </a:lnTo>
                  <a:lnTo>
                    <a:pt x="13" y="36"/>
                  </a:lnTo>
                  <a:lnTo>
                    <a:pt x="9" y="40"/>
                  </a:lnTo>
                  <a:lnTo>
                    <a:pt x="4" y="46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15" y="29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8" y="19"/>
                  </a:lnTo>
                  <a:lnTo>
                    <a:pt x="19" y="18"/>
                  </a:lnTo>
                  <a:lnTo>
                    <a:pt x="21" y="15"/>
                  </a:lnTo>
                  <a:lnTo>
                    <a:pt x="22" y="12"/>
                  </a:lnTo>
                  <a:lnTo>
                    <a:pt x="24" y="9"/>
                  </a:lnTo>
                  <a:lnTo>
                    <a:pt x="24" y="3"/>
                  </a:lnTo>
                  <a:lnTo>
                    <a:pt x="25" y="2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30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" name="Freeform 110"/>
            <p:cNvSpPr>
              <a:spLocks/>
            </p:cNvSpPr>
            <p:nvPr/>
          </p:nvSpPr>
          <p:spPr bwMode="auto">
            <a:xfrm>
              <a:off x="3227673" y="5671263"/>
              <a:ext cx="21099" cy="35395"/>
            </a:xfrm>
            <a:custGeom>
              <a:avLst/>
              <a:gdLst>
                <a:gd name="T0" fmla="*/ 30 w 31"/>
                <a:gd name="T1" fmla="*/ 0 h 52"/>
                <a:gd name="T2" fmla="*/ 30 w 31"/>
                <a:gd name="T3" fmla="*/ 0 h 52"/>
                <a:gd name="T4" fmla="*/ 30 w 31"/>
                <a:gd name="T5" fmla="*/ 0 h 52"/>
                <a:gd name="T6" fmla="*/ 30 w 31"/>
                <a:gd name="T7" fmla="*/ 0 h 52"/>
                <a:gd name="T8" fmla="*/ 30 w 31"/>
                <a:gd name="T9" fmla="*/ 2 h 52"/>
                <a:gd name="T10" fmla="*/ 30 w 31"/>
                <a:gd name="T11" fmla="*/ 3 h 52"/>
                <a:gd name="T12" fmla="*/ 28 w 31"/>
                <a:gd name="T13" fmla="*/ 6 h 52"/>
                <a:gd name="T14" fmla="*/ 28 w 31"/>
                <a:gd name="T15" fmla="*/ 9 h 52"/>
                <a:gd name="T16" fmla="*/ 27 w 31"/>
                <a:gd name="T17" fmla="*/ 12 h 52"/>
                <a:gd name="T18" fmla="*/ 25 w 31"/>
                <a:gd name="T19" fmla="*/ 16 h 52"/>
                <a:gd name="T20" fmla="*/ 24 w 31"/>
                <a:gd name="T21" fmla="*/ 19 h 52"/>
                <a:gd name="T22" fmla="*/ 22 w 31"/>
                <a:gd name="T23" fmla="*/ 24 h 52"/>
                <a:gd name="T24" fmla="*/ 19 w 31"/>
                <a:gd name="T25" fmla="*/ 27 h 52"/>
                <a:gd name="T26" fmla="*/ 16 w 31"/>
                <a:gd name="T27" fmla="*/ 32 h 52"/>
                <a:gd name="T28" fmla="*/ 13 w 31"/>
                <a:gd name="T29" fmla="*/ 36 h 52"/>
                <a:gd name="T30" fmla="*/ 9 w 31"/>
                <a:gd name="T31" fmla="*/ 40 h 52"/>
                <a:gd name="T32" fmla="*/ 4 w 31"/>
                <a:gd name="T33" fmla="*/ 46 h 52"/>
                <a:gd name="T34" fmla="*/ 0 w 31"/>
                <a:gd name="T35" fmla="*/ 51 h 52"/>
                <a:gd name="T36" fmla="*/ 0 w 31"/>
                <a:gd name="T37" fmla="*/ 51 h 52"/>
                <a:gd name="T38" fmla="*/ 0 w 31"/>
                <a:gd name="T39" fmla="*/ 51 h 52"/>
                <a:gd name="T40" fmla="*/ 0 w 31"/>
                <a:gd name="T41" fmla="*/ 49 h 52"/>
                <a:gd name="T42" fmla="*/ 0 w 31"/>
                <a:gd name="T43" fmla="*/ 48 h 52"/>
                <a:gd name="T44" fmla="*/ 0 w 31"/>
                <a:gd name="T45" fmla="*/ 46 h 52"/>
                <a:gd name="T46" fmla="*/ 15 w 31"/>
                <a:gd name="T47" fmla="*/ 29 h 52"/>
                <a:gd name="T48" fmla="*/ 15 w 31"/>
                <a:gd name="T49" fmla="*/ 22 h 52"/>
                <a:gd name="T50" fmla="*/ 15 w 31"/>
                <a:gd name="T51" fmla="*/ 22 h 52"/>
                <a:gd name="T52" fmla="*/ 15 w 31"/>
                <a:gd name="T53" fmla="*/ 21 h 52"/>
                <a:gd name="T54" fmla="*/ 16 w 31"/>
                <a:gd name="T55" fmla="*/ 21 h 52"/>
                <a:gd name="T56" fmla="*/ 18 w 31"/>
                <a:gd name="T57" fmla="*/ 19 h 52"/>
                <a:gd name="T58" fmla="*/ 19 w 31"/>
                <a:gd name="T59" fmla="*/ 18 h 52"/>
                <a:gd name="T60" fmla="*/ 21 w 31"/>
                <a:gd name="T61" fmla="*/ 15 h 52"/>
                <a:gd name="T62" fmla="*/ 22 w 31"/>
                <a:gd name="T63" fmla="*/ 12 h 52"/>
                <a:gd name="T64" fmla="*/ 24 w 31"/>
                <a:gd name="T65" fmla="*/ 9 h 52"/>
                <a:gd name="T66" fmla="*/ 24 w 31"/>
                <a:gd name="T67" fmla="*/ 3 h 52"/>
                <a:gd name="T68" fmla="*/ 24 w 31"/>
                <a:gd name="T69" fmla="*/ 3 h 52"/>
                <a:gd name="T70" fmla="*/ 25 w 31"/>
                <a:gd name="T71" fmla="*/ 2 h 52"/>
                <a:gd name="T72" fmla="*/ 27 w 31"/>
                <a:gd name="T73" fmla="*/ 0 h 52"/>
                <a:gd name="T74" fmla="*/ 28 w 31"/>
                <a:gd name="T75" fmla="*/ 0 h 52"/>
                <a:gd name="T76" fmla="*/ 30 w 31"/>
                <a:gd name="T7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" h="52">
                  <a:moveTo>
                    <a:pt x="30" y="0"/>
                  </a:move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28" y="6"/>
                  </a:lnTo>
                  <a:lnTo>
                    <a:pt x="28" y="9"/>
                  </a:lnTo>
                  <a:lnTo>
                    <a:pt x="27" y="12"/>
                  </a:lnTo>
                  <a:lnTo>
                    <a:pt x="25" y="16"/>
                  </a:lnTo>
                  <a:lnTo>
                    <a:pt x="24" y="19"/>
                  </a:lnTo>
                  <a:lnTo>
                    <a:pt x="22" y="24"/>
                  </a:lnTo>
                  <a:lnTo>
                    <a:pt x="19" y="27"/>
                  </a:lnTo>
                  <a:lnTo>
                    <a:pt x="16" y="32"/>
                  </a:lnTo>
                  <a:lnTo>
                    <a:pt x="13" y="36"/>
                  </a:lnTo>
                  <a:lnTo>
                    <a:pt x="9" y="40"/>
                  </a:lnTo>
                  <a:lnTo>
                    <a:pt x="4" y="46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15" y="29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8" y="19"/>
                  </a:lnTo>
                  <a:lnTo>
                    <a:pt x="19" y="18"/>
                  </a:lnTo>
                  <a:lnTo>
                    <a:pt x="21" y="15"/>
                  </a:lnTo>
                  <a:lnTo>
                    <a:pt x="22" y="12"/>
                  </a:lnTo>
                  <a:lnTo>
                    <a:pt x="24" y="9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2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30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" name="Freeform 111"/>
            <p:cNvSpPr>
              <a:spLocks/>
            </p:cNvSpPr>
            <p:nvPr/>
          </p:nvSpPr>
          <p:spPr bwMode="auto">
            <a:xfrm>
              <a:off x="3248772" y="5656981"/>
              <a:ext cx="11454" cy="11177"/>
            </a:xfrm>
            <a:custGeom>
              <a:avLst/>
              <a:gdLst>
                <a:gd name="T0" fmla="*/ 0 w 17"/>
                <a:gd name="T1" fmla="*/ 8 h 17"/>
                <a:gd name="T2" fmla="*/ 5 w 17"/>
                <a:gd name="T3" fmla="*/ 4 h 17"/>
                <a:gd name="T4" fmla="*/ 5 w 17"/>
                <a:gd name="T5" fmla="*/ 2 h 17"/>
                <a:gd name="T6" fmla="*/ 5 w 17"/>
                <a:gd name="T7" fmla="*/ 0 h 17"/>
                <a:gd name="T8" fmla="*/ 8 w 17"/>
                <a:gd name="T9" fmla="*/ 0 h 17"/>
                <a:gd name="T10" fmla="*/ 13 w 17"/>
                <a:gd name="T11" fmla="*/ 0 h 17"/>
                <a:gd name="T12" fmla="*/ 16 w 17"/>
                <a:gd name="T13" fmla="*/ 2 h 17"/>
                <a:gd name="T14" fmla="*/ 16 w 17"/>
                <a:gd name="T15" fmla="*/ 4 h 17"/>
                <a:gd name="T16" fmla="*/ 16 w 17"/>
                <a:gd name="T17" fmla="*/ 8 h 17"/>
                <a:gd name="T18" fmla="*/ 16 w 17"/>
                <a:gd name="T19" fmla="*/ 11 h 17"/>
                <a:gd name="T20" fmla="*/ 16 w 17"/>
                <a:gd name="T21" fmla="*/ 14 h 17"/>
                <a:gd name="T22" fmla="*/ 13 w 17"/>
                <a:gd name="T23" fmla="*/ 16 h 17"/>
                <a:gd name="T24" fmla="*/ 8 w 17"/>
                <a:gd name="T25" fmla="*/ 16 h 17"/>
                <a:gd name="T26" fmla="*/ 5 w 17"/>
                <a:gd name="T27" fmla="*/ 16 h 17"/>
                <a:gd name="T28" fmla="*/ 5 w 17"/>
                <a:gd name="T29" fmla="*/ 14 h 17"/>
                <a:gd name="T30" fmla="*/ 5 w 17"/>
                <a:gd name="T31" fmla="*/ 11 h 17"/>
                <a:gd name="T32" fmla="*/ 0 w 17"/>
                <a:gd name="T3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1"/>
                  </a:lnTo>
                  <a:lnTo>
                    <a:pt x="16" y="14"/>
                  </a:lnTo>
                  <a:lnTo>
                    <a:pt x="13" y="16"/>
                  </a:lnTo>
                  <a:lnTo>
                    <a:pt x="8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1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" name="Freeform 112"/>
            <p:cNvSpPr>
              <a:spLocks/>
            </p:cNvSpPr>
            <p:nvPr/>
          </p:nvSpPr>
          <p:spPr bwMode="auto">
            <a:xfrm>
              <a:off x="3248772" y="5656981"/>
              <a:ext cx="11454" cy="11177"/>
            </a:xfrm>
            <a:custGeom>
              <a:avLst/>
              <a:gdLst>
                <a:gd name="T0" fmla="*/ 0 w 17"/>
                <a:gd name="T1" fmla="*/ 8 h 17"/>
                <a:gd name="T2" fmla="*/ 0 w 17"/>
                <a:gd name="T3" fmla="*/ 8 h 17"/>
                <a:gd name="T4" fmla="*/ 5 w 17"/>
                <a:gd name="T5" fmla="*/ 4 h 17"/>
                <a:gd name="T6" fmla="*/ 5 w 17"/>
                <a:gd name="T7" fmla="*/ 2 h 17"/>
                <a:gd name="T8" fmla="*/ 5 w 17"/>
                <a:gd name="T9" fmla="*/ 0 h 17"/>
                <a:gd name="T10" fmla="*/ 8 w 17"/>
                <a:gd name="T11" fmla="*/ 0 h 17"/>
                <a:gd name="T12" fmla="*/ 8 w 17"/>
                <a:gd name="T13" fmla="*/ 0 h 17"/>
                <a:gd name="T14" fmla="*/ 13 w 17"/>
                <a:gd name="T15" fmla="*/ 0 h 17"/>
                <a:gd name="T16" fmla="*/ 16 w 17"/>
                <a:gd name="T17" fmla="*/ 2 h 17"/>
                <a:gd name="T18" fmla="*/ 16 w 17"/>
                <a:gd name="T19" fmla="*/ 4 h 17"/>
                <a:gd name="T20" fmla="*/ 16 w 17"/>
                <a:gd name="T21" fmla="*/ 8 h 17"/>
                <a:gd name="T22" fmla="*/ 16 w 17"/>
                <a:gd name="T23" fmla="*/ 8 h 17"/>
                <a:gd name="T24" fmla="*/ 16 w 17"/>
                <a:gd name="T25" fmla="*/ 11 h 17"/>
                <a:gd name="T26" fmla="*/ 16 w 17"/>
                <a:gd name="T27" fmla="*/ 14 h 17"/>
                <a:gd name="T28" fmla="*/ 13 w 17"/>
                <a:gd name="T29" fmla="*/ 16 h 17"/>
                <a:gd name="T30" fmla="*/ 8 w 17"/>
                <a:gd name="T31" fmla="*/ 16 h 17"/>
                <a:gd name="T32" fmla="*/ 8 w 17"/>
                <a:gd name="T33" fmla="*/ 16 h 17"/>
                <a:gd name="T34" fmla="*/ 5 w 17"/>
                <a:gd name="T35" fmla="*/ 16 h 17"/>
                <a:gd name="T36" fmla="*/ 5 w 17"/>
                <a:gd name="T37" fmla="*/ 14 h 17"/>
                <a:gd name="T38" fmla="*/ 5 w 17"/>
                <a:gd name="T39" fmla="*/ 11 h 17"/>
                <a:gd name="T40" fmla="*/ 0 w 17"/>
                <a:gd name="T4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0" y="8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1"/>
                  </a:lnTo>
                  <a:lnTo>
                    <a:pt x="16" y="14"/>
                  </a:lnTo>
                  <a:lnTo>
                    <a:pt x="13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1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" name="Freeform 113"/>
            <p:cNvSpPr>
              <a:spLocks/>
            </p:cNvSpPr>
            <p:nvPr/>
          </p:nvSpPr>
          <p:spPr bwMode="auto">
            <a:xfrm>
              <a:off x="3250580" y="5642077"/>
              <a:ext cx="11454" cy="11177"/>
            </a:xfrm>
            <a:custGeom>
              <a:avLst/>
              <a:gdLst>
                <a:gd name="T0" fmla="*/ 0 w 17"/>
                <a:gd name="T1" fmla="*/ 8 h 17"/>
                <a:gd name="T2" fmla="*/ 0 w 17"/>
                <a:gd name="T3" fmla="*/ 5 h 17"/>
                <a:gd name="T4" fmla="*/ 0 w 17"/>
                <a:gd name="T5" fmla="*/ 3 h 17"/>
                <a:gd name="T6" fmla="*/ 6 w 17"/>
                <a:gd name="T7" fmla="*/ 3 h 17"/>
                <a:gd name="T8" fmla="*/ 6 w 17"/>
                <a:gd name="T9" fmla="*/ 0 h 17"/>
                <a:gd name="T10" fmla="*/ 9 w 17"/>
                <a:gd name="T11" fmla="*/ 3 h 17"/>
                <a:gd name="T12" fmla="*/ 9 w 17"/>
                <a:gd name="T13" fmla="*/ 3 h 17"/>
                <a:gd name="T14" fmla="*/ 9 w 17"/>
                <a:gd name="T15" fmla="*/ 5 h 17"/>
                <a:gd name="T16" fmla="*/ 16 w 17"/>
                <a:gd name="T17" fmla="*/ 8 h 17"/>
                <a:gd name="T18" fmla="*/ 9 w 17"/>
                <a:gd name="T19" fmla="*/ 10 h 17"/>
                <a:gd name="T20" fmla="*/ 9 w 17"/>
                <a:gd name="T21" fmla="*/ 14 h 17"/>
                <a:gd name="T22" fmla="*/ 9 w 17"/>
                <a:gd name="T23" fmla="*/ 16 h 17"/>
                <a:gd name="T24" fmla="*/ 6 w 17"/>
                <a:gd name="T25" fmla="*/ 16 h 17"/>
                <a:gd name="T26" fmla="*/ 6 w 17"/>
                <a:gd name="T27" fmla="*/ 16 h 17"/>
                <a:gd name="T28" fmla="*/ 0 w 17"/>
                <a:gd name="T29" fmla="*/ 14 h 17"/>
                <a:gd name="T30" fmla="*/ 0 w 17"/>
                <a:gd name="T31" fmla="*/ 10 h 17"/>
                <a:gd name="T32" fmla="*/ 0 w 17"/>
                <a:gd name="T3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5"/>
                  </a:lnTo>
                  <a:lnTo>
                    <a:pt x="16" y="8"/>
                  </a:lnTo>
                  <a:lnTo>
                    <a:pt x="9" y="10"/>
                  </a:lnTo>
                  <a:lnTo>
                    <a:pt x="9" y="14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" name="Freeform 114"/>
            <p:cNvSpPr>
              <a:spLocks/>
            </p:cNvSpPr>
            <p:nvPr/>
          </p:nvSpPr>
          <p:spPr bwMode="auto">
            <a:xfrm>
              <a:off x="3250580" y="5642077"/>
              <a:ext cx="11454" cy="11177"/>
            </a:xfrm>
            <a:custGeom>
              <a:avLst/>
              <a:gdLst>
                <a:gd name="T0" fmla="*/ 0 w 17"/>
                <a:gd name="T1" fmla="*/ 8 h 17"/>
                <a:gd name="T2" fmla="*/ 0 w 17"/>
                <a:gd name="T3" fmla="*/ 8 h 17"/>
                <a:gd name="T4" fmla="*/ 0 w 17"/>
                <a:gd name="T5" fmla="*/ 5 h 17"/>
                <a:gd name="T6" fmla="*/ 0 w 17"/>
                <a:gd name="T7" fmla="*/ 3 h 17"/>
                <a:gd name="T8" fmla="*/ 6 w 17"/>
                <a:gd name="T9" fmla="*/ 3 h 17"/>
                <a:gd name="T10" fmla="*/ 6 w 17"/>
                <a:gd name="T11" fmla="*/ 0 h 17"/>
                <a:gd name="T12" fmla="*/ 6 w 17"/>
                <a:gd name="T13" fmla="*/ 0 h 17"/>
                <a:gd name="T14" fmla="*/ 9 w 17"/>
                <a:gd name="T15" fmla="*/ 3 h 17"/>
                <a:gd name="T16" fmla="*/ 9 w 17"/>
                <a:gd name="T17" fmla="*/ 3 h 17"/>
                <a:gd name="T18" fmla="*/ 9 w 17"/>
                <a:gd name="T19" fmla="*/ 5 h 17"/>
                <a:gd name="T20" fmla="*/ 16 w 17"/>
                <a:gd name="T21" fmla="*/ 8 h 17"/>
                <a:gd name="T22" fmla="*/ 16 w 17"/>
                <a:gd name="T23" fmla="*/ 8 h 17"/>
                <a:gd name="T24" fmla="*/ 9 w 17"/>
                <a:gd name="T25" fmla="*/ 10 h 17"/>
                <a:gd name="T26" fmla="*/ 9 w 17"/>
                <a:gd name="T27" fmla="*/ 14 h 17"/>
                <a:gd name="T28" fmla="*/ 9 w 17"/>
                <a:gd name="T29" fmla="*/ 16 h 17"/>
                <a:gd name="T30" fmla="*/ 6 w 17"/>
                <a:gd name="T31" fmla="*/ 16 h 17"/>
                <a:gd name="T32" fmla="*/ 6 w 17"/>
                <a:gd name="T33" fmla="*/ 16 h 17"/>
                <a:gd name="T34" fmla="*/ 6 w 17"/>
                <a:gd name="T35" fmla="*/ 16 h 17"/>
                <a:gd name="T36" fmla="*/ 0 w 17"/>
                <a:gd name="T37" fmla="*/ 14 h 17"/>
                <a:gd name="T38" fmla="*/ 0 w 17"/>
                <a:gd name="T39" fmla="*/ 10 h 17"/>
                <a:gd name="T40" fmla="*/ 0 w 17"/>
                <a:gd name="T4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0" y="8"/>
                  </a:lnTo>
                  <a:lnTo>
                    <a:pt x="0" y="5"/>
                  </a:lnTo>
                  <a:lnTo>
                    <a:pt x="0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9" y="10"/>
                  </a:lnTo>
                  <a:lnTo>
                    <a:pt x="9" y="14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" name="Freeform 115"/>
            <p:cNvSpPr>
              <a:spLocks/>
            </p:cNvSpPr>
            <p:nvPr/>
          </p:nvSpPr>
          <p:spPr bwMode="auto">
            <a:xfrm>
              <a:off x="3180051" y="5724665"/>
              <a:ext cx="11454" cy="11177"/>
            </a:xfrm>
            <a:custGeom>
              <a:avLst/>
              <a:gdLst>
                <a:gd name="T0" fmla="*/ 0 w 17"/>
                <a:gd name="T1" fmla="*/ 7 h 17"/>
                <a:gd name="T2" fmla="*/ 4 w 17"/>
                <a:gd name="T3" fmla="*/ 5 h 17"/>
                <a:gd name="T4" fmla="*/ 4 w 17"/>
                <a:gd name="T5" fmla="*/ 0 h 17"/>
                <a:gd name="T6" fmla="*/ 6 w 17"/>
                <a:gd name="T7" fmla="*/ 0 h 17"/>
                <a:gd name="T8" fmla="*/ 10 w 17"/>
                <a:gd name="T9" fmla="*/ 0 h 17"/>
                <a:gd name="T10" fmla="*/ 10 w 17"/>
                <a:gd name="T11" fmla="*/ 0 h 17"/>
                <a:gd name="T12" fmla="*/ 12 w 17"/>
                <a:gd name="T13" fmla="*/ 0 h 17"/>
                <a:gd name="T14" fmla="*/ 16 w 17"/>
                <a:gd name="T15" fmla="*/ 5 h 17"/>
                <a:gd name="T16" fmla="*/ 16 w 17"/>
                <a:gd name="T17" fmla="*/ 7 h 17"/>
                <a:gd name="T18" fmla="*/ 16 w 17"/>
                <a:gd name="T19" fmla="*/ 10 h 17"/>
                <a:gd name="T20" fmla="*/ 12 w 17"/>
                <a:gd name="T21" fmla="*/ 12 h 17"/>
                <a:gd name="T22" fmla="*/ 10 w 17"/>
                <a:gd name="T23" fmla="*/ 16 h 17"/>
                <a:gd name="T24" fmla="*/ 10 w 17"/>
                <a:gd name="T25" fmla="*/ 16 h 17"/>
                <a:gd name="T26" fmla="*/ 6 w 17"/>
                <a:gd name="T27" fmla="*/ 16 h 17"/>
                <a:gd name="T28" fmla="*/ 4 w 17"/>
                <a:gd name="T29" fmla="*/ 12 h 17"/>
                <a:gd name="T30" fmla="*/ 4 w 17"/>
                <a:gd name="T31" fmla="*/ 10 h 17"/>
                <a:gd name="T32" fmla="*/ 0 w 17"/>
                <a:gd name="T33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7">
                  <a:moveTo>
                    <a:pt x="0" y="7"/>
                  </a:moveTo>
                  <a:lnTo>
                    <a:pt x="4" y="5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6" y="10"/>
                  </a:lnTo>
                  <a:lnTo>
                    <a:pt x="12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6" y="16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0" y="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" name="Freeform 116"/>
            <p:cNvSpPr>
              <a:spLocks/>
            </p:cNvSpPr>
            <p:nvPr/>
          </p:nvSpPr>
          <p:spPr bwMode="auto">
            <a:xfrm>
              <a:off x="3180051" y="5724665"/>
              <a:ext cx="11454" cy="11177"/>
            </a:xfrm>
            <a:custGeom>
              <a:avLst/>
              <a:gdLst>
                <a:gd name="T0" fmla="*/ 0 w 17"/>
                <a:gd name="T1" fmla="*/ 7 h 17"/>
                <a:gd name="T2" fmla="*/ 0 w 17"/>
                <a:gd name="T3" fmla="*/ 7 h 17"/>
                <a:gd name="T4" fmla="*/ 4 w 17"/>
                <a:gd name="T5" fmla="*/ 5 h 17"/>
                <a:gd name="T6" fmla="*/ 4 w 17"/>
                <a:gd name="T7" fmla="*/ 0 h 17"/>
                <a:gd name="T8" fmla="*/ 6 w 17"/>
                <a:gd name="T9" fmla="*/ 0 h 17"/>
                <a:gd name="T10" fmla="*/ 10 w 17"/>
                <a:gd name="T11" fmla="*/ 0 h 17"/>
                <a:gd name="T12" fmla="*/ 10 w 17"/>
                <a:gd name="T13" fmla="*/ 0 h 17"/>
                <a:gd name="T14" fmla="*/ 10 w 17"/>
                <a:gd name="T15" fmla="*/ 0 h 17"/>
                <a:gd name="T16" fmla="*/ 12 w 17"/>
                <a:gd name="T17" fmla="*/ 0 h 17"/>
                <a:gd name="T18" fmla="*/ 16 w 17"/>
                <a:gd name="T19" fmla="*/ 5 h 17"/>
                <a:gd name="T20" fmla="*/ 16 w 17"/>
                <a:gd name="T21" fmla="*/ 7 h 17"/>
                <a:gd name="T22" fmla="*/ 16 w 17"/>
                <a:gd name="T23" fmla="*/ 7 h 17"/>
                <a:gd name="T24" fmla="*/ 16 w 17"/>
                <a:gd name="T25" fmla="*/ 10 h 17"/>
                <a:gd name="T26" fmla="*/ 12 w 17"/>
                <a:gd name="T27" fmla="*/ 12 h 17"/>
                <a:gd name="T28" fmla="*/ 10 w 17"/>
                <a:gd name="T29" fmla="*/ 16 h 17"/>
                <a:gd name="T30" fmla="*/ 10 w 17"/>
                <a:gd name="T31" fmla="*/ 16 h 17"/>
                <a:gd name="T32" fmla="*/ 10 w 17"/>
                <a:gd name="T33" fmla="*/ 16 h 17"/>
                <a:gd name="T34" fmla="*/ 6 w 17"/>
                <a:gd name="T35" fmla="*/ 16 h 17"/>
                <a:gd name="T36" fmla="*/ 4 w 17"/>
                <a:gd name="T37" fmla="*/ 12 h 17"/>
                <a:gd name="T38" fmla="*/ 4 w 17"/>
                <a:gd name="T39" fmla="*/ 10 h 17"/>
                <a:gd name="T40" fmla="*/ 0 w 17"/>
                <a:gd name="T41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17">
                  <a:moveTo>
                    <a:pt x="0" y="7"/>
                  </a:moveTo>
                  <a:lnTo>
                    <a:pt x="0" y="7"/>
                  </a:lnTo>
                  <a:lnTo>
                    <a:pt x="4" y="5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10"/>
                  </a:lnTo>
                  <a:lnTo>
                    <a:pt x="12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6" y="16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0" y="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" name="Freeform 117"/>
            <p:cNvSpPr>
              <a:spLocks/>
            </p:cNvSpPr>
            <p:nvPr/>
          </p:nvSpPr>
          <p:spPr bwMode="auto">
            <a:xfrm>
              <a:off x="3175228" y="5727149"/>
              <a:ext cx="11454" cy="11177"/>
            </a:xfrm>
            <a:custGeom>
              <a:avLst/>
              <a:gdLst>
                <a:gd name="T0" fmla="*/ 0 w 17"/>
                <a:gd name="T1" fmla="*/ 6 h 17"/>
                <a:gd name="T2" fmla="*/ 0 w 17"/>
                <a:gd name="T3" fmla="*/ 6 h 17"/>
                <a:gd name="T4" fmla="*/ 0 w 17"/>
                <a:gd name="T5" fmla="*/ 4 h 17"/>
                <a:gd name="T6" fmla="*/ 2 w 17"/>
                <a:gd name="T7" fmla="*/ 0 h 17"/>
                <a:gd name="T8" fmla="*/ 8 w 17"/>
                <a:gd name="T9" fmla="*/ 0 h 17"/>
                <a:gd name="T10" fmla="*/ 10 w 17"/>
                <a:gd name="T11" fmla="*/ 0 h 17"/>
                <a:gd name="T12" fmla="*/ 10 w 17"/>
                <a:gd name="T13" fmla="*/ 4 h 17"/>
                <a:gd name="T14" fmla="*/ 16 w 17"/>
                <a:gd name="T15" fmla="*/ 6 h 17"/>
                <a:gd name="T16" fmla="*/ 16 w 17"/>
                <a:gd name="T17" fmla="*/ 6 h 17"/>
                <a:gd name="T18" fmla="*/ 16 w 17"/>
                <a:gd name="T19" fmla="*/ 10 h 17"/>
                <a:gd name="T20" fmla="*/ 10 w 17"/>
                <a:gd name="T21" fmla="*/ 12 h 17"/>
                <a:gd name="T22" fmla="*/ 10 w 17"/>
                <a:gd name="T23" fmla="*/ 12 h 17"/>
                <a:gd name="T24" fmla="*/ 8 w 17"/>
                <a:gd name="T25" fmla="*/ 16 h 17"/>
                <a:gd name="T26" fmla="*/ 2 w 17"/>
                <a:gd name="T27" fmla="*/ 12 h 17"/>
                <a:gd name="T28" fmla="*/ 0 w 17"/>
                <a:gd name="T29" fmla="*/ 12 h 17"/>
                <a:gd name="T30" fmla="*/ 0 w 17"/>
                <a:gd name="T31" fmla="*/ 10 h 17"/>
                <a:gd name="T32" fmla="*/ 0 w 17"/>
                <a:gd name="T33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7">
                  <a:moveTo>
                    <a:pt x="0" y="6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8" y="16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" name="Freeform 118"/>
            <p:cNvSpPr>
              <a:spLocks/>
            </p:cNvSpPr>
            <p:nvPr/>
          </p:nvSpPr>
          <p:spPr bwMode="auto">
            <a:xfrm>
              <a:off x="3175228" y="5727149"/>
              <a:ext cx="11454" cy="11177"/>
            </a:xfrm>
            <a:custGeom>
              <a:avLst/>
              <a:gdLst>
                <a:gd name="T0" fmla="*/ 0 w 17"/>
                <a:gd name="T1" fmla="*/ 6 h 17"/>
                <a:gd name="T2" fmla="*/ 0 w 17"/>
                <a:gd name="T3" fmla="*/ 6 h 17"/>
                <a:gd name="T4" fmla="*/ 0 w 17"/>
                <a:gd name="T5" fmla="*/ 6 h 17"/>
                <a:gd name="T6" fmla="*/ 0 w 17"/>
                <a:gd name="T7" fmla="*/ 4 h 17"/>
                <a:gd name="T8" fmla="*/ 2 w 17"/>
                <a:gd name="T9" fmla="*/ 0 h 17"/>
                <a:gd name="T10" fmla="*/ 8 w 17"/>
                <a:gd name="T11" fmla="*/ 0 h 17"/>
                <a:gd name="T12" fmla="*/ 8 w 17"/>
                <a:gd name="T13" fmla="*/ 0 h 17"/>
                <a:gd name="T14" fmla="*/ 10 w 17"/>
                <a:gd name="T15" fmla="*/ 0 h 17"/>
                <a:gd name="T16" fmla="*/ 10 w 17"/>
                <a:gd name="T17" fmla="*/ 4 h 17"/>
                <a:gd name="T18" fmla="*/ 16 w 17"/>
                <a:gd name="T19" fmla="*/ 6 h 17"/>
                <a:gd name="T20" fmla="*/ 16 w 17"/>
                <a:gd name="T21" fmla="*/ 6 h 17"/>
                <a:gd name="T22" fmla="*/ 16 w 17"/>
                <a:gd name="T23" fmla="*/ 6 h 17"/>
                <a:gd name="T24" fmla="*/ 16 w 17"/>
                <a:gd name="T25" fmla="*/ 10 h 17"/>
                <a:gd name="T26" fmla="*/ 10 w 17"/>
                <a:gd name="T27" fmla="*/ 12 h 17"/>
                <a:gd name="T28" fmla="*/ 10 w 17"/>
                <a:gd name="T29" fmla="*/ 12 h 17"/>
                <a:gd name="T30" fmla="*/ 8 w 17"/>
                <a:gd name="T31" fmla="*/ 16 h 17"/>
                <a:gd name="T32" fmla="*/ 8 w 17"/>
                <a:gd name="T33" fmla="*/ 16 h 17"/>
                <a:gd name="T34" fmla="*/ 2 w 17"/>
                <a:gd name="T35" fmla="*/ 12 h 17"/>
                <a:gd name="T36" fmla="*/ 0 w 17"/>
                <a:gd name="T37" fmla="*/ 12 h 17"/>
                <a:gd name="T38" fmla="*/ 0 w 17"/>
                <a:gd name="T39" fmla="*/ 10 h 17"/>
                <a:gd name="T40" fmla="*/ 0 w 17"/>
                <a:gd name="T41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17"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" name="Freeform 119"/>
            <p:cNvSpPr>
              <a:spLocks/>
            </p:cNvSpPr>
            <p:nvPr/>
          </p:nvSpPr>
          <p:spPr bwMode="auto">
            <a:xfrm>
              <a:off x="3171611" y="5730254"/>
              <a:ext cx="11454" cy="11799"/>
            </a:xfrm>
            <a:custGeom>
              <a:avLst/>
              <a:gdLst>
                <a:gd name="T0" fmla="*/ 0 w 17"/>
                <a:gd name="T1" fmla="*/ 6 h 17"/>
                <a:gd name="T2" fmla="*/ 0 w 17"/>
                <a:gd name="T3" fmla="*/ 6 h 17"/>
                <a:gd name="T4" fmla="*/ 0 w 17"/>
                <a:gd name="T5" fmla="*/ 0 h 17"/>
                <a:gd name="T6" fmla="*/ 5 w 17"/>
                <a:gd name="T7" fmla="*/ 0 h 17"/>
                <a:gd name="T8" fmla="*/ 5 w 17"/>
                <a:gd name="T9" fmla="*/ 0 h 17"/>
                <a:gd name="T10" fmla="*/ 5 w 17"/>
                <a:gd name="T11" fmla="*/ 0 h 17"/>
                <a:gd name="T12" fmla="*/ 16 w 17"/>
                <a:gd name="T13" fmla="*/ 0 h 17"/>
                <a:gd name="T14" fmla="*/ 16 w 17"/>
                <a:gd name="T15" fmla="*/ 6 h 17"/>
                <a:gd name="T16" fmla="*/ 16 w 17"/>
                <a:gd name="T17" fmla="*/ 6 h 17"/>
                <a:gd name="T18" fmla="*/ 16 w 17"/>
                <a:gd name="T19" fmla="*/ 9 h 17"/>
                <a:gd name="T20" fmla="*/ 16 w 17"/>
                <a:gd name="T21" fmla="*/ 16 h 17"/>
                <a:gd name="T22" fmla="*/ 5 w 17"/>
                <a:gd name="T23" fmla="*/ 16 h 17"/>
                <a:gd name="T24" fmla="*/ 5 w 17"/>
                <a:gd name="T25" fmla="*/ 16 h 17"/>
                <a:gd name="T26" fmla="*/ 5 w 17"/>
                <a:gd name="T27" fmla="*/ 16 h 17"/>
                <a:gd name="T28" fmla="*/ 0 w 17"/>
                <a:gd name="T29" fmla="*/ 16 h 17"/>
                <a:gd name="T30" fmla="*/ 0 w 17"/>
                <a:gd name="T31" fmla="*/ 9 h 17"/>
                <a:gd name="T32" fmla="*/ 0 w 17"/>
                <a:gd name="T33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7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16" y="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9"/>
                  </a:lnTo>
                  <a:lnTo>
                    <a:pt x="1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0" y="16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" name="Freeform 120"/>
            <p:cNvSpPr>
              <a:spLocks/>
            </p:cNvSpPr>
            <p:nvPr/>
          </p:nvSpPr>
          <p:spPr bwMode="auto">
            <a:xfrm>
              <a:off x="3171611" y="5730254"/>
              <a:ext cx="11454" cy="11799"/>
            </a:xfrm>
            <a:custGeom>
              <a:avLst/>
              <a:gdLst>
                <a:gd name="T0" fmla="*/ 0 w 17"/>
                <a:gd name="T1" fmla="*/ 6 h 17"/>
                <a:gd name="T2" fmla="*/ 0 w 17"/>
                <a:gd name="T3" fmla="*/ 6 h 17"/>
                <a:gd name="T4" fmla="*/ 0 w 17"/>
                <a:gd name="T5" fmla="*/ 6 h 17"/>
                <a:gd name="T6" fmla="*/ 0 w 17"/>
                <a:gd name="T7" fmla="*/ 0 h 17"/>
                <a:gd name="T8" fmla="*/ 5 w 17"/>
                <a:gd name="T9" fmla="*/ 0 h 17"/>
                <a:gd name="T10" fmla="*/ 5 w 17"/>
                <a:gd name="T11" fmla="*/ 0 h 17"/>
                <a:gd name="T12" fmla="*/ 5 w 17"/>
                <a:gd name="T13" fmla="*/ 0 h 17"/>
                <a:gd name="T14" fmla="*/ 5 w 17"/>
                <a:gd name="T15" fmla="*/ 0 h 17"/>
                <a:gd name="T16" fmla="*/ 16 w 17"/>
                <a:gd name="T17" fmla="*/ 0 h 17"/>
                <a:gd name="T18" fmla="*/ 16 w 17"/>
                <a:gd name="T19" fmla="*/ 6 h 17"/>
                <a:gd name="T20" fmla="*/ 16 w 17"/>
                <a:gd name="T21" fmla="*/ 6 h 17"/>
                <a:gd name="T22" fmla="*/ 16 w 17"/>
                <a:gd name="T23" fmla="*/ 6 h 17"/>
                <a:gd name="T24" fmla="*/ 16 w 17"/>
                <a:gd name="T25" fmla="*/ 9 h 17"/>
                <a:gd name="T26" fmla="*/ 16 w 17"/>
                <a:gd name="T27" fmla="*/ 16 h 17"/>
                <a:gd name="T28" fmla="*/ 5 w 17"/>
                <a:gd name="T29" fmla="*/ 16 h 17"/>
                <a:gd name="T30" fmla="*/ 5 w 17"/>
                <a:gd name="T31" fmla="*/ 16 h 17"/>
                <a:gd name="T32" fmla="*/ 5 w 17"/>
                <a:gd name="T33" fmla="*/ 16 h 17"/>
                <a:gd name="T34" fmla="*/ 5 w 17"/>
                <a:gd name="T35" fmla="*/ 16 h 17"/>
                <a:gd name="T36" fmla="*/ 0 w 17"/>
                <a:gd name="T37" fmla="*/ 16 h 17"/>
                <a:gd name="T38" fmla="*/ 0 w 17"/>
                <a:gd name="T39" fmla="*/ 9 h 17"/>
                <a:gd name="T40" fmla="*/ 0 w 17"/>
                <a:gd name="T41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17"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16" y="0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9"/>
                  </a:lnTo>
                  <a:lnTo>
                    <a:pt x="1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0" y="16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" name="Freeform 121"/>
            <p:cNvSpPr>
              <a:spLocks/>
            </p:cNvSpPr>
            <p:nvPr/>
          </p:nvSpPr>
          <p:spPr bwMode="auto">
            <a:xfrm>
              <a:off x="3166789" y="5733980"/>
              <a:ext cx="11454" cy="11177"/>
            </a:xfrm>
            <a:custGeom>
              <a:avLst/>
              <a:gdLst>
                <a:gd name="T0" fmla="*/ 0 w 17"/>
                <a:gd name="T1" fmla="*/ 12 h 17"/>
                <a:gd name="T2" fmla="*/ 0 w 17"/>
                <a:gd name="T3" fmla="*/ 4 h 17"/>
                <a:gd name="T4" fmla="*/ 6 w 17"/>
                <a:gd name="T5" fmla="*/ 0 h 17"/>
                <a:gd name="T6" fmla="*/ 6 w 17"/>
                <a:gd name="T7" fmla="*/ 0 h 17"/>
                <a:gd name="T8" fmla="*/ 9 w 17"/>
                <a:gd name="T9" fmla="*/ 0 h 17"/>
                <a:gd name="T10" fmla="*/ 9 w 17"/>
                <a:gd name="T11" fmla="*/ 0 h 17"/>
                <a:gd name="T12" fmla="*/ 16 w 17"/>
                <a:gd name="T13" fmla="*/ 0 h 17"/>
                <a:gd name="T14" fmla="*/ 16 w 17"/>
                <a:gd name="T15" fmla="*/ 4 h 17"/>
                <a:gd name="T16" fmla="*/ 16 w 17"/>
                <a:gd name="T17" fmla="*/ 12 h 17"/>
                <a:gd name="T18" fmla="*/ 16 w 17"/>
                <a:gd name="T19" fmla="*/ 12 h 17"/>
                <a:gd name="T20" fmla="*/ 16 w 17"/>
                <a:gd name="T21" fmla="*/ 16 h 17"/>
                <a:gd name="T22" fmla="*/ 9 w 17"/>
                <a:gd name="T23" fmla="*/ 16 h 17"/>
                <a:gd name="T24" fmla="*/ 9 w 17"/>
                <a:gd name="T25" fmla="*/ 16 h 17"/>
                <a:gd name="T26" fmla="*/ 6 w 17"/>
                <a:gd name="T27" fmla="*/ 16 h 17"/>
                <a:gd name="T28" fmla="*/ 6 w 17"/>
                <a:gd name="T29" fmla="*/ 16 h 17"/>
                <a:gd name="T30" fmla="*/ 0 w 17"/>
                <a:gd name="T31" fmla="*/ 12 h 17"/>
                <a:gd name="T32" fmla="*/ 0 w 17"/>
                <a:gd name="T33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7">
                  <a:moveTo>
                    <a:pt x="0" y="12"/>
                  </a:moveTo>
                  <a:lnTo>
                    <a:pt x="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0" y="12"/>
                  </a:lnTo>
                  <a:lnTo>
                    <a:pt x="0" y="12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" name="Freeform 122"/>
            <p:cNvSpPr>
              <a:spLocks/>
            </p:cNvSpPr>
            <p:nvPr/>
          </p:nvSpPr>
          <p:spPr bwMode="auto">
            <a:xfrm>
              <a:off x="3166789" y="5733980"/>
              <a:ext cx="11454" cy="11177"/>
            </a:xfrm>
            <a:custGeom>
              <a:avLst/>
              <a:gdLst>
                <a:gd name="T0" fmla="*/ 0 w 17"/>
                <a:gd name="T1" fmla="*/ 12 h 17"/>
                <a:gd name="T2" fmla="*/ 0 w 17"/>
                <a:gd name="T3" fmla="*/ 12 h 17"/>
                <a:gd name="T4" fmla="*/ 0 w 17"/>
                <a:gd name="T5" fmla="*/ 4 h 17"/>
                <a:gd name="T6" fmla="*/ 6 w 17"/>
                <a:gd name="T7" fmla="*/ 0 h 17"/>
                <a:gd name="T8" fmla="*/ 6 w 17"/>
                <a:gd name="T9" fmla="*/ 0 h 17"/>
                <a:gd name="T10" fmla="*/ 9 w 17"/>
                <a:gd name="T11" fmla="*/ 0 h 17"/>
                <a:gd name="T12" fmla="*/ 9 w 17"/>
                <a:gd name="T13" fmla="*/ 0 h 17"/>
                <a:gd name="T14" fmla="*/ 9 w 17"/>
                <a:gd name="T15" fmla="*/ 0 h 17"/>
                <a:gd name="T16" fmla="*/ 16 w 17"/>
                <a:gd name="T17" fmla="*/ 0 h 17"/>
                <a:gd name="T18" fmla="*/ 16 w 17"/>
                <a:gd name="T19" fmla="*/ 4 h 17"/>
                <a:gd name="T20" fmla="*/ 16 w 17"/>
                <a:gd name="T21" fmla="*/ 12 h 17"/>
                <a:gd name="T22" fmla="*/ 16 w 17"/>
                <a:gd name="T23" fmla="*/ 12 h 17"/>
                <a:gd name="T24" fmla="*/ 16 w 17"/>
                <a:gd name="T25" fmla="*/ 12 h 17"/>
                <a:gd name="T26" fmla="*/ 16 w 17"/>
                <a:gd name="T27" fmla="*/ 16 h 17"/>
                <a:gd name="T28" fmla="*/ 9 w 17"/>
                <a:gd name="T29" fmla="*/ 16 h 17"/>
                <a:gd name="T30" fmla="*/ 9 w 17"/>
                <a:gd name="T31" fmla="*/ 16 h 17"/>
                <a:gd name="T32" fmla="*/ 9 w 17"/>
                <a:gd name="T33" fmla="*/ 16 h 17"/>
                <a:gd name="T34" fmla="*/ 6 w 17"/>
                <a:gd name="T35" fmla="*/ 16 h 17"/>
                <a:gd name="T36" fmla="*/ 6 w 17"/>
                <a:gd name="T37" fmla="*/ 16 h 17"/>
                <a:gd name="T38" fmla="*/ 0 w 17"/>
                <a:gd name="T39" fmla="*/ 12 h 17"/>
                <a:gd name="T40" fmla="*/ 0 w 17"/>
                <a:gd name="T41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17">
                  <a:moveTo>
                    <a:pt x="0" y="12"/>
                  </a:moveTo>
                  <a:lnTo>
                    <a:pt x="0" y="12"/>
                  </a:lnTo>
                  <a:lnTo>
                    <a:pt x="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0" y="12"/>
                  </a:lnTo>
                  <a:lnTo>
                    <a:pt x="0" y="12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" name="Freeform 123"/>
            <p:cNvSpPr>
              <a:spLocks/>
            </p:cNvSpPr>
            <p:nvPr/>
          </p:nvSpPr>
          <p:spPr bwMode="auto">
            <a:xfrm>
              <a:off x="3162569" y="5737705"/>
              <a:ext cx="11454" cy="11799"/>
            </a:xfrm>
            <a:custGeom>
              <a:avLst/>
              <a:gdLst>
                <a:gd name="T0" fmla="*/ 0 w 17"/>
                <a:gd name="T1" fmla="*/ 5 h 17"/>
                <a:gd name="T2" fmla="*/ 0 w 17"/>
                <a:gd name="T3" fmla="*/ 5 h 17"/>
                <a:gd name="T4" fmla="*/ 0 w 17"/>
                <a:gd name="T5" fmla="*/ 0 h 17"/>
                <a:gd name="T6" fmla="*/ 6 w 17"/>
                <a:gd name="T7" fmla="*/ 0 h 17"/>
                <a:gd name="T8" fmla="*/ 6 w 17"/>
                <a:gd name="T9" fmla="*/ 0 h 17"/>
                <a:gd name="T10" fmla="*/ 9 w 17"/>
                <a:gd name="T11" fmla="*/ 0 h 17"/>
                <a:gd name="T12" fmla="*/ 9 w 17"/>
                <a:gd name="T13" fmla="*/ 0 h 17"/>
                <a:gd name="T14" fmla="*/ 16 w 17"/>
                <a:gd name="T15" fmla="*/ 5 h 17"/>
                <a:gd name="T16" fmla="*/ 16 w 17"/>
                <a:gd name="T17" fmla="*/ 5 h 17"/>
                <a:gd name="T18" fmla="*/ 16 w 17"/>
                <a:gd name="T19" fmla="*/ 5 h 17"/>
                <a:gd name="T20" fmla="*/ 9 w 17"/>
                <a:gd name="T21" fmla="*/ 16 h 17"/>
                <a:gd name="T22" fmla="*/ 9 w 17"/>
                <a:gd name="T23" fmla="*/ 16 h 17"/>
                <a:gd name="T24" fmla="*/ 6 w 17"/>
                <a:gd name="T25" fmla="*/ 16 h 17"/>
                <a:gd name="T26" fmla="*/ 6 w 17"/>
                <a:gd name="T27" fmla="*/ 16 h 17"/>
                <a:gd name="T28" fmla="*/ 0 w 17"/>
                <a:gd name="T29" fmla="*/ 16 h 17"/>
                <a:gd name="T30" fmla="*/ 0 w 17"/>
                <a:gd name="T31" fmla="*/ 5 h 17"/>
                <a:gd name="T32" fmla="*/ 0 w 17"/>
                <a:gd name="T33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7">
                  <a:moveTo>
                    <a:pt x="0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0" y="5"/>
                  </a:lnTo>
                  <a:lnTo>
                    <a:pt x="0" y="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" name="Freeform 124"/>
            <p:cNvSpPr>
              <a:spLocks/>
            </p:cNvSpPr>
            <p:nvPr/>
          </p:nvSpPr>
          <p:spPr bwMode="auto">
            <a:xfrm>
              <a:off x="3162569" y="5737705"/>
              <a:ext cx="11454" cy="11799"/>
            </a:xfrm>
            <a:custGeom>
              <a:avLst/>
              <a:gdLst>
                <a:gd name="T0" fmla="*/ 0 w 17"/>
                <a:gd name="T1" fmla="*/ 5 h 17"/>
                <a:gd name="T2" fmla="*/ 0 w 17"/>
                <a:gd name="T3" fmla="*/ 5 h 17"/>
                <a:gd name="T4" fmla="*/ 0 w 17"/>
                <a:gd name="T5" fmla="*/ 5 h 17"/>
                <a:gd name="T6" fmla="*/ 0 w 17"/>
                <a:gd name="T7" fmla="*/ 0 h 17"/>
                <a:gd name="T8" fmla="*/ 6 w 17"/>
                <a:gd name="T9" fmla="*/ 0 h 17"/>
                <a:gd name="T10" fmla="*/ 6 w 17"/>
                <a:gd name="T11" fmla="*/ 0 h 17"/>
                <a:gd name="T12" fmla="*/ 6 w 17"/>
                <a:gd name="T13" fmla="*/ 0 h 17"/>
                <a:gd name="T14" fmla="*/ 9 w 17"/>
                <a:gd name="T15" fmla="*/ 0 h 17"/>
                <a:gd name="T16" fmla="*/ 9 w 17"/>
                <a:gd name="T17" fmla="*/ 0 h 17"/>
                <a:gd name="T18" fmla="*/ 16 w 17"/>
                <a:gd name="T19" fmla="*/ 5 h 17"/>
                <a:gd name="T20" fmla="*/ 16 w 17"/>
                <a:gd name="T21" fmla="*/ 5 h 17"/>
                <a:gd name="T22" fmla="*/ 16 w 17"/>
                <a:gd name="T23" fmla="*/ 5 h 17"/>
                <a:gd name="T24" fmla="*/ 16 w 17"/>
                <a:gd name="T25" fmla="*/ 5 h 17"/>
                <a:gd name="T26" fmla="*/ 9 w 17"/>
                <a:gd name="T27" fmla="*/ 16 h 17"/>
                <a:gd name="T28" fmla="*/ 9 w 17"/>
                <a:gd name="T29" fmla="*/ 16 h 17"/>
                <a:gd name="T30" fmla="*/ 6 w 17"/>
                <a:gd name="T31" fmla="*/ 16 h 17"/>
                <a:gd name="T32" fmla="*/ 6 w 17"/>
                <a:gd name="T33" fmla="*/ 16 h 17"/>
                <a:gd name="T34" fmla="*/ 6 w 17"/>
                <a:gd name="T35" fmla="*/ 16 h 17"/>
                <a:gd name="T36" fmla="*/ 0 w 17"/>
                <a:gd name="T37" fmla="*/ 16 h 17"/>
                <a:gd name="T38" fmla="*/ 0 w 17"/>
                <a:gd name="T39" fmla="*/ 5 h 17"/>
                <a:gd name="T40" fmla="*/ 0 w 17"/>
                <a:gd name="T41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17"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0" y="5"/>
                  </a:lnTo>
                  <a:lnTo>
                    <a:pt x="0" y="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" name="Freeform 125"/>
            <p:cNvSpPr>
              <a:spLocks/>
            </p:cNvSpPr>
            <p:nvPr/>
          </p:nvSpPr>
          <p:spPr bwMode="auto">
            <a:xfrm>
              <a:off x="3222248" y="5705415"/>
              <a:ext cx="11454" cy="11799"/>
            </a:xfrm>
            <a:custGeom>
              <a:avLst/>
              <a:gdLst>
                <a:gd name="T0" fmla="*/ 0 w 17"/>
                <a:gd name="T1" fmla="*/ 4 h 17"/>
                <a:gd name="T2" fmla="*/ 0 w 17"/>
                <a:gd name="T3" fmla="*/ 4 h 17"/>
                <a:gd name="T4" fmla="*/ 0 w 17"/>
                <a:gd name="T5" fmla="*/ 0 h 17"/>
                <a:gd name="T6" fmla="*/ 10 w 17"/>
                <a:gd name="T7" fmla="*/ 0 h 17"/>
                <a:gd name="T8" fmla="*/ 10 w 17"/>
                <a:gd name="T9" fmla="*/ 0 h 17"/>
                <a:gd name="T10" fmla="*/ 10 w 17"/>
                <a:gd name="T11" fmla="*/ 0 h 17"/>
                <a:gd name="T12" fmla="*/ 16 w 17"/>
                <a:gd name="T13" fmla="*/ 0 h 17"/>
                <a:gd name="T14" fmla="*/ 16 w 17"/>
                <a:gd name="T15" fmla="*/ 4 h 17"/>
                <a:gd name="T16" fmla="*/ 16 w 17"/>
                <a:gd name="T17" fmla="*/ 4 h 17"/>
                <a:gd name="T18" fmla="*/ 16 w 17"/>
                <a:gd name="T19" fmla="*/ 12 h 17"/>
                <a:gd name="T20" fmla="*/ 16 w 17"/>
                <a:gd name="T21" fmla="*/ 16 h 17"/>
                <a:gd name="T22" fmla="*/ 10 w 17"/>
                <a:gd name="T23" fmla="*/ 16 h 17"/>
                <a:gd name="T24" fmla="*/ 10 w 17"/>
                <a:gd name="T25" fmla="*/ 16 h 17"/>
                <a:gd name="T26" fmla="*/ 10 w 17"/>
                <a:gd name="T27" fmla="*/ 16 h 17"/>
                <a:gd name="T28" fmla="*/ 0 w 17"/>
                <a:gd name="T29" fmla="*/ 16 h 17"/>
                <a:gd name="T30" fmla="*/ 0 w 17"/>
                <a:gd name="T31" fmla="*/ 12 h 17"/>
                <a:gd name="T32" fmla="*/ 0 w 17"/>
                <a:gd name="T33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7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" name="Freeform 126"/>
            <p:cNvSpPr>
              <a:spLocks/>
            </p:cNvSpPr>
            <p:nvPr/>
          </p:nvSpPr>
          <p:spPr bwMode="auto">
            <a:xfrm>
              <a:off x="3222248" y="5705415"/>
              <a:ext cx="11454" cy="11799"/>
            </a:xfrm>
            <a:custGeom>
              <a:avLst/>
              <a:gdLst>
                <a:gd name="T0" fmla="*/ 0 w 17"/>
                <a:gd name="T1" fmla="*/ 4 h 17"/>
                <a:gd name="T2" fmla="*/ 0 w 17"/>
                <a:gd name="T3" fmla="*/ 4 h 17"/>
                <a:gd name="T4" fmla="*/ 0 w 17"/>
                <a:gd name="T5" fmla="*/ 4 h 17"/>
                <a:gd name="T6" fmla="*/ 0 w 17"/>
                <a:gd name="T7" fmla="*/ 0 h 17"/>
                <a:gd name="T8" fmla="*/ 10 w 17"/>
                <a:gd name="T9" fmla="*/ 0 h 17"/>
                <a:gd name="T10" fmla="*/ 10 w 17"/>
                <a:gd name="T11" fmla="*/ 0 h 17"/>
                <a:gd name="T12" fmla="*/ 10 w 17"/>
                <a:gd name="T13" fmla="*/ 0 h 17"/>
                <a:gd name="T14" fmla="*/ 10 w 17"/>
                <a:gd name="T15" fmla="*/ 0 h 17"/>
                <a:gd name="T16" fmla="*/ 16 w 17"/>
                <a:gd name="T17" fmla="*/ 0 h 17"/>
                <a:gd name="T18" fmla="*/ 16 w 17"/>
                <a:gd name="T19" fmla="*/ 4 h 17"/>
                <a:gd name="T20" fmla="*/ 16 w 17"/>
                <a:gd name="T21" fmla="*/ 4 h 17"/>
                <a:gd name="T22" fmla="*/ 16 w 17"/>
                <a:gd name="T23" fmla="*/ 4 h 17"/>
                <a:gd name="T24" fmla="*/ 16 w 17"/>
                <a:gd name="T25" fmla="*/ 12 h 17"/>
                <a:gd name="T26" fmla="*/ 16 w 17"/>
                <a:gd name="T27" fmla="*/ 16 h 17"/>
                <a:gd name="T28" fmla="*/ 10 w 17"/>
                <a:gd name="T29" fmla="*/ 16 h 17"/>
                <a:gd name="T30" fmla="*/ 10 w 17"/>
                <a:gd name="T31" fmla="*/ 16 h 17"/>
                <a:gd name="T32" fmla="*/ 10 w 17"/>
                <a:gd name="T33" fmla="*/ 16 h 17"/>
                <a:gd name="T34" fmla="*/ 10 w 17"/>
                <a:gd name="T35" fmla="*/ 16 h 17"/>
                <a:gd name="T36" fmla="*/ 0 w 17"/>
                <a:gd name="T37" fmla="*/ 16 h 17"/>
                <a:gd name="T38" fmla="*/ 0 w 17"/>
                <a:gd name="T39" fmla="*/ 12 h 17"/>
                <a:gd name="T40" fmla="*/ 0 w 17"/>
                <a:gd name="T41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17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" name="Freeform 127"/>
            <p:cNvSpPr>
              <a:spLocks/>
            </p:cNvSpPr>
            <p:nvPr/>
          </p:nvSpPr>
          <p:spPr bwMode="auto">
            <a:xfrm>
              <a:off x="3215616" y="5710383"/>
              <a:ext cx="11454" cy="11177"/>
            </a:xfrm>
            <a:custGeom>
              <a:avLst/>
              <a:gdLst>
                <a:gd name="T0" fmla="*/ 0 w 17"/>
                <a:gd name="T1" fmla="*/ 8 h 17"/>
                <a:gd name="T2" fmla="*/ 0 w 17"/>
                <a:gd name="T3" fmla="*/ 5 h 17"/>
                <a:gd name="T4" fmla="*/ 2 w 17"/>
                <a:gd name="T5" fmla="*/ 5 h 17"/>
                <a:gd name="T6" fmla="*/ 2 w 17"/>
                <a:gd name="T7" fmla="*/ 0 h 17"/>
                <a:gd name="T8" fmla="*/ 6 w 17"/>
                <a:gd name="T9" fmla="*/ 0 h 17"/>
                <a:gd name="T10" fmla="*/ 9 w 17"/>
                <a:gd name="T11" fmla="*/ 0 h 17"/>
                <a:gd name="T12" fmla="*/ 13 w 17"/>
                <a:gd name="T13" fmla="*/ 5 h 17"/>
                <a:gd name="T14" fmla="*/ 13 w 17"/>
                <a:gd name="T15" fmla="*/ 5 h 17"/>
                <a:gd name="T16" fmla="*/ 16 w 17"/>
                <a:gd name="T17" fmla="*/ 8 h 17"/>
                <a:gd name="T18" fmla="*/ 13 w 17"/>
                <a:gd name="T19" fmla="*/ 13 h 17"/>
                <a:gd name="T20" fmla="*/ 13 w 17"/>
                <a:gd name="T21" fmla="*/ 13 h 17"/>
                <a:gd name="T22" fmla="*/ 9 w 17"/>
                <a:gd name="T23" fmla="*/ 13 h 17"/>
                <a:gd name="T24" fmla="*/ 6 w 17"/>
                <a:gd name="T25" fmla="*/ 16 h 17"/>
                <a:gd name="T26" fmla="*/ 2 w 17"/>
                <a:gd name="T27" fmla="*/ 13 h 17"/>
                <a:gd name="T28" fmla="*/ 2 w 17"/>
                <a:gd name="T29" fmla="*/ 13 h 17"/>
                <a:gd name="T30" fmla="*/ 0 w 17"/>
                <a:gd name="T31" fmla="*/ 13 h 17"/>
                <a:gd name="T32" fmla="*/ 0 w 17"/>
                <a:gd name="T3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8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9" y="13"/>
                  </a:lnTo>
                  <a:lnTo>
                    <a:pt x="6" y="16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" name="Freeform 128"/>
            <p:cNvSpPr>
              <a:spLocks/>
            </p:cNvSpPr>
            <p:nvPr/>
          </p:nvSpPr>
          <p:spPr bwMode="auto">
            <a:xfrm>
              <a:off x="3215616" y="5710383"/>
              <a:ext cx="11454" cy="11177"/>
            </a:xfrm>
            <a:custGeom>
              <a:avLst/>
              <a:gdLst>
                <a:gd name="T0" fmla="*/ 0 w 17"/>
                <a:gd name="T1" fmla="*/ 8 h 17"/>
                <a:gd name="T2" fmla="*/ 0 w 17"/>
                <a:gd name="T3" fmla="*/ 8 h 17"/>
                <a:gd name="T4" fmla="*/ 0 w 17"/>
                <a:gd name="T5" fmla="*/ 5 h 17"/>
                <a:gd name="T6" fmla="*/ 2 w 17"/>
                <a:gd name="T7" fmla="*/ 5 h 17"/>
                <a:gd name="T8" fmla="*/ 2 w 17"/>
                <a:gd name="T9" fmla="*/ 0 h 17"/>
                <a:gd name="T10" fmla="*/ 6 w 17"/>
                <a:gd name="T11" fmla="*/ 0 h 17"/>
                <a:gd name="T12" fmla="*/ 6 w 17"/>
                <a:gd name="T13" fmla="*/ 0 h 17"/>
                <a:gd name="T14" fmla="*/ 9 w 17"/>
                <a:gd name="T15" fmla="*/ 0 h 17"/>
                <a:gd name="T16" fmla="*/ 13 w 17"/>
                <a:gd name="T17" fmla="*/ 5 h 17"/>
                <a:gd name="T18" fmla="*/ 13 w 17"/>
                <a:gd name="T19" fmla="*/ 5 h 17"/>
                <a:gd name="T20" fmla="*/ 16 w 17"/>
                <a:gd name="T21" fmla="*/ 8 h 17"/>
                <a:gd name="T22" fmla="*/ 16 w 17"/>
                <a:gd name="T23" fmla="*/ 8 h 17"/>
                <a:gd name="T24" fmla="*/ 13 w 17"/>
                <a:gd name="T25" fmla="*/ 13 h 17"/>
                <a:gd name="T26" fmla="*/ 13 w 17"/>
                <a:gd name="T27" fmla="*/ 13 h 17"/>
                <a:gd name="T28" fmla="*/ 9 w 17"/>
                <a:gd name="T29" fmla="*/ 13 h 17"/>
                <a:gd name="T30" fmla="*/ 6 w 17"/>
                <a:gd name="T31" fmla="*/ 16 h 17"/>
                <a:gd name="T32" fmla="*/ 6 w 17"/>
                <a:gd name="T33" fmla="*/ 16 h 17"/>
                <a:gd name="T34" fmla="*/ 2 w 17"/>
                <a:gd name="T35" fmla="*/ 13 h 17"/>
                <a:gd name="T36" fmla="*/ 2 w 17"/>
                <a:gd name="T37" fmla="*/ 13 h 17"/>
                <a:gd name="T38" fmla="*/ 0 w 17"/>
                <a:gd name="T39" fmla="*/ 13 h 17"/>
                <a:gd name="T40" fmla="*/ 0 w 17"/>
                <a:gd name="T4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0" y="8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9" y="13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7" name="Freeform 129"/>
            <p:cNvSpPr>
              <a:spLocks/>
            </p:cNvSpPr>
            <p:nvPr/>
          </p:nvSpPr>
          <p:spPr bwMode="auto">
            <a:xfrm>
              <a:off x="3200546" y="5720940"/>
              <a:ext cx="11454" cy="11799"/>
            </a:xfrm>
            <a:custGeom>
              <a:avLst/>
              <a:gdLst>
                <a:gd name="T0" fmla="*/ 0 w 17"/>
                <a:gd name="T1" fmla="*/ 9 h 17"/>
                <a:gd name="T2" fmla="*/ 0 w 17"/>
                <a:gd name="T3" fmla="*/ 6 h 17"/>
                <a:gd name="T4" fmla="*/ 0 w 17"/>
                <a:gd name="T5" fmla="*/ 0 h 17"/>
                <a:gd name="T6" fmla="*/ 4 w 17"/>
                <a:gd name="T7" fmla="*/ 0 h 17"/>
                <a:gd name="T8" fmla="*/ 6 w 17"/>
                <a:gd name="T9" fmla="*/ 0 h 17"/>
                <a:gd name="T10" fmla="*/ 12 w 17"/>
                <a:gd name="T11" fmla="*/ 0 h 17"/>
                <a:gd name="T12" fmla="*/ 12 w 17"/>
                <a:gd name="T13" fmla="*/ 0 h 17"/>
                <a:gd name="T14" fmla="*/ 16 w 17"/>
                <a:gd name="T15" fmla="*/ 6 h 17"/>
                <a:gd name="T16" fmla="*/ 16 w 17"/>
                <a:gd name="T17" fmla="*/ 9 h 17"/>
                <a:gd name="T18" fmla="*/ 16 w 17"/>
                <a:gd name="T19" fmla="*/ 9 h 17"/>
                <a:gd name="T20" fmla="*/ 12 w 17"/>
                <a:gd name="T21" fmla="*/ 16 h 17"/>
                <a:gd name="T22" fmla="*/ 12 w 17"/>
                <a:gd name="T23" fmla="*/ 16 h 17"/>
                <a:gd name="T24" fmla="*/ 6 w 17"/>
                <a:gd name="T25" fmla="*/ 16 h 17"/>
                <a:gd name="T26" fmla="*/ 4 w 17"/>
                <a:gd name="T27" fmla="*/ 16 h 17"/>
                <a:gd name="T28" fmla="*/ 0 w 17"/>
                <a:gd name="T29" fmla="*/ 16 h 17"/>
                <a:gd name="T30" fmla="*/ 0 w 17"/>
                <a:gd name="T31" fmla="*/ 9 h 17"/>
                <a:gd name="T32" fmla="*/ 0 w 17"/>
                <a:gd name="T33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6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9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8" name="Freeform 130"/>
            <p:cNvSpPr>
              <a:spLocks/>
            </p:cNvSpPr>
            <p:nvPr/>
          </p:nvSpPr>
          <p:spPr bwMode="auto">
            <a:xfrm>
              <a:off x="3200546" y="5720940"/>
              <a:ext cx="11454" cy="11799"/>
            </a:xfrm>
            <a:custGeom>
              <a:avLst/>
              <a:gdLst>
                <a:gd name="T0" fmla="*/ 0 w 17"/>
                <a:gd name="T1" fmla="*/ 9 h 17"/>
                <a:gd name="T2" fmla="*/ 0 w 17"/>
                <a:gd name="T3" fmla="*/ 9 h 17"/>
                <a:gd name="T4" fmla="*/ 0 w 17"/>
                <a:gd name="T5" fmla="*/ 6 h 17"/>
                <a:gd name="T6" fmla="*/ 0 w 17"/>
                <a:gd name="T7" fmla="*/ 0 h 17"/>
                <a:gd name="T8" fmla="*/ 4 w 17"/>
                <a:gd name="T9" fmla="*/ 0 h 17"/>
                <a:gd name="T10" fmla="*/ 6 w 17"/>
                <a:gd name="T11" fmla="*/ 0 h 17"/>
                <a:gd name="T12" fmla="*/ 6 w 17"/>
                <a:gd name="T13" fmla="*/ 0 h 17"/>
                <a:gd name="T14" fmla="*/ 12 w 17"/>
                <a:gd name="T15" fmla="*/ 0 h 17"/>
                <a:gd name="T16" fmla="*/ 12 w 17"/>
                <a:gd name="T17" fmla="*/ 0 h 17"/>
                <a:gd name="T18" fmla="*/ 16 w 17"/>
                <a:gd name="T19" fmla="*/ 6 h 17"/>
                <a:gd name="T20" fmla="*/ 16 w 17"/>
                <a:gd name="T21" fmla="*/ 9 h 17"/>
                <a:gd name="T22" fmla="*/ 16 w 17"/>
                <a:gd name="T23" fmla="*/ 9 h 17"/>
                <a:gd name="T24" fmla="*/ 16 w 17"/>
                <a:gd name="T25" fmla="*/ 9 h 17"/>
                <a:gd name="T26" fmla="*/ 12 w 17"/>
                <a:gd name="T27" fmla="*/ 16 h 17"/>
                <a:gd name="T28" fmla="*/ 12 w 17"/>
                <a:gd name="T29" fmla="*/ 16 h 17"/>
                <a:gd name="T30" fmla="*/ 6 w 17"/>
                <a:gd name="T31" fmla="*/ 16 h 17"/>
                <a:gd name="T32" fmla="*/ 6 w 17"/>
                <a:gd name="T33" fmla="*/ 16 h 17"/>
                <a:gd name="T34" fmla="*/ 4 w 17"/>
                <a:gd name="T35" fmla="*/ 16 h 17"/>
                <a:gd name="T36" fmla="*/ 0 w 17"/>
                <a:gd name="T37" fmla="*/ 16 h 17"/>
                <a:gd name="T38" fmla="*/ 0 w 17"/>
                <a:gd name="T39" fmla="*/ 9 h 17"/>
                <a:gd name="T40" fmla="*/ 0 w 17"/>
                <a:gd name="T41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0" y="9"/>
                  </a:lnTo>
                  <a:lnTo>
                    <a:pt x="0" y="6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6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9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" name="Freeform 131"/>
            <p:cNvSpPr>
              <a:spLocks/>
            </p:cNvSpPr>
            <p:nvPr/>
          </p:nvSpPr>
          <p:spPr bwMode="auto">
            <a:xfrm>
              <a:off x="2964846" y="4993795"/>
              <a:ext cx="280308" cy="213610"/>
            </a:xfrm>
            <a:custGeom>
              <a:avLst/>
              <a:gdLst>
                <a:gd name="T0" fmla="*/ 225 w 418"/>
                <a:gd name="T1" fmla="*/ 314 h 318"/>
                <a:gd name="T2" fmla="*/ 225 w 418"/>
                <a:gd name="T3" fmla="*/ 309 h 318"/>
                <a:gd name="T4" fmla="*/ 225 w 418"/>
                <a:gd name="T5" fmla="*/ 306 h 318"/>
                <a:gd name="T6" fmla="*/ 216 w 418"/>
                <a:gd name="T7" fmla="*/ 279 h 318"/>
                <a:gd name="T8" fmla="*/ 198 w 418"/>
                <a:gd name="T9" fmla="*/ 264 h 318"/>
                <a:gd name="T10" fmla="*/ 192 w 418"/>
                <a:gd name="T11" fmla="*/ 248 h 318"/>
                <a:gd name="T12" fmla="*/ 179 w 418"/>
                <a:gd name="T13" fmla="*/ 227 h 318"/>
                <a:gd name="T14" fmla="*/ 164 w 418"/>
                <a:gd name="T15" fmla="*/ 221 h 318"/>
                <a:gd name="T16" fmla="*/ 160 w 418"/>
                <a:gd name="T17" fmla="*/ 219 h 318"/>
                <a:gd name="T18" fmla="*/ 147 w 418"/>
                <a:gd name="T19" fmla="*/ 207 h 318"/>
                <a:gd name="T20" fmla="*/ 140 w 418"/>
                <a:gd name="T21" fmla="*/ 197 h 318"/>
                <a:gd name="T22" fmla="*/ 129 w 418"/>
                <a:gd name="T23" fmla="*/ 180 h 318"/>
                <a:gd name="T24" fmla="*/ 120 w 418"/>
                <a:gd name="T25" fmla="*/ 177 h 318"/>
                <a:gd name="T26" fmla="*/ 116 w 418"/>
                <a:gd name="T27" fmla="*/ 176 h 318"/>
                <a:gd name="T28" fmla="*/ 110 w 418"/>
                <a:gd name="T29" fmla="*/ 169 h 318"/>
                <a:gd name="T30" fmla="*/ 101 w 418"/>
                <a:gd name="T31" fmla="*/ 156 h 318"/>
                <a:gd name="T32" fmla="*/ 94 w 418"/>
                <a:gd name="T33" fmla="*/ 155 h 318"/>
                <a:gd name="T34" fmla="*/ 86 w 418"/>
                <a:gd name="T35" fmla="*/ 153 h 318"/>
                <a:gd name="T36" fmla="*/ 75 w 418"/>
                <a:gd name="T37" fmla="*/ 143 h 318"/>
                <a:gd name="T38" fmla="*/ 69 w 418"/>
                <a:gd name="T39" fmla="*/ 133 h 318"/>
                <a:gd name="T40" fmla="*/ 60 w 418"/>
                <a:gd name="T41" fmla="*/ 123 h 318"/>
                <a:gd name="T42" fmla="*/ 48 w 418"/>
                <a:gd name="T43" fmla="*/ 106 h 318"/>
                <a:gd name="T44" fmla="*/ 44 w 418"/>
                <a:gd name="T45" fmla="*/ 95 h 318"/>
                <a:gd name="T46" fmla="*/ 39 w 418"/>
                <a:gd name="T47" fmla="*/ 95 h 318"/>
                <a:gd name="T48" fmla="*/ 27 w 418"/>
                <a:gd name="T49" fmla="*/ 92 h 318"/>
                <a:gd name="T50" fmla="*/ 17 w 418"/>
                <a:gd name="T51" fmla="*/ 87 h 318"/>
                <a:gd name="T52" fmla="*/ 14 w 418"/>
                <a:gd name="T53" fmla="*/ 84 h 318"/>
                <a:gd name="T54" fmla="*/ 0 w 418"/>
                <a:gd name="T55" fmla="*/ 71 h 318"/>
                <a:gd name="T56" fmla="*/ 11 w 418"/>
                <a:gd name="T57" fmla="*/ 48 h 318"/>
                <a:gd name="T58" fmla="*/ 17 w 418"/>
                <a:gd name="T59" fmla="*/ 44 h 318"/>
                <a:gd name="T60" fmla="*/ 20 w 418"/>
                <a:gd name="T61" fmla="*/ 41 h 318"/>
                <a:gd name="T62" fmla="*/ 30 w 418"/>
                <a:gd name="T63" fmla="*/ 32 h 318"/>
                <a:gd name="T64" fmla="*/ 44 w 418"/>
                <a:gd name="T65" fmla="*/ 24 h 318"/>
                <a:gd name="T66" fmla="*/ 64 w 418"/>
                <a:gd name="T67" fmla="*/ 14 h 318"/>
                <a:gd name="T68" fmla="*/ 88 w 418"/>
                <a:gd name="T69" fmla="*/ 8 h 318"/>
                <a:gd name="T70" fmla="*/ 176 w 418"/>
                <a:gd name="T71" fmla="*/ 1 h 318"/>
                <a:gd name="T72" fmla="*/ 188 w 418"/>
                <a:gd name="T73" fmla="*/ 0 h 318"/>
                <a:gd name="T74" fmla="*/ 204 w 418"/>
                <a:gd name="T75" fmla="*/ 10 h 318"/>
                <a:gd name="T76" fmla="*/ 306 w 418"/>
                <a:gd name="T77" fmla="*/ 17 h 318"/>
                <a:gd name="T78" fmla="*/ 416 w 418"/>
                <a:gd name="T79" fmla="*/ 97 h 318"/>
                <a:gd name="T80" fmla="*/ 410 w 418"/>
                <a:gd name="T81" fmla="*/ 103 h 318"/>
                <a:gd name="T82" fmla="*/ 399 w 418"/>
                <a:gd name="T83" fmla="*/ 113 h 318"/>
                <a:gd name="T84" fmla="*/ 388 w 418"/>
                <a:gd name="T85" fmla="*/ 127 h 318"/>
                <a:gd name="T86" fmla="*/ 378 w 418"/>
                <a:gd name="T87" fmla="*/ 147 h 318"/>
                <a:gd name="T88" fmla="*/ 372 w 418"/>
                <a:gd name="T89" fmla="*/ 161 h 318"/>
                <a:gd name="T90" fmla="*/ 368 w 418"/>
                <a:gd name="T91" fmla="*/ 158 h 318"/>
                <a:gd name="T92" fmla="*/ 365 w 418"/>
                <a:gd name="T93" fmla="*/ 161 h 318"/>
                <a:gd name="T94" fmla="*/ 366 w 418"/>
                <a:gd name="T95" fmla="*/ 169 h 318"/>
                <a:gd name="T96" fmla="*/ 374 w 418"/>
                <a:gd name="T97" fmla="*/ 171 h 318"/>
                <a:gd name="T98" fmla="*/ 375 w 418"/>
                <a:gd name="T99" fmla="*/ 177 h 318"/>
                <a:gd name="T100" fmla="*/ 369 w 418"/>
                <a:gd name="T101" fmla="*/ 188 h 318"/>
                <a:gd name="T102" fmla="*/ 362 w 418"/>
                <a:gd name="T103" fmla="*/ 190 h 318"/>
                <a:gd name="T104" fmla="*/ 350 w 418"/>
                <a:gd name="T105" fmla="*/ 199 h 318"/>
                <a:gd name="T106" fmla="*/ 336 w 418"/>
                <a:gd name="T107" fmla="*/ 219 h 318"/>
                <a:gd name="T108" fmla="*/ 333 w 418"/>
                <a:gd name="T109" fmla="*/ 221 h 318"/>
                <a:gd name="T110" fmla="*/ 329 w 418"/>
                <a:gd name="T111" fmla="*/ 227 h 318"/>
                <a:gd name="T112" fmla="*/ 318 w 418"/>
                <a:gd name="T113" fmla="*/ 230 h 318"/>
                <a:gd name="T114" fmla="*/ 303 w 418"/>
                <a:gd name="T115" fmla="*/ 253 h 318"/>
                <a:gd name="T116" fmla="*/ 299 w 418"/>
                <a:gd name="T117" fmla="*/ 257 h 318"/>
                <a:gd name="T118" fmla="*/ 270 w 418"/>
                <a:gd name="T119" fmla="*/ 266 h 318"/>
                <a:gd name="T120" fmla="*/ 246 w 418"/>
                <a:gd name="T121" fmla="*/ 285 h 318"/>
                <a:gd name="T122" fmla="*/ 237 w 418"/>
                <a:gd name="T123" fmla="*/ 315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8" h="318">
                  <a:moveTo>
                    <a:pt x="227" y="317"/>
                  </a:moveTo>
                  <a:lnTo>
                    <a:pt x="227" y="315"/>
                  </a:lnTo>
                  <a:lnTo>
                    <a:pt x="225" y="314"/>
                  </a:lnTo>
                  <a:lnTo>
                    <a:pt x="225" y="312"/>
                  </a:lnTo>
                  <a:lnTo>
                    <a:pt x="225" y="311"/>
                  </a:lnTo>
                  <a:lnTo>
                    <a:pt x="225" y="309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6"/>
                  </a:lnTo>
                  <a:lnTo>
                    <a:pt x="224" y="295"/>
                  </a:lnTo>
                  <a:lnTo>
                    <a:pt x="221" y="286"/>
                  </a:lnTo>
                  <a:lnTo>
                    <a:pt x="216" y="279"/>
                  </a:lnTo>
                  <a:lnTo>
                    <a:pt x="210" y="272"/>
                  </a:lnTo>
                  <a:lnTo>
                    <a:pt x="204" y="267"/>
                  </a:lnTo>
                  <a:lnTo>
                    <a:pt x="198" y="264"/>
                  </a:lnTo>
                  <a:lnTo>
                    <a:pt x="195" y="262"/>
                  </a:lnTo>
                  <a:lnTo>
                    <a:pt x="194" y="260"/>
                  </a:lnTo>
                  <a:lnTo>
                    <a:pt x="192" y="248"/>
                  </a:lnTo>
                  <a:lnTo>
                    <a:pt x="191" y="239"/>
                  </a:lnTo>
                  <a:lnTo>
                    <a:pt x="185" y="232"/>
                  </a:lnTo>
                  <a:lnTo>
                    <a:pt x="179" y="227"/>
                  </a:lnTo>
                  <a:lnTo>
                    <a:pt x="173" y="224"/>
                  </a:lnTo>
                  <a:lnTo>
                    <a:pt x="168" y="223"/>
                  </a:lnTo>
                  <a:lnTo>
                    <a:pt x="164" y="221"/>
                  </a:lnTo>
                  <a:lnTo>
                    <a:pt x="162" y="221"/>
                  </a:lnTo>
                  <a:lnTo>
                    <a:pt x="162" y="221"/>
                  </a:lnTo>
                  <a:lnTo>
                    <a:pt x="160" y="219"/>
                  </a:lnTo>
                  <a:lnTo>
                    <a:pt x="156" y="215"/>
                  </a:lnTo>
                  <a:lnTo>
                    <a:pt x="152" y="212"/>
                  </a:lnTo>
                  <a:lnTo>
                    <a:pt x="147" y="207"/>
                  </a:lnTo>
                  <a:lnTo>
                    <a:pt x="144" y="203"/>
                  </a:lnTo>
                  <a:lnTo>
                    <a:pt x="141" y="200"/>
                  </a:lnTo>
                  <a:lnTo>
                    <a:pt x="140" y="197"/>
                  </a:lnTo>
                  <a:lnTo>
                    <a:pt x="137" y="190"/>
                  </a:lnTo>
                  <a:lnTo>
                    <a:pt x="132" y="185"/>
                  </a:lnTo>
                  <a:lnTo>
                    <a:pt x="129" y="180"/>
                  </a:lnTo>
                  <a:lnTo>
                    <a:pt x="126" y="179"/>
                  </a:lnTo>
                  <a:lnTo>
                    <a:pt x="123" y="177"/>
                  </a:lnTo>
                  <a:lnTo>
                    <a:pt x="120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6" y="176"/>
                  </a:lnTo>
                  <a:lnTo>
                    <a:pt x="114" y="173"/>
                  </a:lnTo>
                  <a:lnTo>
                    <a:pt x="111" y="171"/>
                  </a:lnTo>
                  <a:lnTo>
                    <a:pt x="110" y="169"/>
                  </a:lnTo>
                  <a:lnTo>
                    <a:pt x="107" y="163"/>
                  </a:lnTo>
                  <a:lnTo>
                    <a:pt x="104" y="158"/>
                  </a:lnTo>
                  <a:lnTo>
                    <a:pt x="101" y="156"/>
                  </a:lnTo>
                  <a:lnTo>
                    <a:pt x="98" y="155"/>
                  </a:lnTo>
                  <a:lnTo>
                    <a:pt x="96" y="153"/>
                  </a:lnTo>
                  <a:lnTo>
                    <a:pt x="94" y="155"/>
                  </a:lnTo>
                  <a:lnTo>
                    <a:pt x="91" y="155"/>
                  </a:lnTo>
                  <a:lnTo>
                    <a:pt x="91" y="155"/>
                  </a:lnTo>
                  <a:lnTo>
                    <a:pt x="86" y="153"/>
                  </a:lnTo>
                  <a:lnTo>
                    <a:pt x="81" y="152"/>
                  </a:lnTo>
                  <a:lnTo>
                    <a:pt x="78" y="147"/>
                  </a:lnTo>
                  <a:lnTo>
                    <a:pt x="75" y="143"/>
                  </a:lnTo>
                  <a:lnTo>
                    <a:pt x="72" y="138"/>
                  </a:lnTo>
                  <a:lnTo>
                    <a:pt x="71" y="136"/>
                  </a:lnTo>
                  <a:lnTo>
                    <a:pt x="69" y="133"/>
                  </a:lnTo>
                  <a:lnTo>
                    <a:pt x="69" y="131"/>
                  </a:lnTo>
                  <a:lnTo>
                    <a:pt x="65" y="128"/>
                  </a:lnTo>
                  <a:lnTo>
                    <a:pt x="60" y="123"/>
                  </a:lnTo>
                  <a:lnTo>
                    <a:pt x="55" y="117"/>
                  </a:lnTo>
                  <a:lnTo>
                    <a:pt x="51" y="111"/>
                  </a:lnTo>
                  <a:lnTo>
                    <a:pt x="48" y="106"/>
                  </a:lnTo>
                  <a:lnTo>
                    <a:pt x="47" y="100"/>
                  </a:lnTo>
                  <a:lnTo>
                    <a:pt x="44" y="97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1" y="95"/>
                  </a:lnTo>
                  <a:lnTo>
                    <a:pt x="39" y="95"/>
                  </a:lnTo>
                  <a:lnTo>
                    <a:pt x="38" y="93"/>
                  </a:lnTo>
                  <a:lnTo>
                    <a:pt x="32" y="93"/>
                  </a:lnTo>
                  <a:lnTo>
                    <a:pt x="27" y="92"/>
                  </a:lnTo>
                  <a:lnTo>
                    <a:pt x="22" y="90"/>
                  </a:lnTo>
                  <a:lnTo>
                    <a:pt x="20" y="89"/>
                  </a:lnTo>
                  <a:lnTo>
                    <a:pt x="17" y="87"/>
                  </a:lnTo>
                  <a:lnTo>
                    <a:pt x="15" y="86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3" y="83"/>
                  </a:lnTo>
                  <a:lnTo>
                    <a:pt x="0" y="78"/>
                  </a:lnTo>
                  <a:lnTo>
                    <a:pt x="0" y="71"/>
                  </a:lnTo>
                  <a:lnTo>
                    <a:pt x="0" y="63"/>
                  </a:lnTo>
                  <a:lnTo>
                    <a:pt x="5" y="56"/>
                  </a:lnTo>
                  <a:lnTo>
                    <a:pt x="11" y="48"/>
                  </a:lnTo>
                  <a:lnTo>
                    <a:pt x="14" y="44"/>
                  </a:lnTo>
                  <a:lnTo>
                    <a:pt x="15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8" y="43"/>
                  </a:lnTo>
                  <a:lnTo>
                    <a:pt x="20" y="41"/>
                  </a:lnTo>
                  <a:lnTo>
                    <a:pt x="22" y="38"/>
                  </a:lnTo>
                  <a:lnTo>
                    <a:pt x="25" y="35"/>
                  </a:lnTo>
                  <a:lnTo>
                    <a:pt x="30" y="32"/>
                  </a:lnTo>
                  <a:lnTo>
                    <a:pt x="33" y="30"/>
                  </a:lnTo>
                  <a:lnTo>
                    <a:pt x="39" y="27"/>
                  </a:lnTo>
                  <a:lnTo>
                    <a:pt x="44" y="24"/>
                  </a:lnTo>
                  <a:lnTo>
                    <a:pt x="51" y="20"/>
                  </a:lnTo>
                  <a:lnTo>
                    <a:pt x="57" y="17"/>
                  </a:lnTo>
                  <a:lnTo>
                    <a:pt x="64" y="14"/>
                  </a:lnTo>
                  <a:lnTo>
                    <a:pt x="71" y="13"/>
                  </a:lnTo>
                  <a:lnTo>
                    <a:pt x="80" y="11"/>
                  </a:lnTo>
                  <a:lnTo>
                    <a:pt x="88" y="8"/>
                  </a:lnTo>
                  <a:lnTo>
                    <a:pt x="96" y="8"/>
                  </a:lnTo>
                  <a:lnTo>
                    <a:pt x="174" y="1"/>
                  </a:lnTo>
                  <a:lnTo>
                    <a:pt x="176" y="1"/>
                  </a:lnTo>
                  <a:lnTo>
                    <a:pt x="177" y="0"/>
                  </a:lnTo>
                  <a:lnTo>
                    <a:pt x="182" y="0"/>
                  </a:lnTo>
                  <a:lnTo>
                    <a:pt x="188" y="0"/>
                  </a:lnTo>
                  <a:lnTo>
                    <a:pt x="192" y="1"/>
                  </a:lnTo>
                  <a:lnTo>
                    <a:pt x="198" y="4"/>
                  </a:lnTo>
                  <a:lnTo>
                    <a:pt x="204" y="10"/>
                  </a:lnTo>
                  <a:lnTo>
                    <a:pt x="212" y="20"/>
                  </a:lnTo>
                  <a:lnTo>
                    <a:pt x="215" y="31"/>
                  </a:lnTo>
                  <a:lnTo>
                    <a:pt x="306" y="17"/>
                  </a:lnTo>
                  <a:lnTo>
                    <a:pt x="417" y="97"/>
                  </a:lnTo>
                  <a:lnTo>
                    <a:pt x="417" y="97"/>
                  </a:lnTo>
                  <a:lnTo>
                    <a:pt x="416" y="97"/>
                  </a:lnTo>
                  <a:lnTo>
                    <a:pt x="414" y="100"/>
                  </a:lnTo>
                  <a:lnTo>
                    <a:pt x="411" y="101"/>
                  </a:lnTo>
                  <a:lnTo>
                    <a:pt x="410" y="103"/>
                  </a:lnTo>
                  <a:lnTo>
                    <a:pt x="407" y="106"/>
                  </a:lnTo>
                  <a:lnTo>
                    <a:pt x="402" y="110"/>
                  </a:lnTo>
                  <a:lnTo>
                    <a:pt x="399" y="113"/>
                  </a:lnTo>
                  <a:lnTo>
                    <a:pt x="395" y="119"/>
                  </a:lnTo>
                  <a:lnTo>
                    <a:pt x="392" y="123"/>
                  </a:lnTo>
                  <a:lnTo>
                    <a:pt x="388" y="127"/>
                  </a:lnTo>
                  <a:lnTo>
                    <a:pt x="385" y="134"/>
                  </a:lnTo>
                  <a:lnTo>
                    <a:pt x="381" y="140"/>
                  </a:lnTo>
                  <a:lnTo>
                    <a:pt x="378" y="147"/>
                  </a:lnTo>
                  <a:lnTo>
                    <a:pt x="375" y="155"/>
                  </a:lnTo>
                  <a:lnTo>
                    <a:pt x="372" y="161"/>
                  </a:lnTo>
                  <a:lnTo>
                    <a:pt x="372" y="161"/>
                  </a:lnTo>
                  <a:lnTo>
                    <a:pt x="369" y="160"/>
                  </a:lnTo>
                  <a:lnTo>
                    <a:pt x="368" y="158"/>
                  </a:lnTo>
                  <a:lnTo>
                    <a:pt x="368" y="158"/>
                  </a:lnTo>
                  <a:lnTo>
                    <a:pt x="366" y="158"/>
                  </a:lnTo>
                  <a:lnTo>
                    <a:pt x="366" y="158"/>
                  </a:lnTo>
                  <a:lnTo>
                    <a:pt x="365" y="161"/>
                  </a:lnTo>
                  <a:lnTo>
                    <a:pt x="365" y="164"/>
                  </a:lnTo>
                  <a:lnTo>
                    <a:pt x="365" y="167"/>
                  </a:lnTo>
                  <a:lnTo>
                    <a:pt x="366" y="169"/>
                  </a:lnTo>
                  <a:lnTo>
                    <a:pt x="368" y="170"/>
                  </a:lnTo>
                  <a:lnTo>
                    <a:pt x="372" y="171"/>
                  </a:lnTo>
                  <a:lnTo>
                    <a:pt x="374" y="171"/>
                  </a:lnTo>
                  <a:lnTo>
                    <a:pt x="374" y="173"/>
                  </a:lnTo>
                  <a:lnTo>
                    <a:pt x="375" y="174"/>
                  </a:lnTo>
                  <a:lnTo>
                    <a:pt x="375" y="177"/>
                  </a:lnTo>
                  <a:lnTo>
                    <a:pt x="375" y="180"/>
                  </a:lnTo>
                  <a:lnTo>
                    <a:pt x="372" y="183"/>
                  </a:lnTo>
                  <a:lnTo>
                    <a:pt x="369" y="188"/>
                  </a:lnTo>
                  <a:lnTo>
                    <a:pt x="365" y="190"/>
                  </a:lnTo>
                  <a:lnTo>
                    <a:pt x="363" y="190"/>
                  </a:lnTo>
                  <a:lnTo>
                    <a:pt x="362" y="190"/>
                  </a:lnTo>
                  <a:lnTo>
                    <a:pt x="358" y="193"/>
                  </a:lnTo>
                  <a:lnTo>
                    <a:pt x="353" y="194"/>
                  </a:lnTo>
                  <a:lnTo>
                    <a:pt x="350" y="199"/>
                  </a:lnTo>
                  <a:lnTo>
                    <a:pt x="345" y="203"/>
                  </a:lnTo>
                  <a:lnTo>
                    <a:pt x="341" y="210"/>
                  </a:lnTo>
                  <a:lnTo>
                    <a:pt x="336" y="219"/>
                  </a:lnTo>
                  <a:lnTo>
                    <a:pt x="336" y="219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2" y="224"/>
                  </a:lnTo>
                  <a:lnTo>
                    <a:pt x="330" y="226"/>
                  </a:lnTo>
                  <a:lnTo>
                    <a:pt x="329" y="227"/>
                  </a:lnTo>
                  <a:lnTo>
                    <a:pt x="328" y="229"/>
                  </a:lnTo>
                  <a:lnTo>
                    <a:pt x="328" y="229"/>
                  </a:lnTo>
                  <a:lnTo>
                    <a:pt x="318" y="230"/>
                  </a:lnTo>
                  <a:lnTo>
                    <a:pt x="318" y="234"/>
                  </a:lnTo>
                  <a:lnTo>
                    <a:pt x="325" y="236"/>
                  </a:lnTo>
                  <a:lnTo>
                    <a:pt x="303" y="253"/>
                  </a:lnTo>
                  <a:lnTo>
                    <a:pt x="299" y="246"/>
                  </a:lnTo>
                  <a:lnTo>
                    <a:pt x="294" y="253"/>
                  </a:lnTo>
                  <a:lnTo>
                    <a:pt x="299" y="257"/>
                  </a:lnTo>
                  <a:lnTo>
                    <a:pt x="290" y="267"/>
                  </a:lnTo>
                  <a:lnTo>
                    <a:pt x="284" y="266"/>
                  </a:lnTo>
                  <a:lnTo>
                    <a:pt x="270" y="266"/>
                  </a:lnTo>
                  <a:lnTo>
                    <a:pt x="257" y="267"/>
                  </a:lnTo>
                  <a:lnTo>
                    <a:pt x="251" y="270"/>
                  </a:lnTo>
                  <a:lnTo>
                    <a:pt x="246" y="285"/>
                  </a:lnTo>
                  <a:lnTo>
                    <a:pt x="256" y="295"/>
                  </a:lnTo>
                  <a:lnTo>
                    <a:pt x="245" y="317"/>
                  </a:lnTo>
                  <a:lnTo>
                    <a:pt x="237" y="315"/>
                  </a:lnTo>
                  <a:lnTo>
                    <a:pt x="227" y="31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0" name="Freeform 132"/>
            <p:cNvSpPr>
              <a:spLocks/>
            </p:cNvSpPr>
            <p:nvPr/>
          </p:nvSpPr>
          <p:spPr bwMode="auto">
            <a:xfrm>
              <a:off x="2964846" y="4993795"/>
              <a:ext cx="280308" cy="213610"/>
            </a:xfrm>
            <a:custGeom>
              <a:avLst/>
              <a:gdLst>
                <a:gd name="T0" fmla="*/ 225 w 418"/>
                <a:gd name="T1" fmla="*/ 314 h 318"/>
                <a:gd name="T2" fmla="*/ 225 w 418"/>
                <a:gd name="T3" fmla="*/ 308 h 318"/>
                <a:gd name="T4" fmla="*/ 224 w 418"/>
                <a:gd name="T5" fmla="*/ 295 h 318"/>
                <a:gd name="T6" fmla="*/ 204 w 418"/>
                <a:gd name="T7" fmla="*/ 267 h 318"/>
                <a:gd name="T8" fmla="*/ 194 w 418"/>
                <a:gd name="T9" fmla="*/ 260 h 318"/>
                <a:gd name="T10" fmla="*/ 179 w 418"/>
                <a:gd name="T11" fmla="*/ 227 h 318"/>
                <a:gd name="T12" fmla="*/ 162 w 418"/>
                <a:gd name="T13" fmla="*/ 221 h 318"/>
                <a:gd name="T14" fmla="*/ 156 w 418"/>
                <a:gd name="T15" fmla="*/ 215 h 318"/>
                <a:gd name="T16" fmla="*/ 141 w 418"/>
                <a:gd name="T17" fmla="*/ 200 h 318"/>
                <a:gd name="T18" fmla="*/ 132 w 418"/>
                <a:gd name="T19" fmla="*/ 185 h 318"/>
                <a:gd name="T20" fmla="*/ 120 w 418"/>
                <a:gd name="T21" fmla="*/ 177 h 318"/>
                <a:gd name="T22" fmla="*/ 116 w 418"/>
                <a:gd name="T23" fmla="*/ 176 h 318"/>
                <a:gd name="T24" fmla="*/ 110 w 418"/>
                <a:gd name="T25" fmla="*/ 169 h 318"/>
                <a:gd name="T26" fmla="*/ 98 w 418"/>
                <a:gd name="T27" fmla="*/ 155 h 318"/>
                <a:gd name="T28" fmla="*/ 91 w 418"/>
                <a:gd name="T29" fmla="*/ 155 h 318"/>
                <a:gd name="T30" fmla="*/ 78 w 418"/>
                <a:gd name="T31" fmla="*/ 147 h 318"/>
                <a:gd name="T32" fmla="*/ 69 w 418"/>
                <a:gd name="T33" fmla="*/ 133 h 318"/>
                <a:gd name="T34" fmla="*/ 60 w 418"/>
                <a:gd name="T35" fmla="*/ 123 h 318"/>
                <a:gd name="T36" fmla="*/ 47 w 418"/>
                <a:gd name="T37" fmla="*/ 100 h 318"/>
                <a:gd name="T38" fmla="*/ 44 w 418"/>
                <a:gd name="T39" fmla="*/ 95 h 318"/>
                <a:gd name="T40" fmla="*/ 38 w 418"/>
                <a:gd name="T41" fmla="*/ 93 h 318"/>
                <a:gd name="T42" fmla="*/ 20 w 418"/>
                <a:gd name="T43" fmla="*/ 89 h 318"/>
                <a:gd name="T44" fmla="*/ 14 w 418"/>
                <a:gd name="T45" fmla="*/ 84 h 318"/>
                <a:gd name="T46" fmla="*/ 0 w 418"/>
                <a:gd name="T47" fmla="*/ 71 h 318"/>
                <a:gd name="T48" fmla="*/ 14 w 418"/>
                <a:gd name="T49" fmla="*/ 44 h 318"/>
                <a:gd name="T50" fmla="*/ 17 w 418"/>
                <a:gd name="T51" fmla="*/ 44 h 318"/>
                <a:gd name="T52" fmla="*/ 25 w 418"/>
                <a:gd name="T53" fmla="*/ 35 h 318"/>
                <a:gd name="T54" fmla="*/ 44 w 418"/>
                <a:gd name="T55" fmla="*/ 24 h 318"/>
                <a:gd name="T56" fmla="*/ 71 w 418"/>
                <a:gd name="T57" fmla="*/ 13 h 318"/>
                <a:gd name="T58" fmla="*/ 174 w 418"/>
                <a:gd name="T59" fmla="*/ 1 h 318"/>
                <a:gd name="T60" fmla="*/ 182 w 418"/>
                <a:gd name="T61" fmla="*/ 0 h 318"/>
                <a:gd name="T62" fmla="*/ 204 w 418"/>
                <a:gd name="T63" fmla="*/ 10 h 318"/>
                <a:gd name="T64" fmla="*/ 417 w 418"/>
                <a:gd name="T65" fmla="*/ 97 h 318"/>
                <a:gd name="T66" fmla="*/ 414 w 418"/>
                <a:gd name="T67" fmla="*/ 100 h 318"/>
                <a:gd name="T68" fmla="*/ 402 w 418"/>
                <a:gd name="T69" fmla="*/ 110 h 318"/>
                <a:gd name="T70" fmla="*/ 388 w 418"/>
                <a:gd name="T71" fmla="*/ 127 h 318"/>
                <a:gd name="T72" fmla="*/ 375 w 418"/>
                <a:gd name="T73" fmla="*/ 155 h 318"/>
                <a:gd name="T74" fmla="*/ 369 w 418"/>
                <a:gd name="T75" fmla="*/ 160 h 318"/>
                <a:gd name="T76" fmla="*/ 366 w 418"/>
                <a:gd name="T77" fmla="*/ 158 h 318"/>
                <a:gd name="T78" fmla="*/ 365 w 418"/>
                <a:gd name="T79" fmla="*/ 167 h 318"/>
                <a:gd name="T80" fmla="*/ 372 w 418"/>
                <a:gd name="T81" fmla="*/ 171 h 318"/>
                <a:gd name="T82" fmla="*/ 375 w 418"/>
                <a:gd name="T83" fmla="*/ 177 h 318"/>
                <a:gd name="T84" fmla="*/ 365 w 418"/>
                <a:gd name="T85" fmla="*/ 190 h 318"/>
                <a:gd name="T86" fmla="*/ 358 w 418"/>
                <a:gd name="T87" fmla="*/ 193 h 318"/>
                <a:gd name="T88" fmla="*/ 341 w 418"/>
                <a:gd name="T89" fmla="*/ 210 h 318"/>
                <a:gd name="T90" fmla="*/ 335 w 418"/>
                <a:gd name="T91" fmla="*/ 221 h 318"/>
                <a:gd name="T92" fmla="*/ 329 w 418"/>
                <a:gd name="T93" fmla="*/ 227 h 318"/>
                <a:gd name="T94" fmla="*/ 318 w 418"/>
                <a:gd name="T95" fmla="*/ 234 h 318"/>
                <a:gd name="T96" fmla="*/ 294 w 418"/>
                <a:gd name="T97" fmla="*/ 253 h 318"/>
                <a:gd name="T98" fmla="*/ 270 w 418"/>
                <a:gd name="T99" fmla="*/ 266 h 318"/>
                <a:gd name="T100" fmla="*/ 256 w 418"/>
                <a:gd name="T101" fmla="*/ 295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18" h="318">
                  <a:moveTo>
                    <a:pt x="227" y="317"/>
                  </a:moveTo>
                  <a:lnTo>
                    <a:pt x="227" y="317"/>
                  </a:lnTo>
                  <a:lnTo>
                    <a:pt x="227" y="315"/>
                  </a:lnTo>
                  <a:lnTo>
                    <a:pt x="225" y="314"/>
                  </a:lnTo>
                  <a:lnTo>
                    <a:pt x="225" y="312"/>
                  </a:lnTo>
                  <a:lnTo>
                    <a:pt x="225" y="311"/>
                  </a:lnTo>
                  <a:lnTo>
                    <a:pt x="225" y="309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6"/>
                  </a:lnTo>
                  <a:lnTo>
                    <a:pt x="225" y="306"/>
                  </a:lnTo>
                  <a:lnTo>
                    <a:pt x="224" y="295"/>
                  </a:lnTo>
                  <a:lnTo>
                    <a:pt x="221" y="286"/>
                  </a:lnTo>
                  <a:lnTo>
                    <a:pt x="216" y="279"/>
                  </a:lnTo>
                  <a:lnTo>
                    <a:pt x="210" y="272"/>
                  </a:lnTo>
                  <a:lnTo>
                    <a:pt x="204" y="267"/>
                  </a:lnTo>
                  <a:lnTo>
                    <a:pt x="198" y="264"/>
                  </a:lnTo>
                  <a:lnTo>
                    <a:pt x="195" y="262"/>
                  </a:lnTo>
                  <a:lnTo>
                    <a:pt x="194" y="260"/>
                  </a:lnTo>
                  <a:lnTo>
                    <a:pt x="194" y="260"/>
                  </a:lnTo>
                  <a:lnTo>
                    <a:pt x="192" y="248"/>
                  </a:lnTo>
                  <a:lnTo>
                    <a:pt x="191" y="239"/>
                  </a:lnTo>
                  <a:lnTo>
                    <a:pt x="185" y="232"/>
                  </a:lnTo>
                  <a:lnTo>
                    <a:pt x="179" y="227"/>
                  </a:lnTo>
                  <a:lnTo>
                    <a:pt x="173" y="224"/>
                  </a:lnTo>
                  <a:lnTo>
                    <a:pt x="168" y="223"/>
                  </a:lnTo>
                  <a:lnTo>
                    <a:pt x="164" y="221"/>
                  </a:lnTo>
                  <a:lnTo>
                    <a:pt x="162" y="221"/>
                  </a:lnTo>
                  <a:lnTo>
                    <a:pt x="162" y="221"/>
                  </a:lnTo>
                  <a:lnTo>
                    <a:pt x="162" y="221"/>
                  </a:lnTo>
                  <a:lnTo>
                    <a:pt x="160" y="219"/>
                  </a:lnTo>
                  <a:lnTo>
                    <a:pt x="156" y="215"/>
                  </a:lnTo>
                  <a:lnTo>
                    <a:pt x="152" y="212"/>
                  </a:lnTo>
                  <a:lnTo>
                    <a:pt x="147" y="207"/>
                  </a:lnTo>
                  <a:lnTo>
                    <a:pt x="144" y="203"/>
                  </a:lnTo>
                  <a:lnTo>
                    <a:pt x="141" y="200"/>
                  </a:lnTo>
                  <a:lnTo>
                    <a:pt x="140" y="197"/>
                  </a:lnTo>
                  <a:lnTo>
                    <a:pt x="140" y="197"/>
                  </a:lnTo>
                  <a:lnTo>
                    <a:pt x="137" y="190"/>
                  </a:lnTo>
                  <a:lnTo>
                    <a:pt x="132" y="185"/>
                  </a:lnTo>
                  <a:lnTo>
                    <a:pt x="129" y="180"/>
                  </a:lnTo>
                  <a:lnTo>
                    <a:pt x="126" y="179"/>
                  </a:lnTo>
                  <a:lnTo>
                    <a:pt x="123" y="177"/>
                  </a:lnTo>
                  <a:lnTo>
                    <a:pt x="120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6" y="176"/>
                  </a:lnTo>
                  <a:lnTo>
                    <a:pt x="114" y="173"/>
                  </a:lnTo>
                  <a:lnTo>
                    <a:pt x="111" y="171"/>
                  </a:lnTo>
                  <a:lnTo>
                    <a:pt x="110" y="169"/>
                  </a:lnTo>
                  <a:lnTo>
                    <a:pt x="110" y="169"/>
                  </a:lnTo>
                  <a:lnTo>
                    <a:pt x="107" y="163"/>
                  </a:lnTo>
                  <a:lnTo>
                    <a:pt x="104" y="158"/>
                  </a:lnTo>
                  <a:lnTo>
                    <a:pt x="101" y="156"/>
                  </a:lnTo>
                  <a:lnTo>
                    <a:pt x="98" y="155"/>
                  </a:lnTo>
                  <a:lnTo>
                    <a:pt x="96" y="153"/>
                  </a:lnTo>
                  <a:lnTo>
                    <a:pt x="94" y="155"/>
                  </a:lnTo>
                  <a:lnTo>
                    <a:pt x="91" y="155"/>
                  </a:lnTo>
                  <a:lnTo>
                    <a:pt x="91" y="155"/>
                  </a:lnTo>
                  <a:lnTo>
                    <a:pt x="91" y="155"/>
                  </a:lnTo>
                  <a:lnTo>
                    <a:pt x="86" y="153"/>
                  </a:lnTo>
                  <a:lnTo>
                    <a:pt x="81" y="152"/>
                  </a:lnTo>
                  <a:lnTo>
                    <a:pt x="78" y="147"/>
                  </a:lnTo>
                  <a:lnTo>
                    <a:pt x="75" y="143"/>
                  </a:lnTo>
                  <a:lnTo>
                    <a:pt x="72" y="138"/>
                  </a:lnTo>
                  <a:lnTo>
                    <a:pt x="71" y="136"/>
                  </a:lnTo>
                  <a:lnTo>
                    <a:pt x="69" y="133"/>
                  </a:lnTo>
                  <a:lnTo>
                    <a:pt x="69" y="131"/>
                  </a:lnTo>
                  <a:lnTo>
                    <a:pt x="69" y="131"/>
                  </a:lnTo>
                  <a:lnTo>
                    <a:pt x="65" y="128"/>
                  </a:lnTo>
                  <a:lnTo>
                    <a:pt x="60" y="123"/>
                  </a:lnTo>
                  <a:lnTo>
                    <a:pt x="55" y="117"/>
                  </a:lnTo>
                  <a:lnTo>
                    <a:pt x="51" y="111"/>
                  </a:lnTo>
                  <a:lnTo>
                    <a:pt x="48" y="106"/>
                  </a:lnTo>
                  <a:lnTo>
                    <a:pt x="47" y="100"/>
                  </a:lnTo>
                  <a:lnTo>
                    <a:pt x="44" y="97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1" y="95"/>
                  </a:lnTo>
                  <a:lnTo>
                    <a:pt x="39" y="95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2" y="93"/>
                  </a:lnTo>
                  <a:lnTo>
                    <a:pt x="27" y="92"/>
                  </a:lnTo>
                  <a:lnTo>
                    <a:pt x="22" y="90"/>
                  </a:lnTo>
                  <a:lnTo>
                    <a:pt x="20" y="89"/>
                  </a:lnTo>
                  <a:lnTo>
                    <a:pt x="17" y="87"/>
                  </a:lnTo>
                  <a:lnTo>
                    <a:pt x="15" y="86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3" y="83"/>
                  </a:lnTo>
                  <a:lnTo>
                    <a:pt x="0" y="78"/>
                  </a:lnTo>
                  <a:lnTo>
                    <a:pt x="0" y="71"/>
                  </a:lnTo>
                  <a:lnTo>
                    <a:pt x="0" y="63"/>
                  </a:lnTo>
                  <a:lnTo>
                    <a:pt x="5" y="56"/>
                  </a:lnTo>
                  <a:lnTo>
                    <a:pt x="11" y="48"/>
                  </a:lnTo>
                  <a:lnTo>
                    <a:pt x="14" y="44"/>
                  </a:lnTo>
                  <a:lnTo>
                    <a:pt x="15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8" y="43"/>
                  </a:lnTo>
                  <a:lnTo>
                    <a:pt x="20" y="41"/>
                  </a:lnTo>
                  <a:lnTo>
                    <a:pt x="22" y="38"/>
                  </a:lnTo>
                  <a:lnTo>
                    <a:pt x="25" y="35"/>
                  </a:lnTo>
                  <a:lnTo>
                    <a:pt x="30" y="32"/>
                  </a:lnTo>
                  <a:lnTo>
                    <a:pt x="33" y="30"/>
                  </a:lnTo>
                  <a:lnTo>
                    <a:pt x="39" y="27"/>
                  </a:lnTo>
                  <a:lnTo>
                    <a:pt x="44" y="24"/>
                  </a:lnTo>
                  <a:lnTo>
                    <a:pt x="51" y="20"/>
                  </a:lnTo>
                  <a:lnTo>
                    <a:pt x="57" y="17"/>
                  </a:lnTo>
                  <a:lnTo>
                    <a:pt x="64" y="14"/>
                  </a:lnTo>
                  <a:lnTo>
                    <a:pt x="71" y="13"/>
                  </a:lnTo>
                  <a:lnTo>
                    <a:pt x="80" y="11"/>
                  </a:lnTo>
                  <a:lnTo>
                    <a:pt x="88" y="8"/>
                  </a:lnTo>
                  <a:lnTo>
                    <a:pt x="96" y="8"/>
                  </a:lnTo>
                  <a:lnTo>
                    <a:pt x="174" y="1"/>
                  </a:lnTo>
                  <a:lnTo>
                    <a:pt x="174" y="1"/>
                  </a:lnTo>
                  <a:lnTo>
                    <a:pt x="176" y="1"/>
                  </a:lnTo>
                  <a:lnTo>
                    <a:pt x="177" y="0"/>
                  </a:lnTo>
                  <a:lnTo>
                    <a:pt x="182" y="0"/>
                  </a:lnTo>
                  <a:lnTo>
                    <a:pt x="188" y="0"/>
                  </a:lnTo>
                  <a:lnTo>
                    <a:pt x="192" y="1"/>
                  </a:lnTo>
                  <a:lnTo>
                    <a:pt x="198" y="4"/>
                  </a:lnTo>
                  <a:lnTo>
                    <a:pt x="204" y="10"/>
                  </a:lnTo>
                  <a:lnTo>
                    <a:pt x="212" y="20"/>
                  </a:lnTo>
                  <a:lnTo>
                    <a:pt x="215" y="31"/>
                  </a:lnTo>
                  <a:lnTo>
                    <a:pt x="306" y="17"/>
                  </a:lnTo>
                  <a:lnTo>
                    <a:pt x="417" y="97"/>
                  </a:lnTo>
                  <a:lnTo>
                    <a:pt x="417" y="97"/>
                  </a:lnTo>
                  <a:lnTo>
                    <a:pt x="417" y="97"/>
                  </a:lnTo>
                  <a:lnTo>
                    <a:pt x="416" y="97"/>
                  </a:lnTo>
                  <a:lnTo>
                    <a:pt x="414" y="100"/>
                  </a:lnTo>
                  <a:lnTo>
                    <a:pt x="411" y="101"/>
                  </a:lnTo>
                  <a:lnTo>
                    <a:pt x="410" y="103"/>
                  </a:lnTo>
                  <a:lnTo>
                    <a:pt x="407" y="106"/>
                  </a:lnTo>
                  <a:lnTo>
                    <a:pt x="402" y="110"/>
                  </a:lnTo>
                  <a:lnTo>
                    <a:pt x="399" y="113"/>
                  </a:lnTo>
                  <a:lnTo>
                    <a:pt x="395" y="119"/>
                  </a:lnTo>
                  <a:lnTo>
                    <a:pt x="392" y="123"/>
                  </a:lnTo>
                  <a:lnTo>
                    <a:pt x="388" y="127"/>
                  </a:lnTo>
                  <a:lnTo>
                    <a:pt x="385" y="134"/>
                  </a:lnTo>
                  <a:lnTo>
                    <a:pt x="381" y="140"/>
                  </a:lnTo>
                  <a:lnTo>
                    <a:pt x="378" y="147"/>
                  </a:lnTo>
                  <a:lnTo>
                    <a:pt x="375" y="155"/>
                  </a:lnTo>
                  <a:lnTo>
                    <a:pt x="372" y="161"/>
                  </a:lnTo>
                  <a:lnTo>
                    <a:pt x="372" y="161"/>
                  </a:lnTo>
                  <a:lnTo>
                    <a:pt x="372" y="161"/>
                  </a:lnTo>
                  <a:lnTo>
                    <a:pt x="369" y="160"/>
                  </a:lnTo>
                  <a:lnTo>
                    <a:pt x="368" y="158"/>
                  </a:lnTo>
                  <a:lnTo>
                    <a:pt x="368" y="158"/>
                  </a:lnTo>
                  <a:lnTo>
                    <a:pt x="368" y="158"/>
                  </a:lnTo>
                  <a:lnTo>
                    <a:pt x="366" y="158"/>
                  </a:lnTo>
                  <a:lnTo>
                    <a:pt x="366" y="158"/>
                  </a:lnTo>
                  <a:lnTo>
                    <a:pt x="365" y="161"/>
                  </a:lnTo>
                  <a:lnTo>
                    <a:pt x="365" y="164"/>
                  </a:lnTo>
                  <a:lnTo>
                    <a:pt x="365" y="167"/>
                  </a:lnTo>
                  <a:lnTo>
                    <a:pt x="366" y="169"/>
                  </a:lnTo>
                  <a:lnTo>
                    <a:pt x="368" y="170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4" y="171"/>
                  </a:lnTo>
                  <a:lnTo>
                    <a:pt x="374" y="173"/>
                  </a:lnTo>
                  <a:lnTo>
                    <a:pt x="375" y="174"/>
                  </a:lnTo>
                  <a:lnTo>
                    <a:pt x="375" y="177"/>
                  </a:lnTo>
                  <a:lnTo>
                    <a:pt x="375" y="180"/>
                  </a:lnTo>
                  <a:lnTo>
                    <a:pt x="372" y="183"/>
                  </a:lnTo>
                  <a:lnTo>
                    <a:pt x="369" y="188"/>
                  </a:lnTo>
                  <a:lnTo>
                    <a:pt x="365" y="190"/>
                  </a:lnTo>
                  <a:lnTo>
                    <a:pt x="365" y="190"/>
                  </a:lnTo>
                  <a:lnTo>
                    <a:pt x="363" y="190"/>
                  </a:lnTo>
                  <a:lnTo>
                    <a:pt x="362" y="190"/>
                  </a:lnTo>
                  <a:lnTo>
                    <a:pt x="358" y="193"/>
                  </a:lnTo>
                  <a:lnTo>
                    <a:pt x="353" y="194"/>
                  </a:lnTo>
                  <a:lnTo>
                    <a:pt x="350" y="199"/>
                  </a:lnTo>
                  <a:lnTo>
                    <a:pt x="345" y="203"/>
                  </a:lnTo>
                  <a:lnTo>
                    <a:pt x="341" y="210"/>
                  </a:lnTo>
                  <a:lnTo>
                    <a:pt x="336" y="219"/>
                  </a:lnTo>
                  <a:lnTo>
                    <a:pt x="336" y="219"/>
                  </a:lnTo>
                  <a:lnTo>
                    <a:pt x="336" y="219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2" y="224"/>
                  </a:lnTo>
                  <a:lnTo>
                    <a:pt x="330" y="226"/>
                  </a:lnTo>
                  <a:lnTo>
                    <a:pt x="329" y="227"/>
                  </a:lnTo>
                  <a:lnTo>
                    <a:pt x="328" y="229"/>
                  </a:lnTo>
                  <a:lnTo>
                    <a:pt x="328" y="229"/>
                  </a:lnTo>
                  <a:lnTo>
                    <a:pt x="318" y="230"/>
                  </a:lnTo>
                  <a:lnTo>
                    <a:pt x="318" y="234"/>
                  </a:lnTo>
                  <a:lnTo>
                    <a:pt x="325" y="236"/>
                  </a:lnTo>
                  <a:lnTo>
                    <a:pt x="303" y="253"/>
                  </a:lnTo>
                  <a:lnTo>
                    <a:pt x="299" y="246"/>
                  </a:lnTo>
                  <a:lnTo>
                    <a:pt x="294" y="253"/>
                  </a:lnTo>
                  <a:lnTo>
                    <a:pt x="299" y="257"/>
                  </a:lnTo>
                  <a:lnTo>
                    <a:pt x="290" y="267"/>
                  </a:lnTo>
                  <a:lnTo>
                    <a:pt x="284" y="266"/>
                  </a:lnTo>
                  <a:lnTo>
                    <a:pt x="270" y="266"/>
                  </a:lnTo>
                  <a:lnTo>
                    <a:pt x="257" y="267"/>
                  </a:lnTo>
                  <a:lnTo>
                    <a:pt x="251" y="270"/>
                  </a:lnTo>
                  <a:lnTo>
                    <a:pt x="246" y="285"/>
                  </a:lnTo>
                  <a:lnTo>
                    <a:pt x="256" y="295"/>
                  </a:lnTo>
                  <a:lnTo>
                    <a:pt x="245" y="317"/>
                  </a:lnTo>
                  <a:lnTo>
                    <a:pt x="237" y="315"/>
                  </a:lnTo>
                  <a:lnTo>
                    <a:pt x="227" y="31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1" name="Freeform 133"/>
            <p:cNvSpPr>
              <a:spLocks/>
            </p:cNvSpPr>
            <p:nvPr/>
          </p:nvSpPr>
          <p:spPr bwMode="auto">
            <a:xfrm>
              <a:off x="3137854" y="5192502"/>
              <a:ext cx="11454" cy="11177"/>
            </a:xfrm>
            <a:custGeom>
              <a:avLst/>
              <a:gdLst>
                <a:gd name="T0" fmla="*/ 2 w 17"/>
                <a:gd name="T1" fmla="*/ 4 h 17"/>
                <a:gd name="T2" fmla="*/ 4 w 17"/>
                <a:gd name="T3" fmla="*/ 1 h 17"/>
                <a:gd name="T4" fmla="*/ 8 w 17"/>
                <a:gd name="T5" fmla="*/ 0 h 17"/>
                <a:gd name="T6" fmla="*/ 9 w 17"/>
                <a:gd name="T7" fmla="*/ 0 h 17"/>
                <a:gd name="T8" fmla="*/ 13 w 17"/>
                <a:gd name="T9" fmla="*/ 0 h 17"/>
                <a:gd name="T10" fmla="*/ 16 w 17"/>
                <a:gd name="T11" fmla="*/ 0 h 17"/>
                <a:gd name="T12" fmla="*/ 16 w 17"/>
                <a:gd name="T13" fmla="*/ 1 h 17"/>
                <a:gd name="T14" fmla="*/ 16 w 17"/>
                <a:gd name="T15" fmla="*/ 3 h 17"/>
                <a:gd name="T16" fmla="*/ 16 w 17"/>
                <a:gd name="T17" fmla="*/ 4 h 17"/>
                <a:gd name="T18" fmla="*/ 16 w 17"/>
                <a:gd name="T19" fmla="*/ 4 h 17"/>
                <a:gd name="T20" fmla="*/ 16 w 17"/>
                <a:gd name="T21" fmla="*/ 7 h 17"/>
                <a:gd name="T22" fmla="*/ 16 w 17"/>
                <a:gd name="T23" fmla="*/ 7 h 17"/>
                <a:gd name="T24" fmla="*/ 13 w 17"/>
                <a:gd name="T25" fmla="*/ 9 h 17"/>
                <a:gd name="T26" fmla="*/ 12 w 17"/>
                <a:gd name="T27" fmla="*/ 12 h 17"/>
                <a:gd name="T28" fmla="*/ 8 w 17"/>
                <a:gd name="T29" fmla="*/ 13 h 17"/>
                <a:gd name="T30" fmla="*/ 5 w 17"/>
                <a:gd name="T31" fmla="*/ 16 h 17"/>
                <a:gd name="T32" fmla="*/ 2 w 17"/>
                <a:gd name="T33" fmla="*/ 16 h 17"/>
                <a:gd name="T34" fmla="*/ 2 w 17"/>
                <a:gd name="T35" fmla="*/ 13 h 17"/>
                <a:gd name="T36" fmla="*/ 0 w 17"/>
                <a:gd name="T37" fmla="*/ 12 h 17"/>
                <a:gd name="T38" fmla="*/ 0 w 17"/>
                <a:gd name="T39" fmla="*/ 12 h 17"/>
                <a:gd name="T40" fmla="*/ 0 w 17"/>
                <a:gd name="T41" fmla="*/ 10 h 17"/>
                <a:gd name="T42" fmla="*/ 0 w 17"/>
                <a:gd name="T43" fmla="*/ 9 h 17"/>
                <a:gd name="T44" fmla="*/ 0 w 17"/>
                <a:gd name="T45" fmla="*/ 7 h 17"/>
                <a:gd name="T46" fmla="*/ 0 w 17"/>
                <a:gd name="T47" fmla="*/ 6 h 17"/>
                <a:gd name="T48" fmla="*/ 2 w 17"/>
                <a:gd name="T4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" h="17">
                  <a:moveTo>
                    <a:pt x="2" y="4"/>
                  </a:moveTo>
                  <a:lnTo>
                    <a:pt x="4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3" y="9"/>
                  </a:lnTo>
                  <a:lnTo>
                    <a:pt x="12" y="12"/>
                  </a:lnTo>
                  <a:lnTo>
                    <a:pt x="8" y="13"/>
                  </a:lnTo>
                  <a:lnTo>
                    <a:pt x="5" y="16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2" y="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" name="Freeform 134"/>
            <p:cNvSpPr>
              <a:spLocks/>
            </p:cNvSpPr>
            <p:nvPr/>
          </p:nvSpPr>
          <p:spPr bwMode="auto">
            <a:xfrm>
              <a:off x="3137854" y="5192502"/>
              <a:ext cx="11454" cy="11177"/>
            </a:xfrm>
            <a:custGeom>
              <a:avLst/>
              <a:gdLst>
                <a:gd name="T0" fmla="*/ 2 w 17"/>
                <a:gd name="T1" fmla="*/ 4 h 17"/>
                <a:gd name="T2" fmla="*/ 2 w 17"/>
                <a:gd name="T3" fmla="*/ 4 h 17"/>
                <a:gd name="T4" fmla="*/ 4 w 17"/>
                <a:gd name="T5" fmla="*/ 1 h 17"/>
                <a:gd name="T6" fmla="*/ 8 w 17"/>
                <a:gd name="T7" fmla="*/ 0 h 17"/>
                <a:gd name="T8" fmla="*/ 9 w 17"/>
                <a:gd name="T9" fmla="*/ 0 h 17"/>
                <a:gd name="T10" fmla="*/ 13 w 17"/>
                <a:gd name="T11" fmla="*/ 0 h 17"/>
                <a:gd name="T12" fmla="*/ 13 w 17"/>
                <a:gd name="T13" fmla="*/ 0 h 17"/>
                <a:gd name="T14" fmla="*/ 16 w 17"/>
                <a:gd name="T15" fmla="*/ 0 h 17"/>
                <a:gd name="T16" fmla="*/ 16 w 17"/>
                <a:gd name="T17" fmla="*/ 1 h 17"/>
                <a:gd name="T18" fmla="*/ 16 w 17"/>
                <a:gd name="T19" fmla="*/ 3 h 17"/>
                <a:gd name="T20" fmla="*/ 16 w 17"/>
                <a:gd name="T21" fmla="*/ 4 h 17"/>
                <a:gd name="T22" fmla="*/ 16 w 17"/>
                <a:gd name="T23" fmla="*/ 4 h 17"/>
                <a:gd name="T24" fmla="*/ 16 w 17"/>
                <a:gd name="T25" fmla="*/ 7 h 17"/>
                <a:gd name="T26" fmla="*/ 16 w 17"/>
                <a:gd name="T27" fmla="*/ 7 h 17"/>
                <a:gd name="T28" fmla="*/ 13 w 17"/>
                <a:gd name="T29" fmla="*/ 9 h 17"/>
                <a:gd name="T30" fmla="*/ 13 w 17"/>
                <a:gd name="T31" fmla="*/ 9 h 17"/>
                <a:gd name="T32" fmla="*/ 12 w 17"/>
                <a:gd name="T33" fmla="*/ 12 h 17"/>
                <a:gd name="T34" fmla="*/ 8 w 17"/>
                <a:gd name="T35" fmla="*/ 13 h 17"/>
                <a:gd name="T36" fmla="*/ 5 w 17"/>
                <a:gd name="T37" fmla="*/ 16 h 17"/>
                <a:gd name="T38" fmla="*/ 2 w 17"/>
                <a:gd name="T39" fmla="*/ 16 h 17"/>
                <a:gd name="T40" fmla="*/ 2 w 17"/>
                <a:gd name="T41" fmla="*/ 16 h 17"/>
                <a:gd name="T42" fmla="*/ 2 w 17"/>
                <a:gd name="T43" fmla="*/ 13 h 17"/>
                <a:gd name="T44" fmla="*/ 0 w 17"/>
                <a:gd name="T45" fmla="*/ 12 h 17"/>
                <a:gd name="T46" fmla="*/ 0 w 17"/>
                <a:gd name="T47" fmla="*/ 12 h 17"/>
                <a:gd name="T48" fmla="*/ 0 w 17"/>
                <a:gd name="T49" fmla="*/ 10 h 17"/>
                <a:gd name="T50" fmla="*/ 0 w 17"/>
                <a:gd name="T51" fmla="*/ 9 h 17"/>
                <a:gd name="T52" fmla="*/ 0 w 17"/>
                <a:gd name="T53" fmla="*/ 7 h 17"/>
                <a:gd name="T54" fmla="*/ 0 w 17"/>
                <a:gd name="T55" fmla="*/ 6 h 17"/>
                <a:gd name="T56" fmla="*/ 2 w 17"/>
                <a:gd name="T5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" h="17">
                  <a:moveTo>
                    <a:pt x="2" y="4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12"/>
                  </a:lnTo>
                  <a:lnTo>
                    <a:pt x="8" y="13"/>
                  </a:lnTo>
                  <a:lnTo>
                    <a:pt x="5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2" y="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" name="Freeform 135"/>
            <p:cNvSpPr>
              <a:spLocks/>
            </p:cNvSpPr>
            <p:nvPr/>
          </p:nvSpPr>
          <p:spPr bwMode="auto">
            <a:xfrm>
              <a:off x="2905167" y="4843522"/>
              <a:ext cx="475017" cy="216094"/>
            </a:xfrm>
            <a:custGeom>
              <a:avLst/>
              <a:gdLst>
                <a:gd name="T0" fmla="*/ 550 w 708"/>
                <a:gd name="T1" fmla="*/ 306 h 322"/>
                <a:gd name="T2" fmla="*/ 557 w 708"/>
                <a:gd name="T3" fmla="*/ 288 h 322"/>
                <a:gd name="T4" fmla="*/ 562 w 708"/>
                <a:gd name="T5" fmla="*/ 286 h 322"/>
                <a:gd name="T6" fmla="*/ 580 w 708"/>
                <a:gd name="T7" fmla="*/ 247 h 322"/>
                <a:gd name="T8" fmla="*/ 593 w 708"/>
                <a:gd name="T9" fmla="*/ 233 h 322"/>
                <a:gd name="T10" fmla="*/ 605 w 708"/>
                <a:gd name="T11" fmla="*/ 222 h 322"/>
                <a:gd name="T12" fmla="*/ 642 w 708"/>
                <a:gd name="T13" fmla="*/ 201 h 322"/>
                <a:gd name="T14" fmla="*/ 651 w 708"/>
                <a:gd name="T15" fmla="*/ 195 h 322"/>
                <a:gd name="T16" fmla="*/ 661 w 708"/>
                <a:gd name="T17" fmla="*/ 194 h 322"/>
                <a:gd name="T18" fmla="*/ 671 w 708"/>
                <a:gd name="T19" fmla="*/ 181 h 322"/>
                <a:gd name="T20" fmla="*/ 673 w 708"/>
                <a:gd name="T21" fmla="*/ 162 h 322"/>
                <a:gd name="T22" fmla="*/ 665 w 708"/>
                <a:gd name="T23" fmla="*/ 168 h 322"/>
                <a:gd name="T24" fmla="*/ 661 w 708"/>
                <a:gd name="T25" fmla="*/ 162 h 322"/>
                <a:gd name="T26" fmla="*/ 615 w 708"/>
                <a:gd name="T27" fmla="*/ 167 h 322"/>
                <a:gd name="T28" fmla="*/ 642 w 708"/>
                <a:gd name="T29" fmla="*/ 168 h 322"/>
                <a:gd name="T30" fmla="*/ 651 w 708"/>
                <a:gd name="T31" fmla="*/ 148 h 322"/>
                <a:gd name="T32" fmla="*/ 626 w 708"/>
                <a:gd name="T33" fmla="*/ 131 h 322"/>
                <a:gd name="T34" fmla="*/ 616 w 708"/>
                <a:gd name="T35" fmla="*/ 126 h 322"/>
                <a:gd name="T36" fmla="*/ 634 w 708"/>
                <a:gd name="T37" fmla="*/ 126 h 322"/>
                <a:gd name="T38" fmla="*/ 651 w 708"/>
                <a:gd name="T39" fmla="*/ 121 h 322"/>
                <a:gd name="T40" fmla="*/ 664 w 708"/>
                <a:gd name="T41" fmla="*/ 124 h 322"/>
                <a:gd name="T42" fmla="*/ 681 w 708"/>
                <a:gd name="T43" fmla="*/ 124 h 322"/>
                <a:gd name="T44" fmla="*/ 701 w 708"/>
                <a:gd name="T45" fmla="*/ 93 h 322"/>
                <a:gd name="T46" fmla="*/ 707 w 708"/>
                <a:gd name="T47" fmla="*/ 88 h 322"/>
                <a:gd name="T48" fmla="*/ 698 w 708"/>
                <a:gd name="T49" fmla="*/ 57 h 322"/>
                <a:gd name="T50" fmla="*/ 685 w 708"/>
                <a:gd name="T51" fmla="*/ 75 h 322"/>
                <a:gd name="T52" fmla="*/ 682 w 708"/>
                <a:gd name="T53" fmla="*/ 85 h 322"/>
                <a:gd name="T54" fmla="*/ 678 w 708"/>
                <a:gd name="T55" fmla="*/ 66 h 322"/>
                <a:gd name="T56" fmla="*/ 659 w 708"/>
                <a:gd name="T57" fmla="*/ 64 h 322"/>
                <a:gd name="T58" fmla="*/ 638 w 708"/>
                <a:gd name="T59" fmla="*/ 69 h 322"/>
                <a:gd name="T60" fmla="*/ 613 w 708"/>
                <a:gd name="T61" fmla="*/ 81 h 322"/>
                <a:gd name="T62" fmla="*/ 619 w 708"/>
                <a:gd name="T63" fmla="*/ 51 h 322"/>
                <a:gd name="T64" fmla="*/ 645 w 708"/>
                <a:gd name="T65" fmla="*/ 57 h 322"/>
                <a:gd name="T66" fmla="*/ 642 w 708"/>
                <a:gd name="T67" fmla="*/ 44 h 322"/>
                <a:gd name="T68" fmla="*/ 668 w 708"/>
                <a:gd name="T69" fmla="*/ 41 h 322"/>
                <a:gd name="T70" fmla="*/ 664 w 708"/>
                <a:gd name="T71" fmla="*/ 30 h 322"/>
                <a:gd name="T72" fmla="*/ 679 w 708"/>
                <a:gd name="T73" fmla="*/ 32 h 322"/>
                <a:gd name="T74" fmla="*/ 685 w 708"/>
                <a:gd name="T75" fmla="*/ 30 h 322"/>
                <a:gd name="T76" fmla="*/ 586 w 708"/>
                <a:gd name="T77" fmla="*/ 16 h 322"/>
                <a:gd name="T78" fmla="*/ 431 w 708"/>
                <a:gd name="T79" fmla="*/ 47 h 322"/>
                <a:gd name="T80" fmla="*/ 310 w 708"/>
                <a:gd name="T81" fmla="*/ 66 h 322"/>
                <a:gd name="T82" fmla="*/ 229 w 708"/>
                <a:gd name="T83" fmla="*/ 77 h 322"/>
                <a:gd name="T84" fmla="*/ 194 w 708"/>
                <a:gd name="T85" fmla="*/ 79 h 322"/>
                <a:gd name="T86" fmla="*/ 197 w 708"/>
                <a:gd name="T87" fmla="*/ 99 h 322"/>
                <a:gd name="T88" fmla="*/ 179 w 708"/>
                <a:gd name="T89" fmla="*/ 123 h 322"/>
                <a:gd name="T90" fmla="*/ 155 w 708"/>
                <a:gd name="T91" fmla="*/ 137 h 322"/>
                <a:gd name="T92" fmla="*/ 126 w 708"/>
                <a:gd name="T93" fmla="*/ 153 h 322"/>
                <a:gd name="T94" fmla="*/ 109 w 708"/>
                <a:gd name="T95" fmla="*/ 164 h 322"/>
                <a:gd name="T96" fmla="*/ 98 w 708"/>
                <a:gd name="T97" fmla="*/ 184 h 322"/>
                <a:gd name="T98" fmla="*/ 57 w 708"/>
                <a:gd name="T99" fmla="*/ 211 h 322"/>
                <a:gd name="T100" fmla="*/ 23 w 708"/>
                <a:gd name="T101" fmla="*/ 231 h 322"/>
                <a:gd name="T102" fmla="*/ 6 w 708"/>
                <a:gd name="T103" fmla="*/ 253 h 322"/>
                <a:gd name="T104" fmla="*/ 106 w 708"/>
                <a:gd name="T105" fmla="*/ 267 h 322"/>
                <a:gd name="T106" fmla="*/ 128 w 708"/>
                <a:gd name="T107" fmla="*/ 250 h 322"/>
                <a:gd name="T108" fmla="*/ 177 w 708"/>
                <a:gd name="T109" fmla="*/ 231 h 322"/>
                <a:gd name="T110" fmla="*/ 282 w 708"/>
                <a:gd name="T111" fmla="*/ 224 h 322"/>
                <a:gd name="T112" fmla="*/ 506 w 708"/>
                <a:gd name="T113" fmla="*/ 3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8" h="322">
                  <a:moveTo>
                    <a:pt x="512" y="319"/>
                  </a:moveTo>
                  <a:lnTo>
                    <a:pt x="523" y="312"/>
                  </a:lnTo>
                  <a:lnTo>
                    <a:pt x="532" y="306"/>
                  </a:lnTo>
                  <a:lnTo>
                    <a:pt x="539" y="304"/>
                  </a:lnTo>
                  <a:lnTo>
                    <a:pt x="545" y="304"/>
                  </a:lnTo>
                  <a:lnTo>
                    <a:pt x="549" y="304"/>
                  </a:lnTo>
                  <a:lnTo>
                    <a:pt x="550" y="306"/>
                  </a:lnTo>
                  <a:lnTo>
                    <a:pt x="553" y="307"/>
                  </a:lnTo>
                  <a:lnTo>
                    <a:pt x="553" y="309"/>
                  </a:lnTo>
                  <a:lnTo>
                    <a:pt x="553" y="282"/>
                  </a:lnTo>
                  <a:lnTo>
                    <a:pt x="556" y="282"/>
                  </a:lnTo>
                  <a:lnTo>
                    <a:pt x="557" y="283"/>
                  </a:lnTo>
                  <a:lnTo>
                    <a:pt x="557" y="286"/>
                  </a:lnTo>
                  <a:lnTo>
                    <a:pt x="557" y="288"/>
                  </a:lnTo>
                  <a:lnTo>
                    <a:pt x="559" y="291"/>
                  </a:lnTo>
                  <a:lnTo>
                    <a:pt x="560" y="294"/>
                  </a:lnTo>
                  <a:lnTo>
                    <a:pt x="560" y="297"/>
                  </a:lnTo>
                  <a:lnTo>
                    <a:pt x="560" y="299"/>
                  </a:lnTo>
                  <a:lnTo>
                    <a:pt x="560" y="299"/>
                  </a:lnTo>
                  <a:lnTo>
                    <a:pt x="562" y="291"/>
                  </a:lnTo>
                  <a:lnTo>
                    <a:pt x="562" y="286"/>
                  </a:lnTo>
                  <a:lnTo>
                    <a:pt x="565" y="279"/>
                  </a:lnTo>
                  <a:lnTo>
                    <a:pt x="566" y="273"/>
                  </a:lnTo>
                  <a:lnTo>
                    <a:pt x="569" y="267"/>
                  </a:lnTo>
                  <a:lnTo>
                    <a:pt x="572" y="261"/>
                  </a:lnTo>
                  <a:lnTo>
                    <a:pt x="575" y="256"/>
                  </a:lnTo>
                  <a:lnTo>
                    <a:pt x="578" y="252"/>
                  </a:lnTo>
                  <a:lnTo>
                    <a:pt x="580" y="247"/>
                  </a:lnTo>
                  <a:lnTo>
                    <a:pt x="583" y="244"/>
                  </a:lnTo>
                  <a:lnTo>
                    <a:pt x="586" y="241"/>
                  </a:lnTo>
                  <a:lnTo>
                    <a:pt x="589" y="238"/>
                  </a:lnTo>
                  <a:lnTo>
                    <a:pt x="590" y="236"/>
                  </a:lnTo>
                  <a:lnTo>
                    <a:pt x="592" y="234"/>
                  </a:lnTo>
                  <a:lnTo>
                    <a:pt x="593" y="234"/>
                  </a:lnTo>
                  <a:lnTo>
                    <a:pt x="593" y="233"/>
                  </a:lnTo>
                  <a:lnTo>
                    <a:pt x="589" y="225"/>
                  </a:lnTo>
                  <a:lnTo>
                    <a:pt x="595" y="222"/>
                  </a:lnTo>
                  <a:lnTo>
                    <a:pt x="595" y="223"/>
                  </a:lnTo>
                  <a:lnTo>
                    <a:pt x="596" y="225"/>
                  </a:lnTo>
                  <a:lnTo>
                    <a:pt x="598" y="228"/>
                  </a:lnTo>
                  <a:lnTo>
                    <a:pt x="599" y="228"/>
                  </a:lnTo>
                  <a:lnTo>
                    <a:pt x="605" y="222"/>
                  </a:lnTo>
                  <a:lnTo>
                    <a:pt x="610" y="214"/>
                  </a:lnTo>
                  <a:lnTo>
                    <a:pt x="618" y="210"/>
                  </a:lnTo>
                  <a:lnTo>
                    <a:pt x="625" y="205"/>
                  </a:lnTo>
                  <a:lnTo>
                    <a:pt x="631" y="204"/>
                  </a:lnTo>
                  <a:lnTo>
                    <a:pt x="637" y="203"/>
                  </a:lnTo>
                  <a:lnTo>
                    <a:pt x="641" y="201"/>
                  </a:lnTo>
                  <a:lnTo>
                    <a:pt x="642" y="201"/>
                  </a:lnTo>
                  <a:lnTo>
                    <a:pt x="642" y="195"/>
                  </a:lnTo>
                  <a:lnTo>
                    <a:pt x="643" y="194"/>
                  </a:lnTo>
                  <a:lnTo>
                    <a:pt x="645" y="192"/>
                  </a:lnTo>
                  <a:lnTo>
                    <a:pt x="646" y="192"/>
                  </a:lnTo>
                  <a:lnTo>
                    <a:pt x="648" y="194"/>
                  </a:lnTo>
                  <a:lnTo>
                    <a:pt x="649" y="194"/>
                  </a:lnTo>
                  <a:lnTo>
                    <a:pt x="651" y="195"/>
                  </a:lnTo>
                  <a:lnTo>
                    <a:pt x="651" y="197"/>
                  </a:lnTo>
                  <a:lnTo>
                    <a:pt x="652" y="194"/>
                  </a:lnTo>
                  <a:lnTo>
                    <a:pt x="654" y="192"/>
                  </a:lnTo>
                  <a:lnTo>
                    <a:pt x="655" y="192"/>
                  </a:lnTo>
                  <a:lnTo>
                    <a:pt x="657" y="192"/>
                  </a:lnTo>
                  <a:lnTo>
                    <a:pt x="659" y="192"/>
                  </a:lnTo>
                  <a:lnTo>
                    <a:pt x="661" y="194"/>
                  </a:lnTo>
                  <a:lnTo>
                    <a:pt x="662" y="194"/>
                  </a:lnTo>
                  <a:lnTo>
                    <a:pt x="662" y="194"/>
                  </a:lnTo>
                  <a:lnTo>
                    <a:pt x="664" y="194"/>
                  </a:lnTo>
                  <a:lnTo>
                    <a:pt x="665" y="192"/>
                  </a:lnTo>
                  <a:lnTo>
                    <a:pt x="667" y="189"/>
                  </a:lnTo>
                  <a:lnTo>
                    <a:pt x="670" y="184"/>
                  </a:lnTo>
                  <a:lnTo>
                    <a:pt x="671" y="181"/>
                  </a:lnTo>
                  <a:lnTo>
                    <a:pt x="674" y="177"/>
                  </a:lnTo>
                  <a:lnTo>
                    <a:pt x="675" y="175"/>
                  </a:lnTo>
                  <a:lnTo>
                    <a:pt x="675" y="173"/>
                  </a:lnTo>
                  <a:lnTo>
                    <a:pt x="675" y="165"/>
                  </a:lnTo>
                  <a:lnTo>
                    <a:pt x="674" y="162"/>
                  </a:lnTo>
                  <a:lnTo>
                    <a:pt x="674" y="161"/>
                  </a:lnTo>
                  <a:lnTo>
                    <a:pt x="673" y="162"/>
                  </a:lnTo>
                  <a:lnTo>
                    <a:pt x="671" y="164"/>
                  </a:lnTo>
                  <a:lnTo>
                    <a:pt x="670" y="167"/>
                  </a:lnTo>
                  <a:lnTo>
                    <a:pt x="670" y="168"/>
                  </a:lnTo>
                  <a:lnTo>
                    <a:pt x="670" y="170"/>
                  </a:lnTo>
                  <a:lnTo>
                    <a:pt x="668" y="170"/>
                  </a:lnTo>
                  <a:lnTo>
                    <a:pt x="667" y="168"/>
                  </a:lnTo>
                  <a:lnTo>
                    <a:pt x="665" y="168"/>
                  </a:lnTo>
                  <a:lnTo>
                    <a:pt x="665" y="167"/>
                  </a:lnTo>
                  <a:lnTo>
                    <a:pt x="664" y="161"/>
                  </a:lnTo>
                  <a:lnTo>
                    <a:pt x="664" y="159"/>
                  </a:lnTo>
                  <a:lnTo>
                    <a:pt x="664" y="157"/>
                  </a:lnTo>
                  <a:lnTo>
                    <a:pt x="662" y="159"/>
                  </a:lnTo>
                  <a:lnTo>
                    <a:pt x="661" y="160"/>
                  </a:lnTo>
                  <a:lnTo>
                    <a:pt x="661" y="162"/>
                  </a:lnTo>
                  <a:lnTo>
                    <a:pt x="661" y="164"/>
                  </a:lnTo>
                  <a:lnTo>
                    <a:pt x="661" y="165"/>
                  </a:lnTo>
                  <a:lnTo>
                    <a:pt x="654" y="167"/>
                  </a:lnTo>
                  <a:lnTo>
                    <a:pt x="638" y="181"/>
                  </a:lnTo>
                  <a:lnTo>
                    <a:pt x="628" y="180"/>
                  </a:lnTo>
                  <a:lnTo>
                    <a:pt x="613" y="167"/>
                  </a:lnTo>
                  <a:lnTo>
                    <a:pt x="615" y="167"/>
                  </a:lnTo>
                  <a:lnTo>
                    <a:pt x="618" y="168"/>
                  </a:lnTo>
                  <a:lnTo>
                    <a:pt x="621" y="168"/>
                  </a:lnTo>
                  <a:lnTo>
                    <a:pt x="623" y="170"/>
                  </a:lnTo>
                  <a:lnTo>
                    <a:pt x="628" y="173"/>
                  </a:lnTo>
                  <a:lnTo>
                    <a:pt x="634" y="173"/>
                  </a:lnTo>
                  <a:lnTo>
                    <a:pt x="638" y="171"/>
                  </a:lnTo>
                  <a:lnTo>
                    <a:pt x="642" y="168"/>
                  </a:lnTo>
                  <a:lnTo>
                    <a:pt x="646" y="164"/>
                  </a:lnTo>
                  <a:lnTo>
                    <a:pt x="649" y="161"/>
                  </a:lnTo>
                  <a:lnTo>
                    <a:pt x="652" y="159"/>
                  </a:lnTo>
                  <a:lnTo>
                    <a:pt x="652" y="157"/>
                  </a:lnTo>
                  <a:lnTo>
                    <a:pt x="643" y="154"/>
                  </a:lnTo>
                  <a:lnTo>
                    <a:pt x="642" y="150"/>
                  </a:lnTo>
                  <a:lnTo>
                    <a:pt x="651" y="148"/>
                  </a:lnTo>
                  <a:lnTo>
                    <a:pt x="654" y="138"/>
                  </a:lnTo>
                  <a:lnTo>
                    <a:pt x="652" y="138"/>
                  </a:lnTo>
                  <a:lnTo>
                    <a:pt x="651" y="138"/>
                  </a:lnTo>
                  <a:lnTo>
                    <a:pt x="649" y="138"/>
                  </a:lnTo>
                  <a:lnTo>
                    <a:pt x="646" y="137"/>
                  </a:lnTo>
                  <a:lnTo>
                    <a:pt x="635" y="134"/>
                  </a:lnTo>
                  <a:lnTo>
                    <a:pt x="626" y="131"/>
                  </a:lnTo>
                  <a:lnTo>
                    <a:pt x="619" y="129"/>
                  </a:lnTo>
                  <a:lnTo>
                    <a:pt x="616" y="128"/>
                  </a:lnTo>
                  <a:lnTo>
                    <a:pt x="613" y="127"/>
                  </a:lnTo>
                  <a:lnTo>
                    <a:pt x="612" y="127"/>
                  </a:lnTo>
                  <a:lnTo>
                    <a:pt x="613" y="126"/>
                  </a:lnTo>
                  <a:lnTo>
                    <a:pt x="615" y="126"/>
                  </a:lnTo>
                  <a:lnTo>
                    <a:pt x="616" y="126"/>
                  </a:lnTo>
                  <a:lnTo>
                    <a:pt x="619" y="124"/>
                  </a:lnTo>
                  <a:lnTo>
                    <a:pt x="623" y="126"/>
                  </a:lnTo>
                  <a:lnTo>
                    <a:pt x="626" y="126"/>
                  </a:lnTo>
                  <a:lnTo>
                    <a:pt x="629" y="126"/>
                  </a:lnTo>
                  <a:lnTo>
                    <a:pt x="631" y="126"/>
                  </a:lnTo>
                  <a:lnTo>
                    <a:pt x="632" y="126"/>
                  </a:lnTo>
                  <a:lnTo>
                    <a:pt x="634" y="126"/>
                  </a:lnTo>
                  <a:lnTo>
                    <a:pt x="632" y="117"/>
                  </a:lnTo>
                  <a:lnTo>
                    <a:pt x="640" y="114"/>
                  </a:lnTo>
                  <a:lnTo>
                    <a:pt x="643" y="121"/>
                  </a:lnTo>
                  <a:lnTo>
                    <a:pt x="645" y="121"/>
                  </a:lnTo>
                  <a:lnTo>
                    <a:pt x="648" y="121"/>
                  </a:lnTo>
                  <a:lnTo>
                    <a:pt x="649" y="123"/>
                  </a:lnTo>
                  <a:lnTo>
                    <a:pt x="651" y="121"/>
                  </a:lnTo>
                  <a:lnTo>
                    <a:pt x="652" y="117"/>
                  </a:lnTo>
                  <a:lnTo>
                    <a:pt x="654" y="114"/>
                  </a:lnTo>
                  <a:lnTo>
                    <a:pt x="655" y="115"/>
                  </a:lnTo>
                  <a:lnTo>
                    <a:pt x="658" y="117"/>
                  </a:lnTo>
                  <a:lnTo>
                    <a:pt x="659" y="120"/>
                  </a:lnTo>
                  <a:lnTo>
                    <a:pt x="662" y="123"/>
                  </a:lnTo>
                  <a:lnTo>
                    <a:pt x="664" y="124"/>
                  </a:lnTo>
                  <a:lnTo>
                    <a:pt x="664" y="126"/>
                  </a:lnTo>
                  <a:lnTo>
                    <a:pt x="665" y="126"/>
                  </a:lnTo>
                  <a:lnTo>
                    <a:pt x="667" y="126"/>
                  </a:lnTo>
                  <a:lnTo>
                    <a:pt x="671" y="126"/>
                  </a:lnTo>
                  <a:lnTo>
                    <a:pt x="674" y="126"/>
                  </a:lnTo>
                  <a:lnTo>
                    <a:pt x="678" y="126"/>
                  </a:lnTo>
                  <a:lnTo>
                    <a:pt x="681" y="124"/>
                  </a:lnTo>
                  <a:lnTo>
                    <a:pt x="684" y="124"/>
                  </a:lnTo>
                  <a:lnTo>
                    <a:pt x="685" y="124"/>
                  </a:lnTo>
                  <a:lnTo>
                    <a:pt x="690" y="110"/>
                  </a:lnTo>
                  <a:lnTo>
                    <a:pt x="694" y="101"/>
                  </a:lnTo>
                  <a:lnTo>
                    <a:pt x="698" y="96"/>
                  </a:lnTo>
                  <a:lnTo>
                    <a:pt x="700" y="93"/>
                  </a:lnTo>
                  <a:lnTo>
                    <a:pt x="701" y="93"/>
                  </a:lnTo>
                  <a:lnTo>
                    <a:pt x="703" y="94"/>
                  </a:lnTo>
                  <a:lnTo>
                    <a:pt x="704" y="96"/>
                  </a:lnTo>
                  <a:lnTo>
                    <a:pt x="704" y="96"/>
                  </a:lnTo>
                  <a:lnTo>
                    <a:pt x="704" y="94"/>
                  </a:lnTo>
                  <a:lnTo>
                    <a:pt x="706" y="93"/>
                  </a:lnTo>
                  <a:lnTo>
                    <a:pt x="707" y="90"/>
                  </a:lnTo>
                  <a:lnTo>
                    <a:pt x="707" y="88"/>
                  </a:lnTo>
                  <a:lnTo>
                    <a:pt x="707" y="81"/>
                  </a:lnTo>
                  <a:lnTo>
                    <a:pt x="706" y="74"/>
                  </a:lnTo>
                  <a:lnTo>
                    <a:pt x="704" y="68"/>
                  </a:lnTo>
                  <a:lnTo>
                    <a:pt x="703" y="64"/>
                  </a:lnTo>
                  <a:lnTo>
                    <a:pt x="701" y="61"/>
                  </a:lnTo>
                  <a:lnTo>
                    <a:pt x="700" y="58"/>
                  </a:lnTo>
                  <a:lnTo>
                    <a:pt x="698" y="57"/>
                  </a:lnTo>
                  <a:lnTo>
                    <a:pt x="698" y="57"/>
                  </a:lnTo>
                  <a:lnTo>
                    <a:pt x="692" y="61"/>
                  </a:lnTo>
                  <a:lnTo>
                    <a:pt x="691" y="61"/>
                  </a:lnTo>
                  <a:lnTo>
                    <a:pt x="690" y="63"/>
                  </a:lnTo>
                  <a:lnTo>
                    <a:pt x="687" y="64"/>
                  </a:lnTo>
                  <a:lnTo>
                    <a:pt x="685" y="66"/>
                  </a:lnTo>
                  <a:lnTo>
                    <a:pt x="685" y="75"/>
                  </a:lnTo>
                  <a:lnTo>
                    <a:pt x="685" y="81"/>
                  </a:lnTo>
                  <a:lnTo>
                    <a:pt x="684" y="85"/>
                  </a:lnTo>
                  <a:lnTo>
                    <a:pt x="684" y="88"/>
                  </a:lnTo>
                  <a:lnTo>
                    <a:pt x="684" y="90"/>
                  </a:lnTo>
                  <a:lnTo>
                    <a:pt x="682" y="88"/>
                  </a:lnTo>
                  <a:lnTo>
                    <a:pt x="682" y="88"/>
                  </a:lnTo>
                  <a:lnTo>
                    <a:pt x="682" y="85"/>
                  </a:lnTo>
                  <a:lnTo>
                    <a:pt x="681" y="82"/>
                  </a:lnTo>
                  <a:lnTo>
                    <a:pt x="679" y="79"/>
                  </a:lnTo>
                  <a:lnTo>
                    <a:pt x="679" y="77"/>
                  </a:lnTo>
                  <a:lnTo>
                    <a:pt x="679" y="74"/>
                  </a:lnTo>
                  <a:lnTo>
                    <a:pt x="678" y="71"/>
                  </a:lnTo>
                  <a:lnTo>
                    <a:pt x="678" y="68"/>
                  </a:lnTo>
                  <a:lnTo>
                    <a:pt x="678" y="66"/>
                  </a:lnTo>
                  <a:lnTo>
                    <a:pt x="678" y="65"/>
                  </a:lnTo>
                  <a:lnTo>
                    <a:pt x="676" y="60"/>
                  </a:lnTo>
                  <a:lnTo>
                    <a:pt x="675" y="57"/>
                  </a:lnTo>
                  <a:lnTo>
                    <a:pt x="671" y="57"/>
                  </a:lnTo>
                  <a:lnTo>
                    <a:pt x="668" y="58"/>
                  </a:lnTo>
                  <a:lnTo>
                    <a:pt x="664" y="61"/>
                  </a:lnTo>
                  <a:lnTo>
                    <a:pt x="659" y="64"/>
                  </a:lnTo>
                  <a:lnTo>
                    <a:pt x="658" y="65"/>
                  </a:lnTo>
                  <a:lnTo>
                    <a:pt x="657" y="66"/>
                  </a:lnTo>
                  <a:lnTo>
                    <a:pt x="646" y="66"/>
                  </a:lnTo>
                  <a:lnTo>
                    <a:pt x="645" y="68"/>
                  </a:lnTo>
                  <a:lnTo>
                    <a:pt x="643" y="68"/>
                  </a:lnTo>
                  <a:lnTo>
                    <a:pt x="641" y="69"/>
                  </a:lnTo>
                  <a:lnTo>
                    <a:pt x="638" y="69"/>
                  </a:lnTo>
                  <a:lnTo>
                    <a:pt x="635" y="71"/>
                  </a:lnTo>
                  <a:lnTo>
                    <a:pt x="631" y="72"/>
                  </a:lnTo>
                  <a:lnTo>
                    <a:pt x="629" y="74"/>
                  </a:lnTo>
                  <a:lnTo>
                    <a:pt x="628" y="74"/>
                  </a:lnTo>
                  <a:lnTo>
                    <a:pt x="619" y="79"/>
                  </a:lnTo>
                  <a:lnTo>
                    <a:pt x="615" y="81"/>
                  </a:lnTo>
                  <a:lnTo>
                    <a:pt x="613" y="81"/>
                  </a:lnTo>
                  <a:lnTo>
                    <a:pt x="613" y="79"/>
                  </a:lnTo>
                  <a:lnTo>
                    <a:pt x="615" y="77"/>
                  </a:lnTo>
                  <a:lnTo>
                    <a:pt x="618" y="74"/>
                  </a:lnTo>
                  <a:lnTo>
                    <a:pt x="619" y="71"/>
                  </a:lnTo>
                  <a:lnTo>
                    <a:pt x="621" y="71"/>
                  </a:lnTo>
                  <a:lnTo>
                    <a:pt x="613" y="55"/>
                  </a:lnTo>
                  <a:lnTo>
                    <a:pt x="619" y="51"/>
                  </a:lnTo>
                  <a:lnTo>
                    <a:pt x="623" y="60"/>
                  </a:lnTo>
                  <a:lnTo>
                    <a:pt x="634" y="65"/>
                  </a:lnTo>
                  <a:lnTo>
                    <a:pt x="634" y="65"/>
                  </a:lnTo>
                  <a:lnTo>
                    <a:pt x="637" y="64"/>
                  </a:lnTo>
                  <a:lnTo>
                    <a:pt x="640" y="61"/>
                  </a:lnTo>
                  <a:lnTo>
                    <a:pt x="642" y="60"/>
                  </a:lnTo>
                  <a:lnTo>
                    <a:pt x="645" y="57"/>
                  </a:lnTo>
                  <a:lnTo>
                    <a:pt x="646" y="55"/>
                  </a:lnTo>
                  <a:lnTo>
                    <a:pt x="648" y="54"/>
                  </a:lnTo>
                  <a:lnTo>
                    <a:pt x="648" y="52"/>
                  </a:lnTo>
                  <a:lnTo>
                    <a:pt x="641" y="47"/>
                  </a:lnTo>
                  <a:lnTo>
                    <a:pt x="638" y="44"/>
                  </a:lnTo>
                  <a:lnTo>
                    <a:pt x="640" y="44"/>
                  </a:lnTo>
                  <a:lnTo>
                    <a:pt x="642" y="44"/>
                  </a:lnTo>
                  <a:lnTo>
                    <a:pt x="646" y="45"/>
                  </a:lnTo>
                  <a:lnTo>
                    <a:pt x="651" y="47"/>
                  </a:lnTo>
                  <a:lnTo>
                    <a:pt x="654" y="48"/>
                  </a:lnTo>
                  <a:lnTo>
                    <a:pt x="657" y="49"/>
                  </a:lnTo>
                  <a:lnTo>
                    <a:pt x="668" y="44"/>
                  </a:lnTo>
                  <a:lnTo>
                    <a:pt x="668" y="42"/>
                  </a:lnTo>
                  <a:lnTo>
                    <a:pt x="668" y="41"/>
                  </a:lnTo>
                  <a:lnTo>
                    <a:pt x="667" y="39"/>
                  </a:lnTo>
                  <a:lnTo>
                    <a:pt x="667" y="38"/>
                  </a:lnTo>
                  <a:lnTo>
                    <a:pt x="661" y="32"/>
                  </a:lnTo>
                  <a:lnTo>
                    <a:pt x="658" y="28"/>
                  </a:lnTo>
                  <a:lnTo>
                    <a:pt x="658" y="28"/>
                  </a:lnTo>
                  <a:lnTo>
                    <a:pt x="661" y="28"/>
                  </a:lnTo>
                  <a:lnTo>
                    <a:pt x="664" y="30"/>
                  </a:lnTo>
                  <a:lnTo>
                    <a:pt x="667" y="31"/>
                  </a:lnTo>
                  <a:lnTo>
                    <a:pt x="670" y="32"/>
                  </a:lnTo>
                  <a:lnTo>
                    <a:pt x="670" y="33"/>
                  </a:lnTo>
                  <a:lnTo>
                    <a:pt x="671" y="33"/>
                  </a:lnTo>
                  <a:lnTo>
                    <a:pt x="674" y="32"/>
                  </a:lnTo>
                  <a:lnTo>
                    <a:pt x="678" y="32"/>
                  </a:lnTo>
                  <a:lnTo>
                    <a:pt x="679" y="32"/>
                  </a:lnTo>
                  <a:lnTo>
                    <a:pt x="687" y="39"/>
                  </a:lnTo>
                  <a:lnTo>
                    <a:pt x="691" y="42"/>
                  </a:lnTo>
                  <a:lnTo>
                    <a:pt x="692" y="42"/>
                  </a:lnTo>
                  <a:lnTo>
                    <a:pt x="692" y="39"/>
                  </a:lnTo>
                  <a:lnTo>
                    <a:pt x="690" y="36"/>
                  </a:lnTo>
                  <a:lnTo>
                    <a:pt x="687" y="32"/>
                  </a:lnTo>
                  <a:lnTo>
                    <a:pt x="685" y="30"/>
                  </a:lnTo>
                  <a:lnTo>
                    <a:pt x="684" y="28"/>
                  </a:lnTo>
                  <a:lnTo>
                    <a:pt x="678" y="14"/>
                  </a:lnTo>
                  <a:lnTo>
                    <a:pt x="670" y="12"/>
                  </a:lnTo>
                  <a:lnTo>
                    <a:pt x="661" y="0"/>
                  </a:lnTo>
                  <a:lnTo>
                    <a:pt x="635" y="6"/>
                  </a:lnTo>
                  <a:lnTo>
                    <a:pt x="610" y="12"/>
                  </a:lnTo>
                  <a:lnTo>
                    <a:pt x="586" y="16"/>
                  </a:lnTo>
                  <a:lnTo>
                    <a:pt x="562" y="22"/>
                  </a:lnTo>
                  <a:lnTo>
                    <a:pt x="539" y="27"/>
                  </a:lnTo>
                  <a:lnTo>
                    <a:pt x="516" y="32"/>
                  </a:lnTo>
                  <a:lnTo>
                    <a:pt x="494" y="36"/>
                  </a:lnTo>
                  <a:lnTo>
                    <a:pt x="473" y="39"/>
                  </a:lnTo>
                  <a:lnTo>
                    <a:pt x="451" y="44"/>
                  </a:lnTo>
                  <a:lnTo>
                    <a:pt x="431" y="47"/>
                  </a:lnTo>
                  <a:lnTo>
                    <a:pt x="412" y="51"/>
                  </a:lnTo>
                  <a:lnTo>
                    <a:pt x="392" y="54"/>
                  </a:lnTo>
                  <a:lnTo>
                    <a:pt x="376" y="57"/>
                  </a:lnTo>
                  <a:lnTo>
                    <a:pt x="358" y="60"/>
                  </a:lnTo>
                  <a:lnTo>
                    <a:pt x="341" y="63"/>
                  </a:lnTo>
                  <a:lnTo>
                    <a:pt x="325" y="64"/>
                  </a:lnTo>
                  <a:lnTo>
                    <a:pt x="310" y="66"/>
                  </a:lnTo>
                  <a:lnTo>
                    <a:pt x="295" y="68"/>
                  </a:lnTo>
                  <a:lnTo>
                    <a:pt x="282" y="69"/>
                  </a:lnTo>
                  <a:lnTo>
                    <a:pt x="269" y="71"/>
                  </a:lnTo>
                  <a:lnTo>
                    <a:pt x="257" y="72"/>
                  </a:lnTo>
                  <a:lnTo>
                    <a:pt x="248" y="74"/>
                  </a:lnTo>
                  <a:lnTo>
                    <a:pt x="238" y="75"/>
                  </a:lnTo>
                  <a:lnTo>
                    <a:pt x="229" y="77"/>
                  </a:lnTo>
                  <a:lnTo>
                    <a:pt x="221" y="77"/>
                  </a:lnTo>
                  <a:lnTo>
                    <a:pt x="213" y="78"/>
                  </a:lnTo>
                  <a:lnTo>
                    <a:pt x="208" y="78"/>
                  </a:lnTo>
                  <a:lnTo>
                    <a:pt x="203" y="79"/>
                  </a:lnTo>
                  <a:lnTo>
                    <a:pt x="199" y="79"/>
                  </a:lnTo>
                  <a:lnTo>
                    <a:pt x="196" y="79"/>
                  </a:lnTo>
                  <a:lnTo>
                    <a:pt x="194" y="79"/>
                  </a:lnTo>
                  <a:lnTo>
                    <a:pt x="194" y="79"/>
                  </a:lnTo>
                  <a:lnTo>
                    <a:pt x="196" y="79"/>
                  </a:lnTo>
                  <a:lnTo>
                    <a:pt x="196" y="81"/>
                  </a:lnTo>
                  <a:lnTo>
                    <a:pt x="196" y="84"/>
                  </a:lnTo>
                  <a:lnTo>
                    <a:pt x="196" y="90"/>
                  </a:lnTo>
                  <a:lnTo>
                    <a:pt x="196" y="94"/>
                  </a:lnTo>
                  <a:lnTo>
                    <a:pt x="197" y="99"/>
                  </a:lnTo>
                  <a:lnTo>
                    <a:pt x="196" y="105"/>
                  </a:lnTo>
                  <a:lnTo>
                    <a:pt x="196" y="108"/>
                  </a:lnTo>
                  <a:lnTo>
                    <a:pt x="196" y="110"/>
                  </a:lnTo>
                  <a:lnTo>
                    <a:pt x="191" y="110"/>
                  </a:lnTo>
                  <a:lnTo>
                    <a:pt x="186" y="112"/>
                  </a:lnTo>
                  <a:lnTo>
                    <a:pt x="182" y="117"/>
                  </a:lnTo>
                  <a:lnTo>
                    <a:pt x="179" y="123"/>
                  </a:lnTo>
                  <a:lnTo>
                    <a:pt x="176" y="128"/>
                  </a:lnTo>
                  <a:lnTo>
                    <a:pt x="175" y="132"/>
                  </a:lnTo>
                  <a:lnTo>
                    <a:pt x="173" y="135"/>
                  </a:lnTo>
                  <a:lnTo>
                    <a:pt x="173" y="135"/>
                  </a:lnTo>
                  <a:lnTo>
                    <a:pt x="167" y="132"/>
                  </a:lnTo>
                  <a:lnTo>
                    <a:pt x="161" y="132"/>
                  </a:lnTo>
                  <a:lnTo>
                    <a:pt x="155" y="137"/>
                  </a:lnTo>
                  <a:lnTo>
                    <a:pt x="147" y="142"/>
                  </a:lnTo>
                  <a:lnTo>
                    <a:pt x="142" y="150"/>
                  </a:lnTo>
                  <a:lnTo>
                    <a:pt x="136" y="156"/>
                  </a:lnTo>
                  <a:lnTo>
                    <a:pt x="131" y="159"/>
                  </a:lnTo>
                  <a:lnTo>
                    <a:pt x="130" y="159"/>
                  </a:lnTo>
                  <a:lnTo>
                    <a:pt x="128" y="154"/>
                  </a:lnTo>
                  <a:lnTo>
                    <a:pt x="126" y="153"/>
                  </a:lnTo>
                  <a:lnTo>
                    <a:pt x="125" y="151"/>
                  </a:lnTo>
                  <a:lnTo>
                    <a:pt x="122" y="151"/>
                  </a:lnTo>
                  <a:lnTo>
                    <a:pt x="119" y="153"/>
                  </a:lnTo>
                  <a:lnTo>
                    <a:pt x="116" y="154"/>
                  </a:lnTo>
                  <a:lnTo>
                    <a:pt x="113" y="157"/>
                  </a:lnTo>
                  <a:lnTo>
                    <a:pt x="111" y="161"/>
                  </a:lnTo>
                  <a:lnTo>
                    <a:pt x="109" y="164"/>
                  </a:lnTo>
                  <a:lnTo>
                    <a:pt x="106" y="168"/>
                  </a:lnTo>
                  <a:lnTo>
                    <a:pt x="104" y="173"/>
                  </a:lnTo>
                  <a:lnTo>
                    <a:pt x="103" y="175"/>
                  </a:lnTo>
                  <a:lnTo>
                    <a:pt x="100" y="180"/>
                  </a:lnTo>
                  <a:lnTo>
                    <a:pt x="100" y="181"/>
                  </a:lnTo>
                  <a:lnTo>
                    <a:pt x="98" y="183"/>
                  </a:lnTo>
                  <a:lnTo>
                    <a:pt x="98" y="184"/>
                  </a:lnTo>
                  <a:lnTo>
                    <a:pt x="92" y="186"/>
                  </a:lnTo>
                  <a:lnTo>
                    <a:pt x="84" y="189"/>
                  </a:lnTo>
                  <a:lnTo>
                    <a:pt x="77" y="192"/>
                  </a:lnTo>
                  <a:lnTo>
                    <a:pt x="70" y="198"/>
                  </a:lnTo>
                  <a:lnTo>
                    <a:pt x="65" y="203"/>
                  </a:lnTo>
                  <a:lnTo>
                    <a:pt x="60" y="208"/>
                  </a:lnTo>
                  <a:lnTo>
                    <a:pt x="57" y="211"/>
                  </a:lnTo>
                  <a:lnTo>
                    <a:pt x="56" y="213"/>
                  </a:lnTo>
                  <a:lnTo>
                    <a:pt x="47" y="213"/>
                  </a:lnTo>
                  <a:lnTo>
                    <a:pt x="40" y="216"/>
                  </a:lnTo>
                  <a:lnTo>
                    <a:pt x="34" y="219"/>
                  </a:lnTo>
                  <a:lnTo>
                    <a:pt x="29" y="223"/>
                  </a:lnTo>
                  <a:lnTo>
                    <a:pt x="26" y="227"/>
                  </a:lnTo>
                  <a:lnTo>
                    <a:pt x="23" y="231"/>
                  </a:lnTo>
                  <a:lnTo>
                    <a:pt x="21" y="234"/>
                  </a:lnTo>
                  <a:lnTo>
                    <a:pt x="21" y="236"/>
                  </a:lnTo>
                  <a:lnTo>
                    <a:pt x="20" y="241"/>
                  </a:lnTo>
                  <a:lnTo>
                    <a:pt x="17" y="246"/>
                  </a:lnTo>
                  <a:lnTo>
                    <a:pt x="14" y="250"/>
                  </a:lnTo>
                  <a:lnTo>
                    <a:pt x="9" y="252"/>
                  </a:lnTo>
                  <a:lnTo>
                    <a:pt x="6" y="253"/>
                  </a:lnTo>
                  <a:lnTo>
                    <a:pt x="2" y="253"/>
                  </a:lnTo>
                  <a:lnTo>
                    <a:pt x="0" y="253"/>
                  </a:lnTo>
                  <a:lnTo>
                    <a:pt x="0" y="253"/>
                  </a:lnTo>
                  <a:lnTo>
                    <a:pt x="0" y="282"/>
                  </a:lnTo>
                  <a:lnTo>
                    <a:pt x="104" y="266"/>
                  </a:lnTo>
                  <a:lnTo>
                    <a:pt x="106" y="267"/>
                  </a:lnTo>
                  <a:lnTo>
                    <a:pt x="106" y="267"/>
                  </a:lnTo>
                  <a:lnTo>
                    <a:pt x="107" y="266"/>
                  </a:lnTo>
                  <a:lnTo>
                    <a:pt x="109" y="264"/>
                  </a:lnTo>
                  <a:lnTo>
                    <a:pt x="111" y="261"/>
                  </a:lnTo>
                  <a:lnTo>
                    <a:pt x="114" y="258"/>
                  </a:lnTo>
                  <a:lnTo>
                    <a:pt x="119" y="256"/>
                  </a:lnTo>
                  <a:lnTo>
                    <a:pt x="123" y="253"/>
                  </a:lnTo>
                  <a:lnTo>
                    <a:pt x="128" y="250"/>
                  </a:lnTo>
                  <a:lnTo>
                    <a:pt x="133" y="247"/>
                  </a:lnTo>
                  <a:lnTo>
                    <a:pt x="140" y="243"/>
                  </a:lnTo>
                  <a:lnTo>
                    <a:pt x="146" y="240"/>
                  </a:lnTo>
                  <a:lnTo>
                    <a:pt x="153" y="237"/>
                  </a:lnTo>
                  <a:lnTo>
                    <a:pt x="160" y="236"/>
                  </a:lnTo>
                  <a:lnTo>
                    <a:pt x="169" y="234"/>
                  </a:lnTo>
                  <a:lnTo>
                    <a:pt x="177" y="231"/>
                  </a:lnTo>
                  <a:lnTo>
                    <a:pt x="185" y="231"/>
                  </a:lnTo>
                  <a:lnTo>
                    <a:pt x="263" y="224"/>
                  </a:lnTo>
                  <a:lnTo>
                    <a:pt x="265" y="224"/>
                  </a:lnTo>
                  <a:lnTo>
                    <a:pt x="266" y="223"/>
                  </a:lnTo>
                  <a:lnTo>
                    <a:pt x="271" y="223"/>
                  </a:lnTo>
                  <a:lnTo>
                    <a:pt x="277" y="223"/>
                  </a:lnTo>
                  <a:lnTo>
                    <a:pt x="282" y="224"/>
                  </a:lnTo>
                  <a:lnTo>
                    <a:pt x="288" y="227"/>
                  </a:lnTo>
                  <a:lnTo>
                    <a:pt x="293" y="233"/>
                  </a:lnTo>
                  <a:lnTo>
                    <a:pt x="301" y="243"/>
                  </a:lnTo>
                  <a:lnTo>
                    <a:pt x="304" y="255"/>
                  </a:lnTo>
                  <a:lnTo>
                    <a:pt x="395" y="240"/>
                  </a:lnTo>
                  <a:lnTo>
                    <a:pt x="506" y="321"/>
                  </a:lnTo>
                  <a:lnTo>
                    <a:pt x="506" y="321"/>
                  </a:lnTo>
                  <a:lnTo>
                    <a:pt x="509" y="321"/>
                  </a:lnTo>
                  <a:lnTo>
                    <a:pt x="511" y="321"/>
                  </a:lnTo>
                  <a:lnTo>
                    <a:pt x="512" y="31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" name="Freeform 136"/>
            <p:cNvSpPr>
              <a:spLocks/>
            </p:cNvSpPr>
            <p:nvPr/>
          </p:nvSpPr>
          <p:spPr bwMode="auto">
            <a:xfrm>
              <a:off x="2905167" y="4843522"/>
              <a:ext cx="475017" cy="216094"/>
            </a:xfrm>
            <a:custGeom>
              <a:avLst/>
              <a:gdLst>
                <a:gd name="T0" fmla="*/ 549 w 708"/>
                <a:gd name="T1" fmla="*/ 304 h 322"/>
                <a:gd name="T2" fmla="*/ 557 w 708"/>
                <a:gd name="T3" fmla="*/ 283 h 322"/>
                <a:gd name="T4" fmla="*/ 560 w 708"/>
                <a:gd name="T5" fmla="*/ 299 h 322"/>
                <a:gd name="T6" fmla="*/ 572 w 708"/>
                <a:gd name="T7" fmla="*/ 261 h 322"/>
                <a:gd name="T8" fmla="*/ 590 w 708"/>
                <a:gd name="T9" fmla="*/ 236 h 322"/>
                <a:gd name="T10" fmla="*/ 595 w 708"/>
                <a:gd name="T11" fmla="*/ 223 h 322"/>
                <a:gd name="T12" fmla="*/ 618 w 708"/>
                <a:gd name="T13" fmla="*/ 210 h 322"/>
                <a:gd name="T14" fmla="*/ 642 w 708"/>
                <a:gd name="T15" fmla="*/ 195 h 322"/>
                <a:gd name="T16" fmla="*/ 651 w 708"/>
                <a:gd name="T17" fmla="*/ 197 h 322"/>
                <a:gd name="T18" fmla="*/ 661 w 708"/>
                <a:gd name="T19" fmla="*/ 194 h 322"/>
                <a:gd name="T20" fmla="*/ 670 w 708"/>
                <a:gd name="T21" fmla="*/ 184 h 322"/>
                <a:gd name="T22" fmla="*/ 674 w 708"/>
                <a:gd name="T23" fmla="*/ 162 h 322"/>
                <a:gd name="T24" fmla="*/ 670 w 708"/>
                <a:gd name="T25" fmla="*/ 170 h 322"/>
                <a:gd name="T26" fmla="*/ 664 w 708"/>
                <a:gd name="T27" fmla="*/ 159 h 322"/>
                <a:gd name="T28" fmla="*/ 654 w 708"/>
                <a:gd name="T29" fmla="*/ 167 h 322"/>
                <a:gd name="T30" fmla="*/ 621 w 708"/>
                <a:gd name="T31" fmla="*/ 168 h 322"/>
                <a:gd name="T32" fmla="*/ 646 w 708"/>
                <a:gd name="T33" fmla="*/ 164 h 322"/>
                <a:gd name="T34" fmla="*/ 654 w 708"/>
                <a:gd name="T35" fmla="*/ 138 h 322"/>
                <a:gd name="T36" fmla="*/ 635 w 708"/>
                <a:gd name="T37" fmla="*/ 134 h 322"/>
                <a:gd name="T38" fmla="*/ 615 w 708"/>
                <a:gd name="T39" fmla="*/ 126 h 322"/>
                <a:gd name="T40" fmla="*/ 632 w 708"/>
                <a:gd name="T41" fmla="*/ 126 h 322"/>
                <a:gd name="T42" fmla="*/ 648 w 708"/>
                <a:gd name="T43" fmla="*/ 121 h 322"/>
                <a:gd name="T44" fmla="*/ 658 w 708"/>
                <a:gd name="T45" fmla="*/ 117 h 322"/>
                <a:gd name="T46" fmla="*/ 667 w 708"/>
                <a:gd name="T47" fmla="*/ 126 h 322"/>
                <a:gd name="T48" fmla="*/ 685 w 708"/>
                <a:gd name="T49" fmla="*/ 124 h 322"/>
                <a:gd name="T50" fmla="*/ 704 w 708"/>
                <a:gd name="T51" fmla="*/ 96 h 322"/>
                <a:gd name="T52" fmla="*/ 707 w 708"/>
                <a:gd name="T53" fmla="*/ 88 h 322"/>
                <a:gd name="T54" fmla="*/ 698 w 708"/>
                <a:gd name="T55" fmla="*/ 57 h 322"/>
                <a:gd name="T56" fmla="*/ 685 w 708"/>
                <a:gd name="T57" fmla="*/ 66 h 322"/>
                <a:gd name="T58" fmla="*/ 682 w 708"/>
                <a:gd name="T59" fmla="*/ 88 h 322"/>
                <a:gd name="T60" fmla="*/ 678 w 708"/>
                <a:gd name="T61" fmla="*/ 71 h 322"/>
                <a:gd name="T62" fmla="*/ 671 w 708"/>
                <a:gd name="T63" fmla="*/ 57 h 322"/>
                <a:gd name="T64" fmla="*/ 646 w 708"/>
                <a:gd name="T65" fmla="*/ 66 h 322"/>
                <a:gd name="T66" fmla="*/ 629 w 708"/>
                <a:gd name="T67" fmla="*/ 74 h 322"/>
                <a:gd name="T68" fmla="*/ 615 w 708"/>
                <a:gd name="T69" fmla="*/ 77 h 322"/>
                <a:gd name="T70" fmla="*/ 634 w 708"/>
                <a:gd name="T71" fmla="*/ 65 h 322"/>
                <a:gd name="T72" fmla="*/ 646 w 708"/>
                <a:gd name="T73" fmla="*/ 55 h 322"/>
                <a:gd name="T74" fmla="*/ 642 w 708"/>
                <a:gd name="T75" fmla="*/ 44 h 322"/>
                <a:gd name="T76" fmla="*/ 668 w 708"/>
                <a:gd name="T77" fmla="*/ 42 h 322"/>
                <a:gd name="T78" fmla="*/ 658 w 708"/>
                <a:gd name="T79" fmla="*/ 28 h 322"/>
                <a:gd name="T80" fmla="*/ 671 w 708"/>
                <a:gd name="T81" fmla="*/ 33 h 322"/>
                <a:gd name="T82" fmla="*/ 692 w 708"/>
                <a:gd name="T83" fmla="*/ 42 h 322"/>
                <a:gd name="T84" fmla="*/ 670 w 708"/>
                <a:gd name="T85" fmla="*/ 12 h 322"/>
                <a:gd name="T86" fmla="*/ 539 w 708"/>
                <a:gd name="T87" fmla="*/ 27 h 322"/>
                <a:gd name="T88" fmla="*/ 392 w 708"/>
                <a:gd name="T89" fmla="*/ 54 h 322"/>
                <a:gd name="T90" fmla="*/ 282 w 708"/>
                <a:gd name="T91" fmla="*/ 69 h 322"/>
                <a:gd name="T92" fmla="*/ 213 w 708"/>
                <a:gd name="T93" fmla="*/ 78 h 322"/>
                <a:gd name="T94" fmla="*/ 196 w 708"/>
                <a:gd name="T95" fmla="*/ 79 h 322"/>
                <a:gd name="T96" fmla="*/ 196 w 708"/>
                <a:gd name="T97" fmla="*/ 105 h 322"/>
                <a:gd name="T98" fmla="*/ 179 w 708"/>
                <a:gd name="T99" fmla="*/ 123 h 322"/>
                <a:gd name="T100" fmla="*/ 161 w 708"/>
                <a:gd name="T101" fmla="*/ 132 h 322"/>
                <a:gd name="T102" fmla="*/ 130 w 708"/>
                <a:gd name="T103" fmla="*/ 159 h 322"/>
                <a:gd name="T104" fmla="*/ 113 w 708"/>
                <a:gd name="T105" fmla="*/ 157 h 322"/>
                <a:gd name="T106" fmla="*/ 100 w 708"/>
                <a:gd name="T107" fmla="*/ 181 h 322"/>
                <a:gd name="T108" fmla="*/ 70 w 708"/>
                <a:gd name="T109" fmla="*/ 198 h 322"/>
                <a:gd name="T110" fmla="*/ 40 w 708"/>
                <a:gd name="T111" fmla="*/ 216 h 322"/>
                <a:gd name="T112" fmla="*/ 21 w 708"/>
                <a:gd name="T113" fmla="*/ 236 h 322"/>
                <a:gd name="T114" fmla="*/ 0 w 708"/>
                <a:gd name="T115" fmla="*/ 253 h 322"/>
                <a:gd name="T116" fmla="*/ 107 w 708"/>
                <a:gd name="T117" fmla="*/ 266 h 322"/>
                <a:gd name="T118" fmla="*/ 133 w 708"/>
                <a:gd name="T119" fmla="*/ 247 h 322"/>
                <a:gd name="T120" fmla="*/ 185 w 708"/>
                <a:gd name="T121" fmla="*/ 231 h 322"/>
                <a:gd name="T122" fmla="*/ 282 w 708"/>
                <a:gd name="T123" fmla="*/ 224 h 322"/>
                <a:gd name="T124" fmla="*/ 506 w 708"/>
                <a:gd name="T125" fmla="*/ 3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8" h="322">
                  <a:moveTo>
                    <a:pt x="512" y="319"/>
                  </a:moveTo>
                  <a:lnTo>
                    <a:pt x="512" y="319"/>
                  </a:lnTo>
                  <a:lnTo>
                    <a:pt x="523" y="312"/>
                  </a:lnTo>
                  <a:lnTo>
                    <a:pt x="532" y="306"/>
                  </a:lnTo>
                  <a:lnTo>
                    <a:pt x="539" y="304"/>
                  </a:lnTo>
                  <a:lnTo>
                    <a:pt x="545" y="304"/>
                  </a:lnTo>
                  <a:lnTo>
                    <a:pt x="549" y="304"/>
                  </a:lnTo>
                  <a:lnTo>
                    <a:pt x="550" y="306"/>
                  </a:lnTo>
                  <a:lnTo>
                    <a:pt x="553" y="307"/>
                  </a:lnTo>
                  <a:lnTo>
                    <a:pt x="553" y="309"/>
                  </a:lnTo>
                  <a:lnTo>
                    <a:pt x="553" y="282"/>
                  </a:lnTo>
                  <a:lnTo>
                    <a:pt x="556" y="282"/>
                  </a:lnTo>
                  <a:lnTo>
                    <a:pt x="556" y="282"/>
                  </a:lnTo>
                  <a:lnTo>
                    <a:pt x="557" y="283"/>
                  </a:lnTo>
                  <a:lnTo>
                    <a:pt x="557" y="286"/>
                  </a:lnTo>
                  <a:lnTo>
                    <a:pt x="557" y="288"/>
                  </a:lnTo>
                  <a:lnTo>
                    <a:pt x="559" y="291"/>
                  </a:lnTo>
                  <a:lnTo>
                    <a:pt x="560" y="294"/>
                  </a:lnTo>
                  <a:lnTo>
                    <a:pt x="560" y="297"/>
                  </a:lnTo>
                  <a:lnTo>
                    <a:pt x="560" y="299"/>
                  </a:lnTo>
                  <a:lnTo>
                    <a:pt x="560" y="299"/>
                  </a:lnTo>
                  <a:lnTo>
                    <a:pt x="560" y="299"/>
                  </a:lnTo>
                  <a:lnTo>
                    <a:pt x="562" y="291"/>
                  </a:lnTo>
                  <a:lnTo>
                    <a:pt x="562" y="286"/>
                  </a:lnTo>
                  <a:lnTo>
                    <a:pt x="565" y="279"/>
                  </a:lnTo>
                  <a:lnTo>
                    <a:pt x="566" y="273"/>
                  </a:lnTo>
                  <a:lnTo>
                    <a:pt x="569" y="267"/>
                  </a:lnTo>
                  <a:lnTo>
                    <a:pt x="572" y="261"/>
                  </a:lnTo>
                  <a:lnTo>
                    <a:pt x="575" y="256"/>
                  </a:lnTo>
                  <a:lnTo>
                    <a:pt x="578" y="252"/>
                  </a:lnTo>
                  <a:lnTo>
                    <a:pt x="580" y="247"/>
                  </a:lnTo>
                  <a:lnTo>
                    <a:pt x="583" y="244"/>
                  </a:lnTo>
                  <a:lnTo>
                    <a:pt x="586" y="241"/>
                  </a:lnTo>
                  <a:lnTo>
                    <a:pt x="589" y="238"/>
                  </a:lnTo>
                  <a:lnTo>
                    <a:pt x="590" y="236"/>
                  </a:lnTo>
                  <a:lnTo>
                    <a:pt x="592" y="234"/>
                  </a:lnTo>
                  <a:lnTo>
                    <a:pt x="593" y="234"/>
                  </a:lnTo>
                  <a:lnTo>
                    <a:pt x="593" y="233"/>
                  </a:lnTo>
                  <a:lnTo>
                    <a:pt x="589" y="225"/>
                  </a:lnTo>
                  <a:lnTo>
                    <a:pt x="595" y="222"/>
                  </a:lnTo>
                  <a:lnTo>
                    <a:pt x="595" y="222"/>
                  </a:lnTo>
                  <a:lnTo>
                    <a:pt x="595" y="223"/>
                  </a:lnTo>
                  <a:lnTo>
                    <a:pt x="596" y="225"/>
                  </a:lnTo>
                  <a:lnTo>
                    <a:pt x="598" y="228"/>
                  </a:lnTo>
                  <a:lnTo>
                    <a:pt x="599" y="228"/>
                  </a:lnTo>
                  <a:lnTo>
                    <a:pt x="599" y="228"/>
                  </a:lnTo>
                  <a:lnTo>
                    <a:pt x="605" y="222"/>
                  </a:lnTo>
                  <a:lnTo>
                    <a:pt x="610" y="214"/>
                  </a:lnTo>
                  <a:lnTo>
                    <a:pt x="618" y="210"/>
                  </a:lnTo>
                  <a:lnTo>
                    <a:pt x="625" y="205"/>
                  </a:lnTo>
                  <a:lnTo>
                    <a:pt x="631" y="204"/>
                  </a:lnTo>
                  <a:lnTo>
                    <a:pt x="637" y="203"/>
                  </a:lnTo>
                  <a:lnTo>
                    <a:pt x="641" y="201"/>
                  </a:lnTo>
                  <a:lnTo>
                    <a:pt x="642" y="201"/>
                  </a:lnTo>
                  <a:lnTo>
                    <a:pt x="642" y="201"/>
                  </a:lnTo>
                  <a:lnTo>
                    <a:pt x="642" y="195"/>
                  </a:lnTo>
                  <a:lnTo>
                    <a:pt x="643" y="194"/>
                  </a:lnTo>
                  <a:lnTo>
                    <a:pt x="645" y="192"/>
                  </a:lnTo>
                  <a:lnTo>
                    <a:pt x="646" y="192"/>
                  </a:lnTo>
                  <a:lnTo>
                    <a:pt x="648" y="194"/>
                  </a:lnTo>
                  <a:lnTo>
                    <a:pt x="649" y="194"/>
                  </a:lnTo>
                  <a:lnTo>
                    <a:pt x="651" y="195"/>
                  </a:lnTo>
                  <a:lnTo>
                    <a:pt x="651" y="197"/>
                  </a:lnTo>
                  <a:lnTo>
                    <a:pt x="651" y="197"/>
                  </a:lnTo>
                  <a:lnTo>
                    <a:pt x="652" y="194"/>
                  </a:lnTo>
                  <a:lnTo>
                    <a:pt x="654" y="192"/>
                  </a:lnTo>
                  <a:lnTo>
                    <a:pt x="655" y="192"/>
                  </a:lnTo>
                  <a:lnTo>
                    <a:pt x="657" y="192"/>
                  </a:lnTo>
                  <a:lnTo>
                    <a:pt x="659" y="192"/>
                  </a:lnTo>
                  <a:lnTo>
                    <a:pt x="661" y="194"/>
                  </a:lnTo>
                  <a:lnTo>
                    <a:pt x="662" y="194"/>
                  </a:lnTo>
                  <a:lnTo>
                    <a:pt x="662" y="194"/>
                  </a:lnTo>
                  <a:lnTo>
                    <a:pt x="662" y="194"/>
                  </a:lnTo>
                  <a:lnTo>
                    <a:pt x="664" y="194"/>
                  </a:lnTo>
                  <a:lnTo>
                    <a:pt x="665" y="192"/>
                  </a:lnTo>
                  <a:lnTo>
                    <a:pt x="667" y="189"/>
                  </a:lnTo>
                  <a:lnTo>
                    <a:pt x="670" y="184"/>
                  </a:lnTo>
                  <a:lnTo>
                    <a:pt x="671" y="181"/>
                  </a:lnTo>
                  <a:lnTo>
                    <a:pt x="674" y="177"/>
                  </a:lnTo>
                  <a:lnTo>
                    <a:pt x="675" y="175"/>
                  </a:lnTo>
                  <a:lnTo>
                    <a:pt x="675" y="173"/>
                  </a:lnTo>
                  <a:lnTo>
                    <a:pt x="675" y="173"/>
                  </a:lnTo>
                  <a:lnTo>
                    <a:pt x="675" y="165"/>
                  </a:lnTo>
                  <a:lnTo>
                    <a:pt x="674" y="162"/>
                  </a:lnTo>
                  <a:lnTo>
                    <a:pt x="674" y="161"/>
                  </a:lnTo>
                  <a:lnTo>
                    <a:pt x="673" y="162"/>
                  </a:lnTo>
                  <a:lnTo>
                    <a:pt x="671" y="164"/>
                  </a:lnTo>
                  <a:lnTo>
                    <a:pt x="670" y="167"/>
                  </a:lnTo>
                  <a:lnTo>
                    <a:pt x="670" y="168"/>
                  </a:lnTo>
                  <a:lnTo>
                    <a:pt x="670" y="170"/>
                  </a:lnTo>
                  <a:lnTo>
                    <a:pt x="670" y="170"/>
                  </a:lnTo>
                  <a:lnTo>
                    <a:pt x="668" y="170"/>
                  </a:lnTo>
                  <a:lnTo>
                    <a:pt x="667" y="168"/>
                  </a:lnTo>
                  <a:lnTo>
                    <a:pt x="665" y="168"/>
                  </a:lnTo>
                  <a:lnTo>
                    <a:pt x="665" y="167"/>
                  </a:lnTo>
                  <a:lnTo>
                    <a:pt x="665" y="167"/>
                  </a:lnTo>
                  <a:lnTo>
                    <a:pt x="664" y="161"/>
                  </a:lnTo>
                  <a:lnTo>
                    <a:pt x="664" y="159"/>
                  </a:lnTo>
                  <a:lnTo>
                    <a:pt x="664" y="157"/>
                  </a:lnTo>
                  <a:lnTo>
                    <a:pt x="662" y="159"/>
                  </a:lnTo>
                  <a:lnTo>
                    <a:pt x="661" y="160"/>
                  </a:lnTo>
                  <a:lnTo>
                    <a:pt x="661" y="162"/>
                  </a:lnTo>
                  <a:lnTo>
                    <a:pt x="661" y="164"/>
                  </a:lnTo>
                  <a:lnTo>
                    <a:pt x="661" y="165"/>
                  </a:lnTo>
                  <a:lnTo>
                    <a:pt x="654" y="167"/>
                  </a:lnTo>
                  <a:lnTo>
                    <a:pt x="638" y="181"/>
                  </a:lnTo>
                  <a:lnTo>
                    <a:pt x="628" y="180"/>
                  </a:lnTo>
                  <a:lnTo>
                    <a:pt x="613" y="167"/>
                  </a:lnTo>
                  <a:lnTo>
                    <a:pt x="613" y="167"/>
                  </a:lnTo>
                  <a:lnTo>
                    <a:pt x="615" y="167"/>
                  </a:lnTo>
                  <a:lnTo>
                    <a:pt x="618" y="168"/>
                  </a:lnTo>
                  <a:lnTo>
                    <a:pt x="621" y="168"/>
                  </a:lnTo>
                  <a:lnTo>
                    <a:pt x="623" y="170"/>
                  </a:lnTo>
                  <a:lnTo>
                    <a:pt x="623" y="170"/>
                  </a:lnTo>
                  <a:lnTo>
                    <a:pt x="628" y="173"/>
                  </a:lnTo>
                  <a:lnTo>
                    <a:pt x="634" y="173"/>
                  </a:lnTo>
                  <a:lnTo>
                    <a:pt x="638" y="171"/>
                  </a:lnTo>
                  <a:lnTo>
                    <a:pt x="642" y="168"/>
                  </a:lnTo>
                  <a:lnTo>
                    <a:pt x="646" y="164"/>
                  </a:lnTo>
                  <a:lnTo>
                    <a:pt x="649" y="161"/>
                  </a:lnTo>
                  <a:lnTo>
                    <a:pt x="652" y="159"/>
                  </a:lnTo>
                  <a:lnTo>
                    <a:pt x="652" y="157"/>
                  </a:lnTo>
                  <a:lnTo>
                    <a:pt x="643" y="154"/>
                  </a:lnTo>
                  <a:lnTo>
                    <a:pt x="642" y="150"/>
                  </a:lnTo>
                  <a:lnTo>
                    <a:pt x="651" y="148"/>
                  </a:lnTo>
                  <a:lnTo>
                    <a:pt x="654" y="138"/>
                  </a:lnTo>
                  <a:lnTo>
                    <a:pt x="654" y="138"/>
                  </a:lnTo>
                  <a:lnTo>
                    <a:pt x="652" y="138"/>
                  </a:lnTo>
                  <a:lnTo>
                    <a:pt x="651" y="138"/>
                  </a:lnTo>
                  <a:lnTo>
                    <a:pt x="649" y="138"/>
                  </a:lnTo>
                  <a:lnTo>
                    <a:pt x="646" y="137"/>
                  </a:lnTo>
                  <a:lnTo>
                    <a:pt x="646" y="137"/>
                  </a:lnTo>
                  <a:lnTo>
                    <a:pt x="635" y="134"/>
                  </a:lnTo>
                  <a:lnTo>
                    <a:pt x="626" y="131"/>
                  </a:lnTo>
                  <a:lnTo>
                    <a:pt x="619" y="129"/>
                  </a:lnTo>
                  <a:lnTo>
                    <a:pt x="616" y="128"/>
                  </a:lnTo>
                  <a:lnTo>
                    <a:pt x="613" y="127"/>
                  </a:lnTo>
                  <a:lnTo>
                    <a:pt x="612" y="127"/>
                  </a:lnTo>
                  <a:lnTo>
                    <a:pt x="613" y="126"/>
                  </a:lnTo>
                  <a:lnTo>
                    <a:pt x="615" y="126"/>
                  </a:lnTo>
                  <a:lnTo>
                    <a:pt x="616" y="126"/>
                  </a:lnTo>
                  <a:lnTo>
                    <a:pt x="619" y="124"/>
                  </a:lnTo>
                  <a:lnTo>
                    <a:pt x="623" y="126"/>
                  </a:lnTo>
                  <a:lnTo>
                    <a:pt x="626" y="126"/>
                  </a:lnTo>
                  <a:lnTo>
                    <a:pt x="629" y="126"/>
                  </a:lnTo>
                  <a:lnTo>
                    <a:pt x="631" y="126"/>
                  </a:lnTo>
                  <a:lnTo>
                    <a:pt x="632" y="126"/>
                  </a:lnTo>
                  <a:lnTo>
                    <a:pt x="634" y="126"/>
                  </a:lnTo>
                  <a:lnTo>
                    <a:pt x="632" y="117"/>
                  </a:lnTo>
                  <a:lnTo>
                    <a:pt x="640" y="114"/>
                  </a:lnTo>
                  <a:lnTo>
                    <a:pt x="643" y="121"/>
                  </a:lnTo>
                  <a:lnTo>
                    <a:pt x="643" y="121"/>
                  </a:lnTo>
                  <a:lnTo>
                    <a:pt x="645" y="121"/>
                  </a:lnTo>
                  <a:lnTo>
                    <a:pt x="648" y="121"/>
                  </a:lnTo>
                  <a:lnTo>
                    <a:pt x="649" y="123"/>
                  </a:lnTo>
                  <a:lnTo>
                    <a:pt x="651" y="121"/>
                  </a:lnTo>
                  <a:lnTo>
                    <a:pt x="651" y="121"/>
                  </a:lnTo>
                  <a:lnTo>
                    <a:pt x="652" y="117"/>
                  </a:lnTo>
                  <a:lnTo>
                    <a:pt x="654" y="114"/>
                  </a:lnTo>
                  <a:lnTo>
                    <a:pt x="655" y="115"/>
                  </a:lnTo>
                  <a:lnTo>
                    <a:pt x="658" y="117"/>
                  </a:lnTo>
                  <a:lnTo>
                    <a:pt x="659" y="120"/>
                  </a:lnTo>
                  <a:lnTo>
                    <a:pt x="662" y="123"/>
                  </a:lnTo>
                  <a:lnTo>
                    <a:pt x="664" y="124"/>
                  </a:lnTo>
                  <a:lnTo>
                    <a:pt x="664" y="126"/>
                  </a:lnTo>
                  <a:lnTo>
                    <a:pt x="664" y="126"/>
                  </a:lnTo>
                  <a:lnTo>
                    <a:pt x="665" y="126"/>
                  </a:lnTo>
                  <a:lnTo>
                    <a:pt x="667" y="126"/>
                  </a:lnTo>
                  <a:lnTo>
                    <a:pt x="671" y="126"/>
                  </a:lnTo>
                  <a:lnTo>
                    <a:pt x="674" y="126"/>
                  </a:lnTo>
                  <a:lnTo>
                    <a:pt x="678" y="126"/>
                  </a:lnTo>
                  <a:lnTo>
                    <a:pt x="681" y="124"/>
                  </a:lnTo>
                  <a:lnTo>
                    <a:pt x="684" y="124"/>
                  </a:lnTo>
                  <a:lnTo>
                    <a:pt x="685" y="124"/>
                  </a:lnTo>
                  <a:lnTo>
                    <a:pt x="685" y="124"/>
                  </a:lnTo>
                  <a:lnTo>
                    <a:pt x="690" y="110"/>
                  </a:lnTo>
                  <a:lnTo>
                    <a:pt x="694" y="101"/>
                  </a:lnTo>
                  <a:lnTo>
                    <a:pt x="698" y="96"/>
                  </a:lnTo>
                  <a:lnTo>
                    <a:pt x="700" y="93"/>
                  </a:lnTo>
                  <a:lnTo>
                    <a:pt x="701" y="93"/>
                  </a:lnTo>
                  <a:lnTo>
                    <a:pt x="703" y="94"/>
                  </a:lnTo>
                  <a:lnTo>
                    <a:pt x="704" y="96"/>
                  </a:lnTo>
                  <a:lnTo>
                    <a:pt x="704" y="96"/>
                  </a:lnTo>
                  <a:lnTo>
                    <a:pt x="704" y="96"/>
                  </a:lnTo>
                  <a:lnTo>
                    <a:pt x="704" y="94"/>
                  </a:lnTo>
                  <a:lnTo>
                    <a:pt x="706" y="93"/>
                  </a:lnTo>
                  <a:lnTo>
                    <a:pt x="707" y="90"/>
                  </a:lnTo>
                  <a:lnTo>
                    <a:pt x="707" y="88"/>
                  </a:lnTo>
                  <a:lnTo>
                    <a:pt x="707" y="88"/>
                  </a:lnTo>
                  <a:lnTo>
                    <a:pt x="707" y="81"/>
                  </a:lnTo>
                  <a:lnTo>
                    <a:pt x="706" y="74"/>
                  </a:lnTo>
                  <a:lnTo>
                    <a:pt x="704" y="68"/>
                  </a:lnTo>
                  <a:lnTo>
                    <a:pt x="703" y="64"/>
                  </a:lnTo>
                  <a:lnTo>
                    <a:pt x="701" y="61"/>
                  </a:lnTo>
                  <a:lnTo>
                    <a:pt x="700" y="58"/>
                  </a:lnTo>
                  <a:lnTo>
                    <a:pt x="698" y="57"/>
                  </a:lnTo>
                  <a:lnTo>
                    <a:pt x="698" y="57"/>
                  </a:lnTo>
                  <a:lnTo>
                    <a:pt x="692" y="61"/>
                  </a:lnTo>
                  <a:lnTo>
                    <a:pt x="692" y="61"/>
                  </a:lnTo>
                  <a:lnTo>
                    <a:pt x="691" y="61"/>
                  </a:lnTo>
                  <a:lnTo>
                    <a:pt x="690" y="63"/>
                  </a:lnTo>
                  <a:lnTo>
                    <a:pt x="687" y="64"/>
                  </a:lnTo>
                  <a:lnTo>
                    <a:pt x="685" y="66"/>
                  </a:lnTo>
                  <a:lnTo>
                    <a:pt x="685" y="66"/>
                  </a:lnTo>
                  <a:lnTo>
                    <a:pt x="685" y="75"/>
                  </a:lnTo>
                  <a:lnTo>
                    <a:pt x="685" y="81"/>
                  </a:lnTo>
                  <a:lnTo>
                    <a:pt x="684" y="85"/>
                  </a:lnTo>
                  <a:lnTo>
                    <a:pt x="684" y="88"/>
                  </a:lnTo>
                  <a:lnTo>
                    <a:pt x="684" y="90"/>
                  </a:lnTo>
                  <a:lnTo>
                    <a:pt x="682" y="88"/>
                  </a:lnTo>
                  <a:lnTo>
                    <a:pt x="682" y="88"/>
                  </a:lnTo>
                  <a:lnTo>
                    <a:pt x="682" y="85"/>
                  </a:lnTo>
                  <a:lnTo>
                    <a:pt x="681" y="82"/>
                  </a:lnTo>
                  <a:lnTo>
                    <a:pt x="679" y="79"/>
                  </a:lnTo>
                  <a:lnTo>
                    <a:pt x="679" y="77"/>
                  </a:lnTo>
                  <a:lnTo>
                    <a:pt x="679" y="74"/>
                  </a:lnTo>
                  <a:lnTo>
                    <a:pt x="678" y="71"/>
                  </a:lnTo>
                  <a:lnTo>
                    <a:pt x="678" y="68"/>
                  </a:lnTo>
                  <a:lnTo>
                    <a:pt x="678" y="66"/>
                  </a:lnTo>
                  <a:lnTo>
                    <a:pt x="678" y="65"/>
                  </a:lnTo>
                  <a:lnTo>
                    <a:pt x="678" y="65"/>
                  </a:lnTo>
                  <a:lnTo>
                    <a:pt x="676" y="60"/>
                  </a:lnTo>
                  <a:lnTo>
                    <a:pt x="675" y="57"/>
                  </a:lnTo>
                  <a:lnTo>
                    <a:pt x="671" y="57"/>
                  </a:lnTo>
                  <a:lnTo>
                    <a:pt x="668" y="58"/>
                  </a:lnTo>
                  <a:lnTo>
                    <a:pt x="664" y="61"/>
                  </a:lnTo>
                  <a:lnTo>
                    <a:pt x="659" y="64"/>
                  </a:lnTo>
                  <a:lnTo>
                    <a:pt x="658" y="65"/>
                  </a:lnTo>
                  <a:lnTo>
                    <a:pt x="657" y="66"/>
                  </a:lnTo>
                  <a:lnTo>
                    <a:pt x="646" y="66"/>
                  </a:lnTo>
                  <a:lnTo>
                    <a:pt x="646" y="66"/>
                  </a:lnTo>
                  <a:lnTo>
                    <a:pt x="645" y="68"/>
                  </a:lnTo>
                  <a:lnTo>
                    <a:pt x="643" y="68"/>
                  </a:lnTo>
                  <a:lnTo>
                    <a:pt x="641" y="69"/>
                  </a:lnTo>
                  <a:lnTo>
                    <a:pt x="638" y="69"/>
                  </a:lnTo>
                  <a:lnTo>
                    <a:pt x="635" y="71"/>
                  </a:lnTo>
                  <a:lnTo>
                    <a:pt x="631" y="72"/>
                  </a:lnTo>
                  <a:lnTo>
                    <a:pt x="629" y="74"/>
                  </a:lnTo>
                  <a:lnTo>
                    <a:pt x="628" y="74"/>
                  </a:lnTo>
                  <a:lnTo>
                    <a:pt x="628" y="74"/>
                  </a:lnTo>
                  <a:lnTo>
                    <a:pt x="619" y="79"/>
                  </a:lnTo>
                  <a:lnTo>
                    <a:pt x="615" y="81"/>
                  </a:lnTo>
                  <a:lnTo>
                    <a:pt x="613" y="81"/>
                  </a:lnTo>
                  <a:lnTo>
                    <a:pt x="613" y="79"/>
                  </a:lnTo>
                  <a:lnTo>
                    <a:pt x="615" y="77"/>
                  </a:lnTo>
                  <a:lnTo>
                    <a:pt x="618" y="74"/>
                  </a:lnTo>
                  <a:lnTo>
                    <a:pt x="619" y="71"/>
                  </a:lnTo>
                  <a:lnTo>
                    <a:pt x="621" y="71"/>
                  </a:lnTo>
                  <a:lnTo>
                    <a:pt x="613" y="55"/>
                  </a:lnTo>
                  <a:lnTo>
                    <a:pt x="619" y="51"/>
                  </a:lnTo>
                  <a:lnTo>
                    <a:pt x="623" y="60"/>
                  </a:lnTo>
                  <a:lnTo>
                    <a:pt x="634" y="65"/>
                  </a:lnTo>
                  <a:lnTo>
                    <a:pt x="634" y="65"/>
                  </a:lnTo>
                  <a:lnTo>
                    <a:pt x="634" y="65"/>
                  </a:lnTo>
                  <a:lnTo>
                    <a:pt x="637" y="64"/>
                  </a:lnTo>
                  <a:lnTo>
                    <a:pt x="640" y="61"/>
                  </a:lnTo>
                  <a:lnTo>
                    <a:pt x="642" y="60"/>
                  </a:lnTo>
                  <a:lnTo>
                    <a:pt x="645" y="57"/>
                  </a:lnTo>
                  <a:lnTo>
                    <a:pt x="646" y="55"/>
                  </a:lnTo>
                  <a:lnTo>
                    <a:pt x="648" y="54"/>
                  </a:lnTo>
                  <a:lnTo>
                    <a:pt x="648" y="52"/>
                  </a:lnTo>
                  <a:lnTo>
                    <a:pt x="648" y="52"/>
                  </a:lnTo>
                  <a:lnTo>
                    <a:pt x="641" y="47"/>
                  </a:lnTo>
                  <a:lnTo>
                    <a:pt x="638" y="44"/>
                  </a:lnTo>
                  <a:lnTo>
                    <a:pt x="640" y="44"/>
                  </a:lnTo>
                  <a:lnTo>
                    <a:pt x="642" y="44"/>
                  </a:lnTo>
                  <a:lnTo>
                    <a:pt x="646" y="45"/>
                  </a:lnTo>
                  <a:lnTo>
                    <a:pt x="651" y="47"/>
                  </a:lnTo>
                  <a:lnTo>
                    <a:pt x="654" y="48"/>
                  </a:lnTo>
                  <a:lnTo>
                    <a:pt x="657" y="49"/>
                  </a:lnTo>
                  <a:lnTo>
                    <a:pt x="668" y="44"/>
                  </a:lnTo>
                  <a:lnTo>
                    <a:pt x="668" y="44"/>
                  </a:lnTo>
                  <a:lnTo>
                    <a:pt x="668" y="42"/>
                  </a:lnTo>
                  <a:lnTo>
                    <a:pt x="668" y="41"/>
                  </a:lnTo>
                  <a:lnTo>
                    <a:pt x="667" y="39"/>
                  </a:lnTo>
                  <a:lnTo>
                    <a:pt x="667" y="38"/>
                  </a:lnTo>
                  <a:lnTo>
                    <a:pt x="667" y="38"/>
                  </a:lnTo>
                  <a:lnTo>
                    <a:pt x="661" y="32"/>
                  </a:lnTo>
                  <a:lnTo>
                    <a:pt x="658" y="28"/>
                  </a:lnTo>
                  <a:lnTo>
                    <a:pt x="658" y="28"/>
                  </a:lnTo>
                  <a:lnTo>
                    <a:pt x="661" y="28"/>
                  </a:lnTo>
                  <a:lnTo>
                    <a:pt x="664" y="30"/>
                  </a:lnTo>
                  <a:lnTo>
                    <a:pt x="667" y="31"/>
                  </a:lnTo>
                  <a:lnTo>
                    <a:pt x="670" y="32"/>
                  </a:lnTo>
                  <a:lnTo>
                    <a:pt x="670" y="33"/>
                  </a:lnTo>
                  <a:lnTo>
                    <a:pt x="670" y="33"/>
                  </a:lnTo>
                  <a:lnTo>
                    <a:pt x="671" y="33"/>
                  </a:lnTo>
                  <a:lnTo>
                    <a:pt x="674" y="32"/>
                  </a:lnTo>
                  <a:lnTo>
                    <a:pt x="678" y="32"/>
                  </a:lnTo>
                  <a:lnTo>
                    <a:pt x="679" y="32"/>
                  </a:lnTo>
                  <a:lnTo>
                    <a:pt x="679" y="32"/>
                  </a:lnTo>
                  <a:lnTo>
                    <a:pt x="687" y="39"/>
                  </a:lnTo>
                  <a:lnTo>
                    <a:pt x="691" y="42"/>
                  </a:lnTo>
                  <a:lnTo>
                    <a:pt x="692" y="42"/>
                  </a:lnTo>
                  <a:lnTo>
                    <a:pt x="692" y="39"/>
                  </a:lnTo>
                  <a:lnTo>
                    <a:pt x="690" y="36"/>
                  </a:lnTo>
                  <a:lnTo>
                    <a:pt x="687" y="32"/>
                  </a:lnTo>
                  <a:lnTo>
                    <a:pt x="685" y="30"/>
                  </a:lnTo>
                  <a:lnTo>
                    <a:pt x="684" y="28"/>
                  </a:lnTo>
                  <a:lnTo>
                    <a:pt x="678" y="14"/>
                  </a:lnTo>
                  <a:lnTo>
                    <a:pt x="670" y="12"/>
                  </a:lnTo>
                  <a:lnTo>
                    <a:pt x="661" y="0"/>
                  </a:lnTo>
                  <a:lnTo>
                    <a:pt x="661" y="0"/>
                  </a:lnTo>
                  <a:lnTo>
                    <a:pt x="635" y="6"/>
                  </a:lnTo>
                  <a:lnTo>
                    <a:pt x="610" y="12"/>
                  </a:lnTo>
                  <a:lnTo>
                    <a:pt x="586" y="16"/>
                  </a:lnTo>
                  <a:lnTo>
                    <a:pt x="562" y="22"/>
                  </a:lnTo>
                  <a:lnTo>
                    <a:pt x="539" y="27"/>
                  </a:lnTo>
                  <a:lnTo>
                    <a:pt x="516" y="32"/>
                  </a:lnTo>
                  <a:lnTo>
                    <a:pt x="494" y="36"/>
                  </a:lnTo>
                  <a:lnTo>
                    <a:pt x="473" y="39"/>
                  </a:lnTo>
                  <a:lnTo>
                    <a:pt x="451" y="44"/>
                  </a:lnTo>
                  <a:lnTo>
                    <a:pt x="431" y="47"/>
                  </a:lnTo>
                  <a:lnTo>
                    <a:pt x="412" y="51"/>
                  </a:lnTo>
                  <a:lnTo>
                    <a:pt x="392" y="54"/>
                  </a:lnTo>
                  <a:lnTo>
                    <a:pt x="376" y="57"/>
                  </a:lnTo>
                  <a:lnTo>
                    <a:pt x="358" y="60"/>
                  </a:lnTo>
                  <a:lnTo>
                    <a:pt x="341" y="63"/>
                  </a:lnTo>
                  <a:lnTo>
                    <a:pt x="325" y="64"/>
                  </a:lnTo>
                  <a:lnTo>
                    <a:pt x="310" y="66"/>
                  </a:lnTo>
                  <a:lnTo>
                    <a:pt x="295" y="68"/>
                  </a:lnTo>
                  <a:lnTo>
                    <a:pt x="282" y="69"/>
                  </a:lnTo>
                  <a:lnTo>
                    <a:pt x="269" y="71"/>
                  </a:lnTo>
                  <a:lnTo>
                    <a:pt x="257" y="72"/>
                  </a:lnTo>
                  <a:lnTo>
                    <a:pt x="248" y="74"/>
                  </a:lnTo>
                  <a:lnTo>
                    <a:pt x="238" y="75"/>
                  </a:lnTo>
                  <a:lnTo>
                    <a:pt x="229" y="77"/>
                  </a:lnTo>
                  <a:lnTo>
                    <a:pt x="221" y="77"/>
                  </a:lnTo>
                  <a:lnTo>
                    <a:pt x="213" y="78"/>
                  </a:lnTo>
                  <a:lnTo>
                    <a:pt x="208" y="78"/>
                  </a:lnTo>
                  <a:lnTo>
                    <a:pt x="203" y="79"/>
                  </a:lnTo>
                  <a:lnTo>
                    <a:pt x="199" y="79"/>
                  </a:lnTo>
                  <a:lnTo>
                    <a:pt x="196" y="79"/>
                  </a:lnTo>
                  <a:lnTo>
                    <a:pt x="194" y="79"/>
                  </a:lnTo>
                  <a:lnTo>
                    <a:pt x="194" y="79"/>
                  </a:lnTo>
                  <a:lnTo>
                    <a:pt x="196" y="79"/>
                  </a:lnTo>
                  <a:lnTo>
                    <a:pt x="196" y="79"/>
                  </a:lnTo>
                  <a:lnTo>
                    <a:pt x="196" y="81"/>
                  </a:lnTo>
                  <a:lnTo>
                    <a:pt x="196" y="84"/>
                  </a:lnTo>
                  <a:lnTo>
                    <a:pt x="196" y="90"/>
                  </a:lnTo>
                  <a:lnTo>
                    <a:pt x="196" y="94"/>
                  </a:lnTo>
                  <a:lnTo>
                    <a:pt x="197" y="99"/>
                  </a:lnTo>
                  <a:lnTo>
                    <a:pt x="196" y="105"/>
                  </a:lnTo>
                  <a:lnTo>
                    <a:pt x="196" y="108"/>
                  </a:lnTo>
                  <a:lnTo>
                    <a:pt x="196" y="110"/>
                  </a:lnTo>
                  <a:lnTo>
                    <a:pt x="196" y="110"/>
                  </a:lnTo>
                  <a:lnTo>
                    <a:pt x="191" y="110"/>
                  </a:lnTo>
                  <a:lnTo>
                    <a:pt x="186" y="112"/>
                  </a:lnTo>
                  <a:lnTo>
                    <a:pt x="182" y="117"/>
                  </a:lnTo>
                  <a:lnTo>
                    <a:pt x="179" y="123"/>
                  </a:lnTo>
                  <a:lnTo>
                    <a:pt x="176" y="128"/>
                  </a:lnTo>
                  <a:lnTo>
                    <a:pt x="175" y="132"/>
                  </a:lnTo>
                  <a:lnTo>
                    <a:pt x="173" y="135"/>
                  </a:lnTo>
                  <a:lnTo>
                    <a:pt x="173" y="135"/>
                  </a:lnTo>
                  <a:lnTo>
                    <a:pt x="173" y="135"/>
                  </a:lnTo>
                  <a:lnTo>
                    <a:pt x="167" y="132"/>
                  </a:lnTo>
                  <a:lnTo>
                    <a:pt x="161" y="132"/>
                  </a:lnTo>
                  <a:lnTo>
                    <a:pt x="155" y="137"/>
                  </a:lnTo>
                  <a:lnTo>
                    <a:pt x="147" y="142"/>
                  </a:lnTo>
                  <a:lnTo>
                    <a:pt x="142" y="150"/>
                  </a:lnTo>
                  <a:lnTo>
                    <a:pt x="136" y="156"/>
                  </a:lnTo>
                  <a:lnTo>
                    <a:pt x="131" y="159"/>
                  </a:lnTo>
                  <a:lnTo>
                    <a:pt x="130" y="159"/>
                  </a:lnTo>
                  <a:lnTo>
                    <a:pt x="130" y="159"/>
                  </a:lnTo>
                  <a:lnTo>
                    <a:pt x="128" y="154"/>
                  </a:lnTo>
                  <a:lnTo>
                    <a:pt x="126" y="153"/>
                  </a:lnTo>
                  <a:lnTo>
                    <a:pt x="125" y="151"/>
                  </a:lnTo>
                  <a:lnTo>
                    <a:pt x="122" y="151"/>
                  </a:lnTo>
                  <a:lnTo>
                    <a:pt x="119" y="153"/>
                  </a:lnTo>
                  <a:lnTo>
                    <a:pt x="116" y="154"/>
                  </a:lnTo>
                  <a:lnTo>
                    <a:pt x="113" y="157"/>
                  </a:lnTo>
                  <a:lnTo>
                    <a:pt x="111" y="161"/>
                  </a:lnTo>
                  <a:lnTo>
                    <a:pt x="109" y="164"/>
                  </a:lnTo>
                  <a:lnTo>
                    <a:pt x="106" y="168"/>
                  </a:lnTo>
                  <a:lnTo>
                    <a:pt x="104" y="173"/>
                  </a:lnTo>
                  <a:lnTo>
                    <a:pt x="103" y="175"/>
                  </a:lnTo>
                  <a:lnTo>
                    <a:pt x="100" y="180"/>
                  </a:lnTo>
                  <a:lnTo>
                    <a:pt x="100" y="181"/>
                  </a:lnTo>
                  <a:lnTo>
                    <a:pt x="98" y="183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2" y="186"/>
                  </a:lnTo>
                  <a:lnTo>
                    <a:pt x="84" y="189"/>
                  </a:lnTo>
                  <a:lnTo>
                    <a:pt x="77" y="192"/>
                  </a:lnTo>
                  <a:lnTo>
                    <a:pt x="70" y="198"/>
                  </a:lnTo>
                  <a:lnTo>
                    <a:pt x="65" y="203"/>
                  </a:lnTo>
                  <a:lnTo>
                    <a:pt x="60" y="208"/>
                  </a:lnTo>
                  <a:lnTo>
                    <a:pt x="57" y="211"/>
                  </a:lnTo>
                  <a:lnTo>
                    <a:pt x="56" y="213"/>
                  </a:lnTo>
                  <a:lnTo>
                    <a:pt x="56" y="213"/>
                  </a:lnTo>
                  <a:lnTo>
                    <a:pt x="47" y="213"/>
                  </a:lnTo>
                  <a:lnTo>
                    <a:pt x="40" y="216"/>
                  </a:lnTo>
                  <a:lnTo>
                    <a:pt x="34" y="219"/>
                  </a:lnTo>
                  <a:lnTo>
                    <a:pt x="29" y="223"/>
                  </a:lnTo>
                  <a:lnTo>
                    <a:pt x="26" y="227"/>
                  </a:lnTo>
                  <a:lnTo>
                    <a:pt x="23" y="231"/>
                  </a:lnTo>
                  <a:lnTo>
                    <a:pt x="21" y="234"/>
                  </a:lnTo>
                  <a:lnTo>
                    <a:pt x="21" y="236"/>
                  </a:lnTo>
                  <a:lnTo>
                    <a:pt x="21" y="236"/>
                  </a:lnTo>
                  <a:lnTo>
                    <a:pt x="20" y="241"/>
                  </a:lnTo>
                  <a:lnTo>
                    <a:pt x="17" y="246"/>
                  </a:lnTo>
                  <a:lnTo>
                    <a:pt x="14" y="250"/>
                  </a:lnTo>
                  <a:lnTo>
                    <a:pt x="9" y="252"/>
                  </a:lnTo>
                  <a:lnTo>
                    <a:pt x="6" y="253"/>
                  </a:lnTo>
                  <a:lnTo>
                    <a:pt x="2" y="253"/>
                  </a:lnTo>
                  <a:lnTo>
                    <a:pt x="0" y="253"/>
                  </a:lnTo>
                  <a:lnTo>
                    <a:pt x="0" y="253"/>
                  </a:lnTo>
                  <a:lnTo>
                    <a:pt x="0" y="282"/>
                  </a:lnTo>
                  <a:lnTo>
                    <a:pt x="104" y="266"/>
                  </a:lnTo>
                  <a:lnTo>
                    <a:pt x="106" y="267"/>
                  </a:lnTo>
                  <a:lnTo>
                    <a:pt x="106" y="267"/>
                  </a:lnTo>
                  <a:lnTo>
                    <a:pt x="106" y="267"/>
                  </a:lnTo>
                  <a:lnTo>
                    <a:pt x="107" y="266"/>
                  </a:lnTo>
                  <a:lnTo>
                    <a:pt x="109" y="264"/>
                  </a:lnTo>
                  <a:lnTo>
                    <a:pt x="111" y="261"/>
                  </a:lnTo>
                  <a:lnTo>
                    <a:pt x="114" y="258"/>
                  </a:lnTo>
                  <a:lnTo>
                    <a:pt x="119" y="256"/>
                  </a:lnTo>
                  <a:lnTo>
                    <a:pt x="123" y="253"/>
                  </a:lnTo>
                  <a:lnTo>
                    <a:pt x="128" y="250"/>
                  </a:lnTo>
                  <a:lnTo>
                    <a:pt x="133" y="247"/>
                  </a:lnTo>
                  <a:lnTo>
                    <a:pt x="140" y="243"/>
                  </a:lnTo>
                  <a:lnTo>
                    <a:pt x="146" y="240"/>
                  </a:lnTo>
                  <a:lnTo>
                    <a:pt x="153" y="237"/>
                  </a:lnTo>
                  <a:lnTo>
                    <a:pt x="160" y="236"/>
                  </a:lnTo>
                  <a:lnTo>
                    <a:pt x="169" y="234"/>
                  </a:lnTo>
                  <a:lnTo>
                    <a:pt x="177" y="231"/>
                  </a:lnTo>
                  <a:lnTo>
                    <a:pt x="185" y="231"/>
                  </a:lnTo>
                  <a:lnTo>
                    <a:pt x="263" y="224"/>
                  </a:lnTo>
                  <a:lnTo>
                    <a:pt x="263" y="224"/>
                  </a:lnTo>
                  <a:lnTo>
                    <a:pt x="265" y="224"/>
                  </a:lnTo>
                  <a:lnTo>
                    <a:pt x="266" y="223"/>
                  </a:lnTo>
                  <a:lnTo>
                    <a:pt x="271" y="223"/>
                  </a:lnTo>
                  <a:lnTo>
                    <a:pt x="277" y="223"/>
                  </a:lnTo>
                  <a:lnTo>
                    <a:pt x="282" y="224"/>
                  </a:lnTo>
                  <a:lnTo>
                    <a:pt x="288" y="227"/>
                  </a:lnTo>
                  <a:lnTo>
                    <a:pt x="293" y="233"/>
                  </a:lnTo>
                  <a:lnTo>
                    <a:pt x="301" y="243"/>
                  </a:lnTo>
                  <a:lnTo>
                    <a:pt x="304" y="255"/>
                  </a:lnTo>
                  <a:lnTo>
                    <a:pt x="395" y="240"/>
                  </a:lnTo>
                  <a:lnTo>
                    <a:pt x="506" y="321"/>
                  </a:lnTo>
                  <a:lnTo>
                    <a:pt x="506" y="321"/>
                  </a:lnTo>
                  <a:lnTo>
                    <a:pt x="506" y="321"/>
                  </a:lnTo>
                  <a:lnTo>
                    <a:pt x="509" y="321"/>
                  </a:lnTo>
                  <a:lnTo>
                    <a:pt x="511" y="321"/>
                  </a:lnTo>
                  <a:lnTo>
                    <a:pt x="512" y="31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5" name="Freeform 137"/>
            <p:cNvSpPr>
              <a:spLocks/>
            </p:cNvSpPr>
            <p:nvPr/>
          </p:nvSpPr>
          <p:spPr bwMode="auto">
            <a:xfrm>
              <a:off x="3351250" y="4946602"/>
              <a:ext cx="22907" cy="32911"/>
            </a:xfrm>
            <a:custGeom>
              <a:avLst/>
              <a:gdLst>
                <a:gd name="T0" fmla="*/ 0 w 34"/>
                <a:gd name="T1" fmla="*/ 48 h 49"/>
                <a:gd name="T2" fmla="*/ 1 w 34"/>
                <a:gd name="T3" fmla="*/ 45 h 49"/>
                <a:gd name="T4" fmla="*/ 2 w 34"/>
                <a:gd name="T5" fmla="*/ 42 h 49"/>
                <a:gd name="T6" fmla="*/ 5 w 34"/>
                <a:gd name="T7" fmla="*/ 36 h 49"/>
                <a:gd name="T8" fmla="*/ 8 w 34"/>
                <a:gd name="T9" fmla="*/ 29 h 49"/>
                <a:gd name="T10" fmla="*/ 13 w 34"/>
                <a:gd name="T11" fmla="*/ 21 h 49"/>
                <a:gd name="T12" fmla="*/ 17 w 34"/>
                <a:gd name="T13" fmla="*/ 12 h 49"/>
                <a:gd name="T14" fmla="*/ 23 w 34"/>
                <a:gd name="T15" fmla="*/ 5 h 49"/>
                <a:gd name="T16" fmla="*/ 27 w 34"/>
                <a:gd name="T17" fmla="*/ 0 h 49"/>
                <a:gd name="T18" fmla="*/ 33 w 34"/>
                <a:gd name="T19" fmla="*/ 0 h 49"/>
                <a:gd name="T20" fmla="*/ 33 w 34"/>
                <a:gd name="T21" fmla="*/ 0 h 49"/>
                <a:gd name="T22" fmla="*/ 30 w 34"/>
                <a:gd name="T23" fmla="*/ 3 h 49"/>
                <a:gd name="T24" fmla="*/ 27 w 34"/>
                <a:gd name="T25" fmla="*/ 6 h 49"/>
                <a:gd name="T26" fmla="*/ 25 w 34"/>
                <a:gd name="T27" fmla="*/ 11 h 49"/>
                <a:gd name="T28" fmla="*/ 20 w 34"/>
                <a:gd name="T29" fmla="*/ 18 h 49"/>
                <a:gd name="T30" fmla="*/ 16 w 34"/>
                <a:gd name="T31" fmla="*/ 24 h 49"/>
                <a:gd name="T32" fmla="*/ 10 w 34"/>
                <a:gd name="T33" fmla="*/ 33 h 49"/>
                <a:gd name="T34" fmla="*/ 5 w 34"/>
                <a:gd name="T35" fmla="*/ 45 h 49"/>
                <a:gd name="T36" fmla="*/ 4 w 34"/>
                <a:gd name="T37" fmla="*/ 45 h 49"/>
                <a:gd name="T38" fmla="*/ 2 w 34"/>
                <a:gd name="T39" fmla="*/ 47 h 49"/>
                <a:gd name="T40" fmla="*/ 1 w 34"/>
                <a:gd name="T41" fmla="*/ 47 h 49"/>
                <a:gd name="T42" fmla="*/ 0 w 34"/>
                <a:gd name="T43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49">
                  <a:moveTo>
                    <a:pt x="0" y="48"/>
                  </a:moveTo>
                  <a:lnTo>
                    <a:pt x="1" y="45"/>
                  </a:lnTo>
                  <a:lnTo>
                    <a:pt x="2" y="42"/>
                  </a:lnTo>
                  <a:lnTo>
                    <a:pt x="5" y="36"/>
                  </a:lnTo>
                  <a:lnTo>
                    <a:pt x="8" y="29"/>
                  </a:lnTo>
                  <a:lnTo>
                    <a:pt x="13" y="21"/>
                  </a:lnTo>
                  <a:lnTo>
                    <a:pt x="17" y="12"/>
                  </a:lnTo>
                  <a:lnTo>
                    <a:pt x="23" y="5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0" y="3"/>
                  </a:lnTo>
                  <a:lnTo>
                    <a:pt x="27" y="6"/>
                  </a:lnTo>
                  <a:lnTo>
                    <a:pt x="25" y="11"/>
                  </a:lnTo>
                  <a:lnTo>
                    <a:pt x="20" y="18"/>
                  </a:lnTo>
                  <a:lnTo>
                    <a:pt x="16" y="24"/>
                  </a:lnTo>
                  <a:lnTo>
                    <a:pt x="10" y="33"/>
                  </a:lnTo>
                  <a:lnTo>
                    <a:pt x="5" y="45"/>
                  </a:lnTo>
                  <a:lnTo>
                    <a:pt x="4" y="45"/>
                  </a:lnTo>
                  <a:lnTo>
                    <a:pt x="2" y="47"/>
                  </a:lnTo>
                  <a:lnTo>
                    <a:pt x="1" y="47"/>
                  </a:lnTo>
                  <a:lnTo>
                    <a:pt x="0" y="4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6" name="Freeform 138"/>
            <p:cNvSpPr>
              <a:spLocks/>
            </p:cNvSpPr>
            <p:nvPr/>
          </p:nvSpPr>
          <p:spPr bwMode="auto">
            <a:xfrm>
              <a:off x="3351250" y="4946602"/>
              <a:ext cx="22907" cy="32911"/>
            </a:xfrm>
            <a:custGeom>
              <a:avLst/>
              <a:gdLst>
                <a:gd name="T0" fmla="*/ 0 w 34"/>
                <a:gd name="T1" fmla="*/ 48 h 49"/>
                <a:gd name="T2" fmla="*/ 0 w 34"/>
                <a:gd name="T3" fmla="*/ 48 h 49"/>
                <a:gd name="T4" fmla="*/ 1 w 34"/>
                <a:gd name="T5" fmla="*/ 45 h 49"/>
                <a:gd name="T6" fmla="*/ 2 w 34"/>
                <a:gd name="T7" fmla="*/ 42 h 49"/>
                <a:gd name="T8" fmla="*/ 5 w 34"/>
                <a:gd name="T9" fmla="*/ 36 h 49"/>
                <a:gd name="T10" fmla="*/ 8 w 34"/>
                <a:gd name="T11" fmla="*/ 29 h 49"/>
                <a:gd name="T12" fmla="*/ 13 w 34"/>
                <a:gd name="T13" fmla="*/ 21 h 49"/>
                <a:gd name="T14" fmla="*/ 17 w 34"/>
                <a:gd name="T15" fmla="*/ 12 h 49"/>
                <a:gd name="T16" fmla="*/ 23 w 34"/>
                <a:gd name="T17" fmla="*/ 5 h 49"/>
                <a:gd name="T18" fmla="*/ 27 w 34"/>
                <a:gd name="T19" fmla="*/ 0 h 49"/>
                <a:gd name="T20" fmla="*/ 33 w 34"/>
                <a:gd name="T21" fmla="*/ 0 h 49"/>
                <a:gd name="T22" fmla="*/ 33 w 34"/>
                <a:gd name="T23" fmla="*/ 0 h 49"/>
                <a:gd name="T24" fmla="*/ 33 w 34"/>
                <a:gd name="T25" fmla="*/ 0 h 49"/>
                <a:gd name="T26" fmla="*/ 30 w 34"/>
                <a:gd name="T27" fmla="*/ 3 h 49"/>
                <a:gd name="T28" fmla="*/ 27 w 34"/>
                <a:gd name="T29" fmla="*/ 6 h 49"/>
                <a:gd name="T30" fmla="*/ 25 w 34"/>
                <a:gd name="T31" fmla="*/ 11 h 49"/>
                <a:gd name="T32" fmla="*/ 20 w 34"/>
                <a:gd name="T33" fmla="*/ 18 h 49"/>
                <a:gd name="T34" fmla="*/ 16 w 34"/>
                <a:gd name="T35" fmla="*/ 24 h 49"/>
                <a:gd name="T36" fmla="*/ 10 w 34"/>
                <a:gd name="T37" fmla="*/ 33 h 49"/>
                <a:gd name="T38" fmla="*/ 5 w 34"/>
                <a:gd name="T39" fmla="*/ 45 h 49"/>
                <a:gd name="T40" fmla="*/ 5 w 34"/>
                <a:gd name="T41" fmla="*/ 45 h 49"/>
                <a:gd name="T42" fmla="*/ 4 w 34"/>
                <a:gd name="T43" fmla="*/ 45 h 49"/>
                <a:gd name="T44" fmla="*/ 2 w 34"/>
                <a:gd name="T45" fmla="*/ 47 h 49"/>
                <a:gd name="T46" fmla="*/ 1 w 34"/>
                <a:gd name="T47" fmla="*/ 47 h 49"/>
                <a:gd name="T48" fmla="*/ 0 w 34"/>
                <a:gd name="T49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" h="49">
                  <a:moveTo>
                    <a:pt x="0" y="48"/>
                  </a:moveTo>
                  <a:lnTo>
                    <a:pt x="0" y="48"/>
                  </a:lnTo>
                  <a:lnTo>
                    <a:pt x="1" y="45"/>
                  </a:lnTo>
                  <a:lnTo>
                    <a:pt x="2" y="42"/>
                  </a:lnTo>
                  <a:lnTo>
                    <a:pt x="5" y="36"/>
                  </a:lnTo>
                  <a:lnTo>
                    <a:pt x="8" y="29"/>
                  </a:lnTo>
                  <a:lnTo>
                    <a:pt x="13" y="21"/>
                  </a:lnTo>
                  <a:lnTo>
                    <a:pt x="17" y="12"/>
                  </a:lnTo>
                  <a:lnTo>
                    <a:pt x="23" y="5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0" y="3"/>
                  </a:lnTo>
                  <a:lnTo>
                    <a:pt x="27" y="6"/>
                  </a:lnTo>
                  <a:lnTo>
                    <a:pt x="25" y="11"/>
                  </a:lnTo>
                  <a:lnTo>
                    <a:pt x="20" y="18"/>
                  </a:lnTo>
                  <a:lnTo>
                    <a:pt x="16" y="24"/>
                  </a:lnTo>
                  <a:lnTo>
                    <a:pt x="10" y="33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4" y="45"/>
                  </a:lnTo>
                  <a:lnTo>
                    <a:pt x="2" y="47"/>
                  </a:lnTo>
                  <a:lnTo>
                    <a:pt x="1" y="47"/>
                  </a:lnTo>
                  <a:lnTo>
                    <a:pt x="0" y="4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7" name="Freeform 139"/>
            <p:cNvSpPr>
              <a:spLocks/>
            </p:cNvSpPr>
            <p:nvPr/>
          </p:nvSpPr>
          <p:spPr bwMode="auto">
            <a:xfrm>
              <a:off x="3359689" y="4842281"/>
              <a:ext cx="31346" cy="45951"/>
            </a:xfrm>
            <a:custGeom>
              <a:avLst/>
              <a:gdLst>
                <a:gd name="T0" fmla="*/ 4 w 47"/>
                <a:gd name="T1" fmla="*/ 0 h 69"/>
                <a:gd name="T2" fmla="*/ 4 w 47"/>
                <a:gd name="T3" fmla="*/ 0 h 69"/>
                <a:gd name="T4" fmla="*/ 4 w 47"/>
                <a:gd name="T5" fmla="*/ 0 h 69"/>
                <a:gd name="T6" fmla="*/ 5 w 47"/>
                <a:gd name="T7" fmla="*/ 2 h 69"/>
                <a:gd name="T8" fmla="*/ 5 w 47"/>
                <a:gd name="T9" fmla="*/ 5 h 69"/>
                <a:gd name="T10" fmla="*/ 7 w 47"/>
                <a:gd name="T11" fmla="*/ 8 h 69"/>
                <a:gd name="T12" fmla="*/ 8 w 47"/>
                <a:gd name="T13" fmla="*/ 11 h 69"/>
                <a:gd name="T14" fmla="*/ 11 w 47"/>
                <a:gd name="T15" fmla="*/ 15 h 69"/>
                <a:gd name="T16" fmla="*/ 13 w 47"/>
                <a:gd name="T17" fmla="*/ 18 h 69"/>
                <a:gd name="T18" fmla="*/ 14 w 47"/>
                <a:gd name="T19" fmla="*/ 22 h 69"/>
                <a:gd name="T20" fmla="*/ 17 w 47"/>
                <a:gd name="T21" fmla="*/ 26 h 69"/>
                <a:gd name="T22" fmla="*/ 20 w 47"/>
                <a:gd name="T23" fmla="*/ 30 h 69"/>
                <a:gd name="T24" fmla="*/ 21 w 47"/>
                <a:gd name="T25" fmla="*/ 35 h 69"/>
                <a:gd name="T26" fmla="*/ 23 w 47"/>
                <a:gd name="T27" fmla="*/ 39 h 69"/>
                <a:gd name="T28" fmla="*/ 26 w 47"/>
                <a:gd name="T29" fmla="*/ 42 h 69"/>
                <a:gd name="T30" fmla="*/ 29 w 47"/>
                <a:gd name="T31" fmla="*/ 46 h 69"/>
                <a:gd name="T32" fmla="*/ 32 w 47"/>
                <a:gd name="T33" fmla="*/ 49 h 69"/>
                <a:gd name="T34" fmla="*/ 34 w 47"/>
                <a:gd name="T35" fmla="*/ 51 h 69"/>
                <a:gd name="T36" fmla="*/ 37 w 47"/>
                <a:gd name="T37" fmla="*/ 54 h 69"/>
                <a:gd name="T38" fmla="*/ 40 w 47"/>
                <a:gd name="T39" fmla="*/ 60 h 69"/>
                <a:gd name="T40" fmla="*/ 44 w 47"/>
                <a:gd name="T41" fmla="*/ 65 h 69"/>
                <a:gd name="T42" fmla="*/ 46 w 47"/>
                <a:gd name="T43" fmla="*/ 68 h 69"/>
                <a:gd name="T44" fmla="*/ 44 w 47"/>
                <a:gd name="T45" fmla="*/ 68 h 69"/>
                <a:gd name="T46" fmla="*/ 38 w 47"/>
                <a:gd name="T47" fmla="*/ 63 h 69"/>
                <a:gd name="T48" fmla="*/ 28 w 47"/>
                <a:gd name="T49" fmla="*/ 53 h 69"/>
                <a:gd name="T50" fmla="*/ 28 w 47"/>
                <a:gd name="T51" fmla="*/ 53 h 69"/>
                <a:gd name="T52" fmla="*/ 26 w 47"/>
                <a:gd name="T53" fmla="*/ 51 h 69"/>
                <a:gd name="T54" fmla="*/ 25 w 47"/>
                <a:gd name="T55" fmla="*/ 49 h 69"/>
                <a:gd name="T56" fmla="*/ 23 w 47"/>
                <a:gd name="T57" fmla="*/ 46 h 69"/>
                <a:gd name="T58" fmla="*/ 21 w 47"/>
                <a:gd name="T59" fmla="*/ 44 h 69"/>
                <a:gd name="T60" fmla="*/ 18 w 47"/>
                <a:gd name="T61" fmla="*/ 39 h 69"/>
                <a:gd name="T62" fmla="*/ 15 w 47"/>
                <a:gd name="T63" fmla="*/ 35 h 69"/>
                <a:gd name="T64" fmla="*/ 13 w 47"/>
                <a:gd name="T65" fmla="*/ 30 h 69"/>
                <a:gd name="T66" fmla="*/ 10 w 47"/>
                <a:gd name="T67" fmla="*/ 26 h 69"/>
                <a:gd name="T68" fmla="*/ 8 w 47"/>
                <a:gd name="T69" fmla="*/ 22 h 69"/>
                <a:gd name="T70" fmla="*/ 5 w 47"/>
                <a:gd name="T71" fmla="*/ 18 h 69"/>
                <a:gd name="T72" fmla="*/ 4 w 47"/>
                <a:gd name="T73" fmla="*/ 15 h 69"/>
                <a:gd name="T74" fmla="*/ 1 w 47"/>
                <a:gd name="T75" fmla="*/ 11 h 69"/>
                <a:gd name="T76" fmla="*/ 1 w 47"/>
                <a:gd name="T77" fmla="*/ 8 h 69"/>
                <a:gd name="T78" fmla="*/ 0 w 47"/>
                <a:gd name="T79" fmla="*/ 5 h 69"/>
                <a:gd name="T80" fmla="*/ 0 w 47"/>
                <a:gd name="T81" fmla="*/ 2 h 69"/>
                <a:gd name="T82" fmla="*/ 0 w 47"/>
                <a:gd name="T83" fmla="*/ 0 h 69"/>
                <a:gd name="T84" fmla="*/ 1 w 47"/>
                <a:gd name="T85" fmla="*/ 0 h 69"/>
                <a:gd name="T86" fmla="*/ 2 w 47"/>
                <a:gd name="T87" fmla="*/ 0 h 69"/>
                <a:gd name="T88" fmla="*/ 4 w 47"/>
                <a:gd name="T8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" h="69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5" y="5"/>
                  </a:lnTo>
                  <a:lnTo>
                    <a:pt x="7" y="8"/>
                  </a:lnTo>
                  <a:lnTo>
                    <a:pt x="8" y="11"/>
                  </a:lnTo>
                  <a:lnTo>
                    <a:pt x="11" y="15"/>
                  </a:lnTo>
                  <a:lnTo>
                    <a:pt x="13" y="18"/>
                  </a:lnTo>
                  <a:lnTo>
                    <a:pt x="14" y="22"/>
                  </a:lnTo>
                  <a:lnTo>
                    <a:pt x="17" y="26"/>
                  </a:lnTo>
                  <a:lnTo>
                    <a:pt x="20" y="30"/>
                  </a:lnTo>
                  <a:lnTo>
                    <a:pt x="21" y="35"/>
                  </a:lnTo>
                  <a:lnTo>
                    <a:pt x="23" y="39"/>
                  </a:lnTo>
                  <a:lnTo>
                    <a:pt x="26" y="42"/>
                  </a:lnTo>
                  <a:lnTo>
                    <a:pt x="29" y="46"/>
                  </a:lnTo>
                  <a:lnTo>
                    <a:pt x="32" y="49"/>
                  </a:lnTo>
                  <a:lnTo>
                    <a:pt x="34" y="51"/>
                  </a:lnTo>
                  <a:lnTo>
                    <a:pt x="37" y="54"/>
                  </a:lnTo>
                  <a:lnTo>
                    <a:pt x="40" y="60"/>
                  </a:lnTo>
                  <a:lnTo>
                    <a:pt x="44" y="65"/>
                  </a:lnTo>
                  <a:lnTo>
                    <a:pt x="46" y="68"/>
                  </a:lnTo>
                  <a:lnTo>
                    <a:pt x="44" y="68"/>
                  </a:lnTo>
                  <a:lnTo>
                    <a:pt x="38" y="63"/>
                  </a:lnTo>
                  <a:lnTo>
                    <a:pt x="28" y="53"/>
                  </a:lnTo>
                  <a:lnTo>
                    <a:pt x="28" y="53"/>
                  </a:lnTo>
                  <a:lnTo>
                    <a:pt x="26" y="51"/>
                  </a:lnTo>
                  <a:lnTo>
                    <a:pt x="25" y="49"/>
                  </a:lnTo>
                  <a:lnTo>
                    <a:pt x="23" y="46"/>
                  </a:lnTo>
                  <a:lnTo>
                    <a:pt x="21" y="44"/>
                  </a:lnTo>
                  <a:lnTo>
                    <a:pt x="18" y="39"/>
                  </a:lnTo>
                  <a:lnTo>
                    <a:pt x="15" y="35"/>
                  </a:lnTo>
                  <a:lnTo>
                    <a:pt x="13" y="30"/>
                  </a:lnTo>
                  <a:lnTo>
                    <a:pt x="10" y="26"/>
                  </a:lnTo>
                  <a:lnTo>
                    <a:pt x="8" y="22"/>
                  </a:lnTo>
                  <a:lnTo>
                    <a:pt x="5" y="18"/>
                  </a:lnTo>
                  <a:lnTo>
                    <a:pt x="4" y="15"/>
                  </a:lnTo>
                  <a:lnTo>
                    <a:pt x="1" y="11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4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" name="Freeform 140"/>
            <p:cNvSpPr>
              <a:spLocks/>
            </p:cNvSpPr>
            <p:nvPr/>
          </p:nvSpPr>
          <p:spPr bwMode="auto">
            <a:xfrm>
              <a:off x="3359689" y="4842281"/>
              <a:ext cx="31346" cy="45951"/>
            </a:xfrm>
            <a:custGeom>
              <a:avLst/>
              <a:gdLst>
                <a:gd name="T0" fmla="*/ 4 w 47"/>
                <a:gd name="T1" fmla="*/ 0 h 69"/>
                <a:gd name="T2" fmla="*/ 4 w 47"/>
                <a:gd name="T3" fmla="*/ 0 h 69"/>
                <a:gd name="T4" fmla="*/ 4 w 47"/>
                <a:gd name="T5" fmla="*/ 0 h 69"/>
                <a:gd name="T6" fmla="*/ 4 w 47"/>
                <a:gd name="T7" fmla="*/ 0 h 69"/>
                <a:gd name="T8" fmla="*/ 5 w 47"/>
                <a:gd name="T9" fmla="*/ 2 h 69"/>
                <a:gd name="T10" fmla="*/ 5 w 47"/>
                <a:gd name="T11" fmla="*/ 5 h 69"/>
                <a:gd name="T12" fmla="*/ 7 w 47"/>
                <a:gd name="T13" fmla="*/ 8 h 69"/>
                <a:gd name="T14" fmla="*/ 8 w 47"/>
                <a:gd name="T15" fmla="*/ 11 h 69"/>
                <a:gd name="T16" fmla="*/ 11 w 47"/>
                <a:gd name="T17" fmla="*/ 15 h 69"/>
                <a:gd name="T18" fmla="*/ 13 w 47"/>
                <a:gd name="T19" fmla="*/ 18 h 69"/>
                <a:gd name="T20" fmla="*/ 14 w 47"/>
                <a:gd name="T21" fmla="*/ 22 h 69"/>
                <a:gd name="T22" fmla="*/ 17 w 47"/>
                <a:gd name="T23" fmla="*/ 26 h 69"/>
                <a:gd name="T24" fmla="*/ 20 w 47"/>
                <a:gd name="T25" fmla="*/ 30 h 69"/>
                <a:gd name="T26" fmla="*/ 21 w 47"/>
                <a:gd name="T27" fmla="*/ 35 h 69"/>
                <a:gd name="T28" fmla="*/ 23 w 47"/>
                <a:gd name="T29" fmla="*/ 39 h 69"/>
                <a:gd name="T30" fmla="*/ 26 w 47"/>
                <a:gd name="T31" fmla="*/ 42 h 69"/>
                <a:gd name="T32" fmla="*/ 29 w 47"/>
                <a:gd name="T33" fmla="*/ 46 h 69"/>
                <a:gd name="T34" fmla="*/ 32 w 47"/>
                <a:gd name="T35" fmla="*/ 49 h 69"/>
                <a:gd name="T36" fmla="*/ 32 w 47"/>
                <a:gd name="T37" fmla="*/ 49 h 69"/>
                <a:gd name="T38" fmla="*/ 34 w 47"/>
                <a:gd name="T39" fmla="*/ 51 h 69"/>
                <a:gd name="T40" fmla="*/ 37 w 47"/>
                <a:gd name="T41" fmla="*/ 54 h 69"/>
                <a:gd name="T42" fmla="*/ 40 w 47"/>
                <a:gd name="T43" fmla="*/ 60 h 69"/>
                <a:gd name="T44" fmla="*/ 44 w 47"/>
                <a:gd name="T45" fmla="*/ 65 h 69"/>
                <a:gd name="T46" fmla="*/ 46 w 47"/>
                <a:gd name="T47" fmla="*/ 68 h 69"/>
                <a:gd name="T48" fmla="*/ 44 w 47"/>
                <a:gd name="T49" fmla="*/ 68 h 69"/>
                <a:gd name="T50" fmla="*/ 38 w 47"/>
                <a:gd name="T51" fmla="*/ 63 h 69"/>
                <a:gd name="T52" fmla="*/ 28 w 47"/>
                <a:gd name="T53" fmla="*/ 53 h 69"/>
                <a:gd name="T54" fmla="*/ 28 w 47"/>
                <a:gd name="T55" fmla="*/ 53 h 69"/>
                <a:gd name="T56" fmla="*/ 28 w 47"/>
                <a:gd name="T57" fmla="*/ 53 h 69"/>
                <a:gd name="T58" fmla="*/ 26 w 47"/>
                <a:gd name="T59" fmla="*/ 51 h 69"/>
                <a:gd name="T60" fmla="*/ 25 w 47"/>
                <a:gd name="T61" fmla="*/ 49 h 69"/>
                <a:gd name="T62" fmla="*/ 23 w 47"/>
                <a:gd name="T63" fmla="*/ 46 h 69"/>
                <a:gd name="T64" fmla="*/ 21 w 47"/>
                <a:gd name="T65" fmla="*/ 44 h 69"/>
                <a:gd name="T66" fmla="*/ 18 w 47"/>
                <a:gd name="T67" fmla="*/ 39 h 69"/>
                <a:gd name="T68" fmla="*/ 15 w 47"/>
                <a:gd name="T69" fmla="*/ 35 h 69"/>
                <a:gd name="T70" fmla="*/ 13 w 47"/>
                <a:gd name="T71" fmla="*/ 30 h 69"/>
                <a:gd name="T72" fmla="*/ 10 w 47"/>
                <a:gd name="T73" fmla="*/ 26 h 69"/>
                <a:gd name="T74" fmla="*/ 8 w 47"/>
                <a:gd name="T75" fmla="*/ 22 h 69"/>
                <a:gd name="T76" fmla="*/ 5 w 47"/>
                <a:gd name="T77" fmla="*/ 18 h 69"/>
                <a:gd name="T78" fmla="*/ 4 w 47"/>
                <a:gd name="T79" fmla="*/ 15 h 69"/>
                <a:gd name="T80" fmla="*/ 1 w 47"/>
                <a:gd name="T81" fmla="*/ 11 h 69"/>
                <a:gd name="T82" fmla="*/ 1 w 47"/>
                <a:gd name="T83" fmla="*/ 8 h 69"/>
                <a:gd name="T84" fmla="*/ 0 w 47"/>
                <a:gd name="T85" fmla="*/ 5 h 69"/>
                <a:gd name="T86" fmla="*/ 0 w 47"/>
                <a:gd name="T87" fmla="*/ 2 h 69"/>
                <a:gd name="T88" fmla="*/ 0 w 47"/>
                <a:gd name="T89" fmla="*/ 2 h 69"/>
                <a:gd name="T90" fmla="*/ 0 w 47"/>
                <a:gd name="T91" fmla="*/ 0 h 69"/>
                <a:gd name="T92" fmla="*/ 1 w 47"/>
                <a:gd name="T93" fmla="*/ 0 h 69"/>
                <a:gd name="T94" fmla="*/ 2 w 47"/>
                <a:gd name="T95" fmla="*/ 0 h 69"/>
                <a:gd name="T96" fmla="*/ 4 w 47"/>
                <a:gd name="T9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7" h="69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5" y="5"/>
                  </a:lnTo>
                  <a:lnTo>
                    <a:pt x="7" y="8"/>
                  </a:lnTo>
                  <a:lnTo>
                    <a:pt x="8" y="11"/>
                  </a:lnTo>
                  <a:lnTo>
                    <a:pt x="11" y="15"/>
                  </a:lnTo>
                  <a:lnTo>
                    <a:pt x="13" y="18"/>
                  </a:lnTo>
                  <a:lnTo>
                    <a:pt x="14" y="22"/>
                  </a:lnTo>
                  <a:lnTo>
                    <a:pt x="17" y="26"/>
                  </a:lnTo>
                  <a:lnTo>
                    <a:pt x="20" y="30"/>
                  </a:lnTo>
                  <a:lnTo>
                    <a:pt x="21" y="35"/>
                  </a:lnTo>
                  <a:lnTo>
                    <a:pt x="23" y="39"/>
                  </a:lnTo>
                  <a:lnTo>
                    <a:pt x="26" y="42"/>
                  </a:lnTo>
                  <a:lnTo>
                    <a:pt x="29" y="46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4" y="51"/>
                  </a:lnTo>
                  <a:lnTo>
                    <a:pt x="37" y="54"/>
                  </a:lnTo>
                  <a:lnTo>
                    <a:pt x="40" y="60"/>
                  </a:lnTo>
                  <a:lnTo>
                    <a:pt x="44" y="65"/>
                  </a:lnTo>
                  <a:lnTo>
                    <a:pt x="46" y="68"/>
                  </a:lnTo>
                  <a:lnTo>
                    <a:pt x="44" y="68"/>
                  </a:lnTo>
                  <a:lnTo>
                    <a:pt x="38" y="63"/>
                  </a:lnTo>
                  <a:lnTo>
                    <a:pt x="28" y="53"/>
                  </a:lnTo>
                  <a:lnTo>
                    <a:pt x="28" y="53"/>
                  </a:lnTo>
                  <a:lnTo>
                    <a:pt x="28" y="53"/>
                  </a:lnTo>
                  <a:lnTo>
                    <a:pt x="26" y="51"/>
                  </a:lnTo>
                  <a:lnTo>
                    <a:pt x="25" y="49"/>
                  </a:lnTo>
                  <a:lnTo>
                    <a:pt x="23" y="46"/>
                  </a:lnTo>
                  <a:lnTo>
                    <a:pt x="21" y="44"/>
                  </a:lnTo>
                  <a:lnTo>
                    <a:pt x="18" y="39"/>
                  </a:lnTo>
                  <a:lnTo>
                    <a:pt x="15" y="35"/>
                  </a:lnTo>
                  <a:lnTo>
                    <a:pt x="13" y="30"/>
                  </a:lnTo>
                  <a:lnTo>
                    <a:pt x="10" y="26"/>
                  </a:lnTo>
                  <a:lnTo>
                    <a:pt x="8" y="22"/>
                  </a:lnTo>
                  <a:lnTo>
                    <a:pt x="5" y="18"/>
                  </a:lnTo>
                  <a:lnTo>
                    <a:pt x="4" y="15"/>
                  </a:lnTo>
                  <a:lnTo>
                    <a:pt x="1" y="11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4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" name="Freeform 141"/>
            <p:cNvSpPr>
              <a:spLocks/>
            </p:cNvSpPr>
            <p:nvPr/>
          </p:nvSpPr>
          <p:spPr bwMode="auto">
            <a:xfrm>
              <a:off x="3388624" y="4890094"/>
              <a:ext cx="12056" cy="42846"/>
            </a:xfrm>
            <a:custGeom>
              <a:avLst/>
              <a:gdLst>
                <a:gd name="T0" fmla="*/ 7 w 18"/>
                <a:gd name="T1" fmla="*/ 0 h 63"/>
                <a:gd name="T2" fmla="*/ 16 w 18"/>
                <a:gd name="T3" fmla="*/ 15 h 63"/>
                <a:gd name="T4" fmla="*/ 17 w 18"/>
                <a:gd name="T5" fmla="*/ 57 h 63"/>
                <a:gd name="T6" fmla="*/ 3 w 18"/>
                <a:gd name="T7" fmla="*/ 62 h 63"/>
                <a:gd name="T8" fmla="*/ 0 w 18"/>
                <a:gd name="T9" fmla="*/ 60 h 63"/>
                <a:gd name="T10" fmla="*/ 13 w 18"/>
                <a:gd name="T11" fmla="*/ 47 h 63"/>
                <a:gd name="T12" fmla="*/ 11 w 18"/>
                <a:gd name="T13" fmla="*/ 18 h 63"/>
                <a:gd name="T14" fmla="*/ 3 w 18"/>
                <a:gd name="T15" fmla="*/ 2 h 63"/>
                <a:gd name="T16" fmla="*/ 7 w 18"/>
                <a:gd name="T1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63">
                  <a:moveTo>
                    <a:pt x="7" y="0"/>
                  </a:moveTo>
                  <a:lnTo>
                    <a:pt x="16" y="15"/>
                  </a:lnTo>
                  <a:lnTo>
                    <a:pt x="17" y="57"/>
                  </a:lnTo>
                  <a:lnTo>
                    <a:pt x="3" y="62"/>
                  </a:lnTo>
                  <a:lnTo>
                    <a:pt x="0" y="60"/>
                  </a:lnTo>
                  <a:lnTo>
                    <a:pt x="13" y="47"/>
                  </a:lnTo>
                  <a:lnTo>
                    <a:pt x="11" y="18"/>
                  </a:lnTo>
                  <a:lnTo>
                    <a:pt x="3" y="2"/>
                  </a:lnTo>
                  <a:lnTo>
                    <a:pt x="7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" name="Freeform 142"/>
            <p:cNvSpPr>
              <a:spLocks/>
            </p:cNvSpPr>
            <p:nvPr/>
          </p:nvSpPr>
          <p:spPr bwMode="auto">
            <a:xfrm>
              <a:off x="3388624" y="4890094"/>
              <a:ext cx="12056" cy="42846"/>
            </a:xfrm>
            <a:custGeom>
              <a:avLst/>
              <a:gdLst>
                <a:gd name="T0" fmla="*/ 7 w 18"/>
                <a:gd name="T1" fmla="*/ 0 h 63"/>
                <a:gd name="T2" fmla="*/ 16 w 18"/>
                <a:gd name="T3" fmla="*/ 15 h 63"/>
                <a:gd name="T4" fmla="*/ 17 w 18"/>
                <a:gd name="T5" fmla="*/ 57 h 63"/>
                <a:gd name="T6" fmla="*/ 3 w 18"/>
                <a:gd name="T7" fmla="*/ 62 h 63"/>
                <a:gd name="T8" fmla="*/ 0 w 18"/>
                <a:gd name="T9" fmla="*/ 60 h 63"/>
                <a:gd name="T10" fmla="*/ 13 w 18"/>
                <a:gd name="T11" fmla="*/ 47 h 63"/>
                <a:gd name="T12" fmla="*/ 11 w 18"/>
                <a:gd name="T13" fmla="*/ 18 h 63"/>
                <a:gd name="T14" fmla="*/ 3 w 18"/>
                <a:gd name="T15" fmla="*/ 2 h 63"/>
                <a:gd name="T16" fmla="*/ 7 w 18"/>
                <a:gd name="T1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63">
                  <a:moveTo>
                    <a:pt x="7" y="0"/>
                  </a:moveTo>
                  <a:lnTo>
                    <a:pt x="16" y="15"/>
                  </a:lnTo>
                  <a:lnTo>
                    <a:pt x="17" y="57"/>
                  </a:lnTo>
                  <a:lnTo>
                    <a:pt x="3" y="62"/>
                  </a:lnTo>
                  <a:lnTo>
                    <a:pt x="0" y="60"/>
                  </a:lnTo>
                  <a:lnTo>
                    <a:pt x="13" y="47"/>
                  </a:lnTo>
                  <a:lnTo>
                    <a:pt x="11" y="18"/>
                  </a:lnTo>
                  <a:lnTo>
                    <a:pt x="3" y="2"/>
                  </a:lnTo>
                  <a:lnTo>
                    <a:pt x="7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1" name="Freeform 143"/>
            <p:cNvSpPr>
              <a:spLocks/>
            </p:cNvSpPr>
            <p:nvPr/>
          </p:nvSpPr>
          <p:spPr bwMode="auto">
            <a:xfrm>
              <a:off x="3341605" y="4734233"/>
              <a:ext cx="24113" cy="68306"/>
            </a:xfrm>
            <a:custGeom>
              <a:avLst/>
              <a:gdLst>
                <a:gd name="T0" fmla="*/ 7 w 36"/>
                <a:gd name="T1" fmla="*/ 14 h 102"/>
                <a:gd name="T2" fmla="*/ 9 w 36"/>
                <a:gd name="T3" fmla="*/ 11 h 102"/>
                <a:gd name="T4" fmla="*/ 11 w 36"/>
                <a:gd name="T5" fmla="*/ 10 h 102"/>
                <a:gd name="T6" fmla="*/ 14 w 36"/>
                <a:gd name="T7" fmla="*/ 7 h 102"/>
                <a:gd name="T8" fmla="*/ 17 w 36"/>
                <a:gd name="T9" fmla="*/ 5 h 102"/>
                <a:gd name="T10" fmla="*/ 20 w 36"/>
                <a:gd name="T11" fmla="*/ 2 h 102"/>
                <a:gd name="T12" fmla="*/ 23 w 36"/>
                <a:gd name="T13" fmla="*/ 1 h 102"/>
                <a:gd name="T14" fmla="*/ 27 w 36"/>
                <a:gd name="T15" fmla="*/ 0 h 102"/>
                <a:gd name="T16" fmla="*/ 33 w 36"/>
                <a:gd name="T17" fmla="*/ 0 h 102"/>
                <a:gd name="T18" fmla="*/ 33 w 36"/>
                <a:gd name="T19" fmla="*/ 0 h 102"/>
                <a:gd name="T20" fmla="*/ 33 w 36"/>
                <a:gd name="T21" fmla="*/ 1 h 102"/>
                <a:gd name="T22" fmla="*/ 33 w 36"/>
                <a:gd name="T23" fmla="*/ 4 h 102"/>
                <a:gd name="T24" fmla="*/ 35 w 36"/>
                <a:gd name="T25" fmla="*/ 5 h 102"/>
                <a:gd name="T26" fmla="*/ 35 w 36"/>
                <a:gd name="T27" fmla="*/ 8 h 102"/>
                <a:gd name="T28" fmla="*/ 35 w 36"/>
                <a:gd name="T29" fmla="*/ 10 h 102"/>
                <a:gd name="T30" fmla="*/ 35 w 36"/>
                <a:gd name="T31" fmla="*/ 11 h 102"/>
                <a:gd name="T32" fmla="*/ 35 w 36"/>
                <a:gd name="T33" fmla="*/ 13 h 102"/>
                <a:gd name="T34" fmla="*/ 30 w 36"/>
                <a:gd name="T35" fmla="*/ 20 h 102"/>
                <a:gd name="T36" fmla="*/ 29 w 36"/>
                <a:gd name="T37" fmla="*/ 25 h 102"/>
                <a:gd name="T38" fmla="*/ 30 w 36"/>
                <a:gd name="T39" fmla="*/ 31 h 102"/>
                <a:gd name="T40" fmla="*/ 27 w 36"/>
                <a:gd name="T41" fmla="*/ 41 h 102"/>
                <a:gd name="T42" fmla="*/ 23 w 36"/>
                <a:gd name="T43" fmla="*/ 49 h 102"/>
                <a:gd name="T44" fmla="*/ 21 w 36"/>
                <a:gd name="T45" fmla="*/ 53 h 102"/>
                <a:gd name="T46" fmla="*/ 12 w 36"/>
                <a:gd name="T47" fmla="*/ 61 h 102"/>
                <a:gd name="T48" fmla="*/ 12 w 36"/>
                <a:gd name="T49" fmla="*/ 68 h 102"/>
                <a:gd name="T50" fmla="*/ 7 w 36"/>
                <a:gd name="T51" fmla="*/ 78 h 102"/>
                <a:gd name="T52" fmla="*/ 7 w 36"/>
                <a:gd name="T53" fmla="*/ 82 h 102"/>
                <a:gd name="T54" fmla="*/ 7 w 36"/>
                <a:gd name="T55" fmla="*/ 84 h 102"/>
                <a:gd name="T56" fmla="*/ 7 w 36"/>
                <a:gd name="T57" fmla="*/ 88 h 102"/>
                <a:gd name="T58" fmla="*/ 7 w 36"/>
                <a:gd name="T59" fmla="*/ 92 h 102"/>
                <a:gd name="T60" fmla="*/ 7 w 36"/>
                <a:gd name="T61" fmla="*/ 98 h 102"/>
                <a:gd name="T62" fmla="*/ 7 w 36"/>
                <a:gd name="T63" fmla="*/ 101 h 102"/>
                <a:gd name="T64" fmla="*/ 5 w 36"/>
                <a:gd name="T65" fmla="*/ 101 h 102"/>
                <a:gd name="T66" fmla="*/ 4 w 36"/>
                <a:gd name="T67" fmla="*/ 97 h 102"/>
                <a:gd name="T68" fmla="*/ 1 w 36"/>
                <a:gd name="T69" fmla="*/ 85 h 102"/>
                <a:gd name="T70" fmla="*/ 1 w 36"/>
                <a:gd name="T71" fmla="*/ 82 h 102"/>
                <a:gd name="T72" fmla="*/ 0 w 36"/>
                <a:gd name="T73" fmla="*/ 79 h 102"/>
                <a:gd name="T74" fmla="*/ 0 w 36"/>
                <a:gd name="T75" fmla="*/ 74 h 102"/>
                <a:gd name="T76" fmla="*/ 0 w 36"/>
                <a:gd name="T77" fmla="*/ 70 h 102"/>
                <a:gd name="T78" fmla="*/ 0 w 36"/>
                <a:gd name="T79" fmla="*/ 65 h 102"/>
                <a:gd name="T80" fmla="*/ 0 w 36"/>
                <a:gd name="T81" fmla="*/ 61 h 102"/>
                <a:gd name="T82" fmla="*/ 0 w 36"/>
                <a:gd name="T83" fmla="*/ 58 h 102"/>
                <a:gd name="T84" fmla="*/ 0 w 36"/>
                <a:gd name="T85" fmla="*/ 56 h 102"/>
                <a:gd name="T86" fmla="*/ 1 w 36"/>
                <a:gd name="T87" fmla="*/ 47 h 102"/>
                <a:gd name="T88" fmla="*/ 7 w 36"/>
                <a:gd name="T89" fmla="*/ 44 h 102"/>
                <a:gd name="T90" fmla="*/ 7 w 36"/>
                <a:gd name="T91" fmla="*/ 34 h 102"/>
                <a:gd name="T92" fmla="*/ 12 w 36"/>
                <a:gd name="T93" fmla="*/ 25 h 102"/>
                <a:gd name="T94" fmla="*/ 14 w 36"/>
                <a:gd name="T95" fmla="*/ 23 h 102"/>
                <a:gd name="T96" fmla="*/ 14 w 36"/>
                <a:gd name="T97" fmla="*/ 20 h 102"/>
                <a:gd name="T98" fmla="*/ 14 w 36"/>
                <a:gd name="T99" fmla="*/ 17 h 102"/>
                <a:gd name="T100" fmla="*/ 11 w 36"/>
                <a:gd name="T101" fmla="*/ 17 h 102"/>
                <a:gd name="T102" fmla="*/ 9 w 36"/>
                <a:gd name="T103" fmla="*/ 16 h 102"/>
                <a:gd name="T104" fmla="*/ 7 w 36"/>
                <a:gd name="T105" fmla="*/ 14 h 102"/>
                <a:gd name="T106" fmla="*/ 7 w 36"/>
                <a:gd name="T107" fmla="*/ 14 h 102"/>
                <a:gd name="T108" fmla="*/ 7 w 36"/>
                <a:gd name="T10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" h="102">
                  <a:moveTo>
                    <a:pt x="7" y="14"/>
                  </a:moveTo>
                  <a:lnTo>
                    <a:pt x="9" y="11"/>
                  </a:lnTo>
                  <a:lnTo>
                    <a:pt x="11" y="10"/>
                  </a:lnTo>
                  <a:lnTo>
                    <a:pt x="14" y="7"/>
                  </a:lnTo>
                  <a:lnTo>
                    <a:pt x="17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1"/>
                  </a:lnTo>
                  <a:lnTo>
                    <a:pt x="33" y="4"/>
                  </a:lnTo>
                  <a:lnTo>
                    <a:pt x="35" y="5"/>
                  </a:lnTo>
                  <a:lnTo>
                    <a:pt x="35" y="8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5" y="13"/>
                  </a:lnTo>
                  <a:lnTo>
                    <a:pt x="30" y="20"/>
                  </a:lnTo>
                  <a:lnTo>
                    <a:pt x="29" y="25"/>
                  </a:lnTo>
                  <a:lnTo>
                    <a:pt x="30" y="31"/>
                  </a:lnTo>
                  <a:lnTo>
                    <a:pt x="27" y="41"/>
                  </a:lnTo>
                  <a:lnTo>
                    <a:pt x="23" y="49"/>
                  </a:lnTo>
                  <a:lnTo>
                    <a:pt x="21" y="53"/>
                  </a:lnTo>
                  <a:lnTo>
                    <a:pt x="12" y="61"/>
                  </a:lnTo>
                  <a:lnTo>
                    <a:pt x="12" y="68"/>
                  </a:lnTo>
                  <a:lnTo>
                    <a:pt x="7" y="78"/>
                  </a:lnTo>
                  <a:lnTo>
                    <a:pt x="7" y="82"/>
                  </a:lnTo>
                  <a:lnTo>
                    <a:pt x="7" y="84"/>
                  </a:lnTo>
                  <a:lnTo>
                    <a:pt x="7" y="88"/>
                  </a:lnTo>
                  <a:lnTo>
                    <a:pt x="7" y="92"/>
                  </a:lnTo>
                  <a:lnTo>
                    <a:pt x="7" y="98"/>
                  </a:lnTo>
                  <a:lnTo>
                    <a:pt x="7" y="101"/>
                  </a:lnTo>
                  <a:lnTo>
                    <a:pt x="5" y="101"/>
                  </a:lnTo>
                  <a:lnTo>
                    <a:pt x="4" y="97"/>
                  </a:lnTo>
                  <a:lnTo>
                    <a:pt x="1" y="85"/>
                  </a:lnTo>
                  <a:lnTo>
                    <a:pt x="1" y="82"/>
                  </a:lnTo>
                  <a:lnTo>
                    <a:pt x="0" y="79"/>
                  </a:lnTo>
                  <a:lnTo>
                    <a:pt x="0" y="74"/>
                  </a:lnTo>
                  <a:lnTo>
                    <a:pt x="0" y="70"/>
                  </a:lnTo>
                  <a:lnTo>
                    <a:pt x="0" y="65"/>
                  </a:lnTo>
                  <a:lnTo>
                    <a:pt x="0" y="61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7" y="44"/>
                  </a:lnTo>
                  <a:lnTo>
                    <a:pt x="7" y="34"/>
                  </a:lnTo>
                  <a:lnTo>
                    <a:pt x="12" y="25"/>
                  </a:lnTo>
                  <a:lnTo>
                    <a:pt x="14" y="23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1" y="17"/>
                  </a:lnTo>
                  <a:lnTo>
                    <a:pt x="9" y="16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2" name="Freeform 144"/>
            <p:cNvSpPr>
              <a:spLocks/>
            </p:cNvSpPr>
            <p:nvPr/>
          </p:nvSpPr>
          <p:spPr bwMode="auto">
            <a:xfrm>
              <a:off x="3341605" y="4734233"/>
              <a:ext cx="24113" cy="68306"/>
            </a:xfrm>
            <a:custGeom>
              <a:avLst/>
              <a:gdLst>
                <a:gd name="T0" fmla="*/ 7 w 36"/>
                <a:gd name="T1" fmla="*/ 14 h 102"/>
                <a:gd name="T2" fmla="*/ 7 w 36"/>
                <a:gd name="T3" fmla="*/ 14 h 102"/>
                <a:gd name="T4" fmla="*/ 9 w 36"/>
                <a:gd name="T5" fmla="*/ 11 h 102"/>
                <a:gd name="T6" fmla="*/ 11 w 36"/>
                <a:gd name="T7" fmla="*/ 10 h 102"/>
                <a:gd name="T8" fmla="*/ 14 w 36"/>
                <a:gd name="T9" fmla="*/ 7 h 102"/>
                <a:gd name="T10" fmla="*/ 17 w 36"/>
                <a:gd name="T11" fmla="*/ 5 h 102"/>
                <a:gd name="T12" fmla="*/ 20 w 36"/>
                <a:gd name="T13" fmla="*/ 2 h 102"/>
                <a:gd name="T14" fmla="*/ 23 w 36"/>
                <a:gd name="T15" fmla="*/ 1 h 102"/>
                <a:gd name="T16" fmla="*/ 27 w 36"/>
                <a:gd name="T17" fmla="*/ 0 h 102"/>
                <a:gd name="T18" fmla="*/ 33 w 36"/>
                <a:gd name="T19" fmla="*/ 0 h 102"/>
                <a:gd name="T20" fmla="*/ 33 w 36"/>
                <a:gd name="T21" fmla="*/ 0 h 102"/>
                <a:gd name="T22" fmla="*/ 33 w 36"/>
                <a:gd name="T23" fmla="*/ 0 h 102"/>
                <a:gd name="T24" fmla="*/ 33 w 36"/>
                <a:gd name="T25" fmla="*/ 1 h 102"/>
                <a:gd name="T26" fmla="*/ 33 w 36"/>
                <a:gd name="T27" fmla="*/ 4 h 102"/>
                <a:gd name="T28" fmla="*/ 35 w 36"/>
                <a:gd name="T29" fmla="*/ 5 h 102"/>
                <a:gd name="T30" fmla="*/ 35 w 36"/>
                <a:gd name="T31" fmla="*/ 8 h 102"/>
                <a:gd name="T32" fmla="*/ 35 w 36"/>
                <a:gd name="T33" fmla="*/ 10 h 102"/>
                <a:gd name="T34" fmla="*/ 35 w 36"/>
                <a:gd name="T35" fmla="*/ 11 h 102"/>
                <a:gd name="T36" fmla="*/ 35 w 36"/>
                <a:gd name="T37" fmla="*/ 13 h 102"/>
                <a:gd name="T38" fmla="*/ 30 w 36"/>
                <a:gd name="T39" fmla="*/ 20 h 102"/>
                <a:gd name="T40" fmla="*/ 29 w 36"/>
                <a:gd name="T41" fmla="*/ 25 h 102"/>
                <a:gd name="T42" fmla="*/ 30 w 36"/>
                <a:gd name="T43" fmla="*/ 31 h 102"/>
                <a:gd name="T44" fmla="*/ 27 w 36"/>
                <a:gd name="T45" fmla="*/ 41 h 102"/>
                <a:gd name="T46" fmla="*/ 23 w 36"/>
                <a:gd name="T47" fmla="*/ 49 h 102"/>
                <a:gd name="T48" fmla="*/ 21 w 36"/>
                <a:gd name="T49" fmla="*/ 53 h 102"/>
                <a:gd name="T50" fmla="*/ 12 w 36"/>
                <a:gd name="T51" fmla="*/ 61 h 102"/>
                <a:gd name="T52" fmla="*/ 12 w 36"/>
                <a:gd name="T53" fmla="*/ 68 h 102"/>
                <a:gd name="T54" fmla="*/ 7 w 36"/>
                <a:gd name="T55" fmla="*/ 78 h 102"/>
                <a:gd name="T56" fmla="*/ 7 w 36"/>
                <a:gd name="T57" fmla="*/ 82 h 102"/>
                <a:gd name="T58" fmla="*/ 7 w 36"/>
                <a:gd name="T59" fmla="*/ 82 h 102"/>
                <a:gd name="T60" fmla="*/ 7 w 36"/>
                <a:gd name="T61" fmla="*/ 84 h 102"/>
                <a:gd name="T62" fmla="*/ 7 w 36"/>
                <a:gd name="T63" fmla="*/ 88 h 102"/>
                <a:gd name="T64" fmla="*/ 7 w 36"/>
                <a:gd name="T65" fmla="*/ 92 h 102"/>
                <a:gd name="T66" fmla="*/ 7 w 36"/>
                <a:gd name="T67" fmla="*/ 98 h 102"/>
                <a:gd name="T68" fmla="*/ 7 w 36"/>
                <a:gd name="T69" fmla="*/ 101 h 102"/>
                <a:gd name="T70" fmla="*/ 5 w 36"/>
                <a:gd name="T71" fmla="*/ 101 h 102"/>
                <a:gd name="T72" fmla="*/ 4 w 36"/>
                <a:gd name="T73" fmla="*/ 97 h 102"/>
                <a:gd name="T74" fmla="*/ 1 w 36"/>
                <a:gd name="T75" fmla="*/ 85 h 102"/>
                <a:gd name="T76" fmla="*/ 1 w 36"/>
                <a:gd name="T77" fmla="*/ 85 h 102"/>
                <a:gd name="T78" fmla="*/ 1 w 36"/>
                <a:gd name="T79" fmla="*/ 82 h 102"/>
                <a:gd name="T80" fmla="*/ 0 w 36"/>
                <a:gd name="T81" fmla="*/ 79 h 102"/>
                <a:gd name="T82" fmla="*/ 0 w 36"/>
                <a:gd name="T83" fmla="*/ 74 h 102"/>
                <a:gd name="T84" fmla="*/ 0 w 36"/>
                <a:gd name="T85" fmla="*/ 70 h 102"/>
                <a:gd name="T86" fmla="*/ 0 w 36"/>
                <a:gd name="T87" fmla="*/ 65 h 102"/>
                <a:gd name="T88" fmla="*/ 0 w 36"/>
                <a:gd name="T89" fmla="*/ 61 h 102"/>
                <a:gd name="T90" fmla="*/ 0 w 36"/>
                <a:gd name="T91" fmla="*/ 58 h 102"/>
                <a:gd name="T92" fmla="*/ 0 w 36"/>
                <a:gd name="T93" fmla="*/ 56 h 102"/>
                <a:gd name="T94" fmla="*/ 1 w 36"/>
                <a:gd name="T95" fmla="*/ 47 h 102"/>
                <a:gd name="T96" fmla="*/ 7 w 36"/>
                <a:gd name="T97" fmla="*/ 44 h 102"/>
                <a:gd name="T98" fmla="*/ 7 w 36"/>
                <a:gd name="T99" fmla="*/ 34 h 102"/>
                <a:gd name="T100" fmla="*/ 12 w 36"/>
                <a:gd name="T101" fmla="*/ 25 h 102"/>
                <a:gd name="T102" fmla="*/ 12 w 36"/>
                <a:gd name="T103" fmla="*/ 25 h 102"/>
                <a:gd name="T104" fmla="*/ 14 w 36"/>
                <a:gd name="T105" fmla="*/ 23 h 102"/>
                <a:gd name="T106" fmla="*/ 14 w 36"/>
                <a:gd name="T107" fmla="*/ 20 h 102"/>
                <a:gd name="T108" fmla="*/ 14 w 36"/>
                <a:gd name="T109" fmla="*/ 17 h 102"/>
                <a:gd name="T110" fmla="*/ 11 w 36"/>
                <a:gd name="T111" fmla="*/ 17 h 102"/>
                <a:gd name="T112" fmla="*/ 9 w 36"/>
                <a:gd name="T113" fmla="*/ 16 h 102"/>
                <a:gd name="T114" fmla="*/ 7 w 36"/>
                <a:gd name="T115" fmla="*/ 14 h 102"/>
                <a:gd name="T116" fmla="*/ 7 w 36"/>
                <a:gd name="T117" fmla="*/ 14 h 102"/>
                <a:gd name="T118" fmla="*/ 7 w 36"/>
                <a:gd name="T1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" h="102">
                  <a:moveTo>
                    <a:pt x="7" y="14"/>
                  </a:moveTo>
                  <a:lnTo>
                    <a:pt x="7" y="14"/>
                  </a:lnTo>
                  <a:lnTo>
                    <a:pt x="9" y="11"/>
                  </a:lnTo>
                  <a:lnTo>
                    <a:pt x="11" y="10"/>
                  </a:lnTo>
                  <a:lnTo>
                    <a:pt x="14" y="7"/>
                  </a:lnTo>
                  <a:lnTo>
                    <a:pt x="17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1"/>
                  </a:lnTo>
                  <a:lnTo>
                    <a:pt x="33" y="4"/>
                  </a:lnTo>
                  <a:lnTo>
                    <a:pt x="35" y="5"/>
                  </a:lnTo>
                  <a:lnTo>
                    <a:pt x="35" y="8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5" y="13"/>
                  </a:lnTo>
                  <a:lnTo>
                    <a:pt x="30" y="20"/>
                  </a:lnTo>
                  <a:lnTo>
                    <a:pt x="29" y="25"/>
                  </a:lnTo>
                  <a:lnTo>
                    <a:pt x="30" y="31"/>
                  </a:lnTo>
                  <a:lnTo>
                    <a:pt x="27" y="41"/>
                  </a:lnTo>
                  <a:lnTo>
                    <a:pt x="23" y="49"/>
                  </a:lnTo>
                  <a:lnTo>
                    <a:pt x="21" y="53"/>
                  </a:lnTo>
                  <a:lnTo>
                    <a:pt x="12" y="61"/>
                  </a:lnTo>
                  <a:lnTo>
                    <a:pt x="12" y="68"/>
                  </a:lnTo>
                  <a:lnTo>
                    <a:pt x="7" y="78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7" y="84"/>
                  </a:lnTo>
                  <a:lnTo>
                    <a:pt x="7" y="88"/>
                  </a:lnTo>
                  <a:lnTo>
                    <a:pt x="7" y="92"/>
                  </a:lnTo>
                  <a:lnTo>
                    <a:pt x="7" y="98"/>
                  </a:lnTo>
                  <a:lnTo>
                    <a:pt x="7" y="101"/>
                  </a:lnTo>
                  <a:lnTo>
                    <a:pt x="5" y="101"/>
                  </a:lnTo>
                  <a:lnTo>
                    <a:pt x="4" y="97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1" y="82"/>
                  </a:lnTo>
                  <a:lnTo>
                    <a:pt x="0" y="79"/>
                  </a:lnTo>
                  <a:lnTo>
                    <a:pt x="0" y="74"/>
                  </a:lnTo>
                  <a:lnTo>
                    <a:pt x="0" y="70"/>
                  </a:lnTo>
                  <a:lnTo>
                    <a:pt x="0" y="65"/>
                  </a:lnTo>
                  <a:lnTo>
                    <a:pt x="0" y="61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7" y="44"/>
                  </a:lnTo>
                  <a:lnTo>
                    <a:pt x="7" y="3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4" y="23"/>
                  </a:lnTo>
                  <a:lnTo>
                    <a:pt x="14" y="20"/>
                  </a:lnTo>
                  <a:lnTo>
                    <a:pt x="14" y="17"/>
                  </a:lnTo>
                  <a:lnTo>
                    <a:pt x="11" y="17"/>
                  </a:lnTo>
                  <a:lnTo>
                    <a:pt x="9" y="16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" name="Freeform 145"/>
            <p:cNvSpPr>
              <a:spLocks/>
            </p:cNvSpPr>
            <p:nvPr/>
          </p:nvSpPr>
          <p:spPr bwMode="auto">
            <a:xfrm>
              <a:off x="2918430" y="4667170"/>
              <a:ext cx="443068" cy="250247"/>
            </a:xfrm>
            <a:custGeom>
              <a:avLst/>
              <a:gdLst>
                <a:gd name="T0" fmla="*/ 647 w 660"/>
                <a:gd name="T1" fmla="*/ 251 h 373"/>
                <a:gd name="T2" fmla="*/ 656 w 660"/>
                <a:gd name="T3" fmla="*/ 260 h 373"/>
                <a:gd name="T4" fmla="*/ 628 w 660"/>
                <a:gd name="T5" fmla="*/ 225 h 373"/>
                <a:gd name="T6" fmla="*/ 614 w 660"/>
                <a:gd name="T7" fmla="*/ 222 h 373"/>
                <a:gd name="T8" fmla="*/ 615 w 660"/>
                <a:gd name="T9" fmla="*/ 233 h 373"/>
                <a:gd name="T10" fmla="*/ 608 w 660"/>
                <a:gd name="T11" fmla="*/ 234 h 373"/>
                <a:gd name="T12" fmla="*/ 562 w 660"/>
                <a:gd name="T13" fmla="*/ 210 h 373"/>
                <a:gd name="T14" fmla="*/ 612 w 660"/>
                <a:gd name="T15" fmla="*/ 213 h 373"/>
                <a:gd name="T16" fmla="*/ 593 w 660"/>
                <a:gd name="T17" fmla="*/ 197 h 373"/>
                <a:gd name="T18" fmla="*/ 596 w 660"/>
                <a:gd name="T19" fmla="*/ 167 h 373"/>
                <a:gd name="T20" fmla="*/ 579 w 660"/>
                <a:gd name="T21" fmla="*/ 154 h 373"/>
                <a:gd name="T22" fmla="*/ 587 w 660"/>
                <a:gd name="T23" fmla="*/ 123 h 373"/>
                <a:gd name="T24" fmla="*/ 560 w 660"/>
                <a:gd name="T25" fmla="*/ 107 h 373"/>
                <a:gd name="T26" fmla="*/ 525 w 660"/>
                <a:gd name="T27" fmla="*/ 93 h 373"/>
                <a:gd name="T28" fmla="*/ 515 w 660"/>
                <a:gd name="T29" fmla="*/ 93 h 373"/>
                <a:gd name="T30" fmla="*/ 500 w 660"/>
                <a:gd name="T31" fmla="*/ 93 h 373"/>
                <a:gd name="T32" fmla="*/ 500 w 660"/>
                <a:gd name="T33" fmla="*/ 66 h 373"/>
                <a:gd name="T34" fmla="*/ 515 w 660"/>
                <a:gd name="T35" fmla="*/ 47 h 373"/>
                <a:gd name="T36" fmla="*/ 491 w 660"/>
                <a:gd name="T37" fmla="*/ 24 h 373"/>
                <a:gd name="T38" fmla="*/ 470 w 660"/>
                <a:gd name="T39" fmla="*/ 11 h 373"/>
                <a:gd name="T40" fmla="*/ 459 w 660"/>
                <a:gd name="T41" fmla="*/ 2 h 373"/>
                <a:gd name="T42" fmla="*/ 450 w 660"/>
                <a:gd name="T43" fmla="*/ 8 h 373"/>
                <a:gd name="T44" fmla="*/ 434 w 660"/>
                <a:gd name="T45" fmla="*/ 15 h 373"/>
                <a:gd name="T46" fmla="*/ 407 w 660"/>
                <a:gd name="T47" fmla="*/ 2 h 373"/>
                <a:gd name="T48" fmla="*/ 393 w 660"/>
                <a:gd name="T49" fmla="*/ 33 h 373"/>
                <a:gd name="T50" fmla="*/ 378 w 660"/>
                <a:gd name="T51" fmla="*/ 60 h 373"/>
                <a:gd name="T52" fmla="*/ 371 w 660"/>
                <a:gd name="T53" fmla="*/ 74 h 373"/>
                <a:gd name="T54" fmla="*/ 360 w 660"/>
                <a:gd name="T55" fmla="*/ 71 h 373"/>
                <a:gd name="T56" fmla="*/ 351 w 660"/>
                <a:gd name="T57" fmla="*/ 90 h 373"/>
                <a:gd name="T58" fmla="*/ 348 w 660"/>
                <a:gd name="T59" fmla="*/ 99 h 373"/>
                <a:gd name="T60" fmla="*/ 339 w 660"/>
                <a:gd name="T61" fmla="*/ 117 h 373"/>
                <a:gd name="T62" fmla="*/ 314 w 660"/>
                <a:gd name="T63" fmla="*/ 107 h 373"/>
                <a:gd name="T64" fmla="*/ 308 w 660"/>
                <a:gd name="T65" fmla="*/ 126 h 373"/>
                <a:gd name="T66" fmla="*/ 303 w 660"/>
                <a:gd name="T67" fmla="*/ 138 h 373"/>
                <a:gd name="T68" fmla="*/ 297 w 660"/>
                <a:gd name="T69" fmla="*/ 153 h 373"/>
                <a:gd name="T70" fmla="*/ 291 w 660"/>
                <a:gd name="T71" fmla="*/ 177 h 373"/>
                <a:gd name="T72" fmla="*/ 276 w 660"/>
                <a:gd name="T73" fmla="*/ 203 h 373"/>
                <a:gd name="T74" fmla="*/ 276 w 660"/>
                <a:gd name="T75" fmla="*/ 213 h 373"/>
                <a:gd name="T76" fmla="*/ 264 w 660"/>
                <a:gd name="T77" fmla="*/ 240 h 373"/>
                <a:gd name="T78" fmla="*/ 251 w 660"/>
                <a:gd name="T79" fmla="*/ 240 h 373"/>
                <a:gd name="T80" fmla="*/ 234 w 660"/>
                <a:gd name="T81" fmla="*/ 246 h 373"/>
                <a:gd name="T82" fmla="*/ 230 w 660"/>
                <a:gd name="T83" fmla="*/ 258 h 373"/>
                <a:gd name="T84" fmla="*/ 221 w 660"/>
                <a:gd name="T85" fmla="*/ 263 h 373"/>
                <a:gd name="T86" fmla="*/ 197 w 660"/>
                <a:gd name="T87" fmla="*/ 269 h 373"/>
                <a:gd name="T88" fmla="*/ 186 w 660"/>
                <a:gd name="T89" fmla="*/ 272 h 373"/>
                <a:gd name="T90" fmla="*/ 163 w 660"/>
                <a:gd name="T91" fmla="*/ 276 h 373"/>
                <a:gd name="T92" fmla="*/ 141 w 660"/>
                <a:gd name="T93" fmla="*/ 257 h 373"/>
                <a:gd name="T94" fmla="*/ 119 w 660"/>
                <a:gd name="T95" fmla="*/ 273 h 373"/>
                <a:gd name="T96" fmla="*/ 120 w 660"/>
                <a:gd name="T97" fmla="*/ 270 h 373"/>
                <a:gd name="T98" fmla="*/ 96 w 660"/>
                <a:gd name="T99" fmla="*/ 290 h 373"/>
                <a:gd name="T100" fmla="*/ 83 w 660"/>
                <a:gd name="T101" fmla="*/ 310 h 373"/>
                <a:gd name="T102" fmla="*/ 75 w 660"/>
                <a:gd name="T103" fmla="*/ 321 h 373"/>
                <a:gd name="T104" fmla="*/ 71 w 660"/>
                <a:gd name="T105" fmla="*/ 330 h 373"/>
                <a:gd name="T106" fmla="*/ 54 w 660"/>
                <a:gd name="T107" fmla="*/ 341 h 373"/>
                <a:gd name="T108" fmla="*/ 44 w 660"/>
                <a:gd name="T109" fmla="*/ 348 h 373"/>
                <a:gd name="T110" fmla="*/ 18 w 660"/>
                <a:gd name="T111" fmla="*/ 362 h 373"/>
                <a:gd name="T112" fmla="*/ 0 w 660"/>
                <a:gd name="T113" fmla="*/ 372 h 373"/>
                <a:gd name="T114" fmla="*/ 177 w 660"/>
                <a:gd name="T115" fmla="*/ 342 h 373"/>
                <a:gd name="T116" fmla="*/ 210 w 660"/>
                <a:gd name="T117" fmla="*/ 341 h 373"/>
                <a:gd name="T118" fmla="*/ 276 w 660"/>
                <a:gd name="T119" fmla="*/ 332 h 373"/>
                <a:gd name="T120" fmla="*/ 374 w 660"/>
                <a:gd name="T121" fmla="*/ 317 h 373"/>
                <a:gd name="T122" fmla="*/ 496 w 660"/>
                <a:gd name="T123" fmla="*/ 296 h 373"/>
                <a:gd name="T124" fmla="*/ 641 w 660"/>
                <a:gd name="T125" fmla="*/ 263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0" h="373">
                  <a:moveTo>
                    <a:pt x="645" y="261"/>
                  </a:moveTo>
                  <a:lnTo>
                    <a:pt x="647" y="261"/>
                  </a:lnTo>
                  <a:lnTo>
                    <a:pt x="648" y="263"/>
                  </a:lnTo>
                  <a:lnTo>
                    <a:pt x="650" y="263"/>
                  </a:lnTo>
                  <a:lnTo>
                    <a:pt x="650" y="261"/>
                  </a:lnTo>
                  <a:lnTo>
                    <a:pt x="647" y="251"/>
                  </a:lnTo>
                  <a:lnTo>
                    <a:pt x="647" y="248"/>
                  </a:lnTo>
                  <a:lnTo>
                    <a:pt x="647" y="248"/>
                  </a:lnTo>
                  <a:lnTo>
                    <a:pt x="648" y="248"/>
                  </a:lnTo>
                  <a:lnTo>
                    <a:pt x="651" y="251"/>
                  </a:lnTo>
                  <a:lnTo>
                    <a:pt x="653" y="257"/>
                  </a:lnTo>
                  <a:lnTo>
                    <a:pt x="656" y="260"/>
                  </a:lnTo>
                  <a:lnTo>
                    <a:pt x="656" y="261"/>
                  </a:lnTo>
                  <a:lnTo>
                    <a:pt x="659" y="257"/>
                  </a:lnTo>
                  <a:lnTo>
                    <a:pt x="642" y="222"/>
                  </a:lnTo>
                  <a:lnTo>
                    <a:pt x="635" y="221"/>
                  </a:lnTo>
                  <a:lnTo>
                    <a:pt x="629" y="225"/>
                  </a:lnTo>
                  <a:lnTo>
                    <a:pt x="628" y="225"/>
                  </a:lnTo>
                  <a:lnTo>
                    <a:pt x="626" y="225"/>
                  </a:lnTo>
                  <a:lnTo>
                    <a:pt x="624" y="225"/>
                  </a:lnTo>
                  <a:lnTo>
                    <a:pt x="623" y="225"/>
                  </a:lnTo>
                  <a:lnTo>
                    <a:pt x="618" y="222"/>
                  </a:lnTo>
                  <a:lnTo>
                    <a:pt x="615" y="221"/>
                  </a:lnTo>
                  <a:lnTo>
                    <a:pt x="614" y="222"/>
                  </a:lnTo>
                  <a:lnTo>
                    <a:pt x="612" y="224"/>
                  </a:lnTo>
                  <a:lnTo>
                    <a:pt x="612" y="225"/>
                  </a:lnTo>
                  <a:lnTo>
                    <a:pt x="612" y="227"/>
                  </a:lnTo>
                  <a:lnTo>
                    <a:pt x="612" y="228"/>
                  </a:lnTo>
                  <a:lnTo>
                    <a:pt x="612" y="230"/>
                  </a:lnTo>
                  <a:lnTo>
                    <a:pt x="615" y="233"/>
                  </a:lnTo>
                  <a:lnTo>
                    <a:pt x="617" y="236"/>
                  </a:lnTo>
                  <a:lnTo>
                    <a:pt x="615" y="236"/>
                  </a:lnTo>
                  <a:lnTo>
                    <a:pt x="614" y="236"/>
                  </a:lnTo>
                  <a:lnTo>
                    <a:pt x="612" y="236"/>
                  </a:lnTo>
                  <a:lnTo>
                    <a:pt x="609" y="234"/>
                  </a:lnTo>
                  <a:lnTo>
                    <a:pt x="608" y="234"/>
                  </a:lnTo>
                  <a:lnTo>
                    <a:pt x="608" y="233"/>
                  </a:lnTo>
                  <a:lnTo>
                    <a:pt x="599" y="233"/>
                  </a:lnTo>
                  <a:lnTo>
                    <a:pt x="593" y="227"/>
                  </a:lnTo>
                  <a:lnTo>
                    <a:pt x="587" y="224"/>
                  </a:lnTo>
                  <a:lnTo>
                    <a:pt x="578" y="212"/>
                  </a:lnTo>
                  <a:lnTo>
                    <a:pt x="562" y="210"/>
                  </a:lnTo>
                  <a:lnTo>
                    <a:pt x="552" y="209"/>
                  </a:lnTo>
                  <a:lnTo>
                    <a:pt x="536" y="203"/>
                  </a:lnTo>
                  <a:lnTo>
                    <a:pt x="549" y="201"/>
                  </a:lnTo>
                  <a:lnTo>
                    <a:pt x="581" y="206"/>
                  </a:lnTo>
                  <a:lnTo>
                    <a:pt x="602" y="224"/>
                  </a:lnTo>
                  <a:lnTo>
                    <a:pt x="612" y="213"/>
                  </a:lnTo>
                  <a:lnTo>
                    <a:pt x="596" y="201"/>
                  </a:lnTo>
                  <a:lnTo>
                    <a:pt x="579" y="194"/>
                  </a:lnTo>
                  <a:lnTo>
                    <a:pt x="562" y="179"/>
                  </a:lnTo>
                  <a:lnTo>
                    <a:pt x="568" y="180"/>
                  </a:lnTo>
                  <a:lnTo>
                    <a:pt x="585" y="192"/>
                  </a:lnTo>
                  <a:lnTo>
                    <a:pt x="593" y="197"/>
                  </a:lnTo>
                  <a:lnTo>
                    <a:pt x="599" y="192"/>
                  </a:lnTo>
                  <a:lnTo>
                    <a:pt x="593" y="186"/>
                  </a:lnTo>
                  <a:lnTo>
                    <a:pt x="593" y="179"/>
                  </a:lnTo>
                  <a:lnTo>
                    <a:pt x="606" y="186"/>
                  </a:lnTo>
                  <a:lnTo>
                    <a:pt x="606" y="174"/>
                  </a:lnTo>
                  <a:lnTo>
                    <a:pt x="596" y="167"/>
                  </a:lnTo>
                  <a:lnTo>
                    <a:pt x="593" y="159"/>
                  </a:lnTo>
                  <a:lnTo>
                    <a:pt x="578" y="158"/>
                  </a:lnTo>
                  <a:lnTo>
                    <a:pt x="557" y="143"/>
                  </a:lnTo>
                  <a:lnTo>
                    <a:pt x="542" y="126"/>
                  </a:lnTo>
                  <a:lnTo>
                    <a:pt x="560" y="141"/>
                  </a:lnTo>
                  <a:lnTo>
                    <a:pt x="579" y="154"/>
                  </a:lnTo>
                  <a:lnTo>
                    <a:pt x="593" y="155"/>
                  </a:lnTo>
                  <a:lnTo>
                    <a:pt x="593" y="137"/>
                  </a:lnTo>
                  <a:lnTo>
                    <a:pt x="599" y="129"/>
                  </a:lnTo>
                  <a:lnTo>
                    <a:pt x="599" y="125"/>
                  </a:lnTo>
                  <a:lnTo>
                    <a:pt x="593" y="125"/>
                  </a:lnTo>
                  <a:lnTo>
                    <a:pt x="587" y="123"/>
                  </a:lnTo>
                  <a:lnTo>
                    <a:pt x="581" y="120"/>
                  </a:lnTo>
                  <a:lnTo>
                    <a:pt x="573" y="117"/>
                  </a:lnTo>
                  <a:lnTo>
                    <a:pt x="569" y="113"/>
                  </a:lnTo>
                  <a:lnTo>
                    <a:pt x="563" y="110"/>
                  </a:lnTo>
                  <a:lnTo>
                    <a:pt x="560" y="108"/>
                  </a:lnTo>
                  <a:lnTo>
                    <a:pt x="560" y="107"/>
                  </a:lnTo>
                  <a:lnTo>
                    <a:pt x="549" y="107"/>
                  </a:lnTo>
                  <a:lnTo>
                    <a:pt x="540" y="104"/>
                  </a:lnTo>
                  <a:lnTo>
                    <a:pt x="533" y="102"/>
                  </a:lnTo>
                  <a:lnTo>
                    <a:pt x="529" y="99"/>
                  </a:lnTo>
                  <a:lnTo>
                    <a:pt x="527" y="96"/>
                  </a:lnTo>
                  <a:lnTo>
                    <a:pt x="525" y="93"/>
                  </a:lnTo>
                  <a:lnTo>
                    <a:pt x="524" y="93"/>
                  </a:lnTo>
                  <a:lnTo>
                    <a:pt x="524" y="93"/>
                  </a:lnTo>
                  <a:lnTo>
                    <a:pt x="524" y="93"/>
                  </a:lnTo>
                  <a:lnTo>
                    <a:pt x="521" y="93"/>
                  </a:lnTo>
                  <a:lnTo>
                    <a:pt x="518" y="93"/>
                  </a:lnTo>
                  <a:lnTo>
                    <a:pt x="515" y="93"/>
                  </a:lnTo>
                  <a:lnTo>
                    <a:pt x="512" y="95"/>
                  </a:lnTo>
                  <a:lnTo>
                    <a:pt x="509" y="95"/>
                  </a:lnTo>
                  <a:lnTo>
                    <a:pt x="506" y="96"/>
                  </a:lnTo>
                  <a:lnTo>
                    <a:pt x="506" y="96"/>
                  </a:lnTo>
                  <a:lnTo>
                    <a:pt x="501" y="95"/>
                  </a:lnTo>
                  <a:lnTo>
                    <a:pt x="500" y="93"/>
                  </a:lnTo>
                  <a:lnTo>
                    <a:pt x="499" y="87"/>
                  </a:lnTo>
                  <a:lnTo>
                    <a:pt x="499" y="83"/>
                  </a:lnTo>
                  <a:lnTo>
                    <a:pt x="499" y="77"/>
                  </a:lnTo>
                  <a:lnTo>
                    <a:pt x="499" y="72"/>
                  </a:lnTo>
                  <a:lnTo>
                    <a:pt x="500" y="68"/>
                  </a:lnTo>
                  <a:lnTo>
                    <a:pt x="500" y="66"/>
                  </a:lnTo>
                  <a:lnTo>
                    <a:pt x="501" y="66"/>
                  </a:lnTo>
                  <a:lnTo>
                    <a:pt x="503" y="65"/>
                  </a:lnTo>
                  <a:lnTo>
                    <a:pt x="506" y="63"/>
                  </a:lnTo>
                  <a:lnTo>
                    <a:pt x="507" y="62"/>
                  </a:lnTo>
                  <a:lnTo>
                    <a:pt x="513" y="54"/>
                  </a:lnTo>
                  <a:lnTo>
                    <a:pt x="515" y="47"/>
                  </a:lnTo>
                  <a:lnTo>
                    <a:pt x="513" y="39"/>
                  </a:lnTo>
                  <a:lnTo>
                    <a:pt x="509" y="33"/>
                  </a:lnTo>
                  <a:lnTo>
                    <a:pt x="503" y="30"/>
                  </a:lnTo>
                  <a:lnTo>
                    <a:pt x="497" y="27"/>
                  </a:lnTo>
                  <a:lnTo>
                    <a:pt x="494" y="26"/>
                  </a:lnTo>
                  <a:lnTo>
                    <a:pt x="491" y="24"/>
                  </a:lnTo>
                  <a:lnTo>
                    <a:pt x="480" y="24"/>
                  </a:lnTo>
                  <a:lnTo>
                    <a:pt x="474" y="21"/>
                  </a:lnTo>
                  <a:lnTo>
                    <a:pt x="470" y="20"/>
                  </a:lnTo>
                  <a:lnTo>
                    <a:pt x="470" y="15"/>
                  </a:lnTo>
                  <a:lnTo>
                    <a:pt x="470" y="12"/>
                  </a:lnTo>
                  <a:lnTo>
                    <a:pt x="470" y="11"/>
                  </a:lnTo>
                  <a:lnTo>
                    <a:pt x="471" y="8"/>
                  </a:lnTo>
                  <a:lnTo>
                    <a:pt x="471" y="6"/>
                  </a:lnTo>
                  <a:lnTo>
                    <a:pt x="468" y="3"/>
                  </a:lnTo>
                  <a:lnTo>
                    <a:pt x="465" y="0"/>
                  </a:lnTo>
                  <a:lnTo>
                    <a:pt x="461" y="0"/>
                  </a:lnTo>
                  <a:lnTo>
                    <a:pt x="459" y="2"/>
                  </a:lnTo>
                  <a:lnTo>
                    <a:pt x="455" y="3"/>
                  </a:lnTo>
                  <a:lnTo>
                    <a:pt x="452" y="3"/>
                  </a:lnTo>
                  <a:lnTo>
                    <a:pt x="450" y="5"/>
                  </a:lnTo>
                  <a:lnTo>
                    <a:pt x="449" y="6"/>
                  </a:lnTo>
                  <a:lnTo>
                    <a:pt x="450" y="6"/>
                  </a:lnTo>
                  <a:lnTo>
                    <a:pt x="450" y="8"/>
                  </a:lnTo>
                  <a:lnTo>
                    <a:pt x="450" y="11"/>
                  </a:lnTo>
                  <a:lnTo>
                    <a:pt x="450" y="14"/>
                  </a:lnTo>
                  <a:lnTo>
                    <a:pt x="449" y="15"/>
                  </a:lnTo>
                  <a:lnTo>
                    <a:pt x="446" y="17"/>
                  </a:lnTo>
                  <a:lnTo>
                    <a:pt x="441" y="18"/>
                  </a:lnTo>
                  <a:lnTo>
                    <a:pt x="434" y="15"/>
                  </a:lnTo>
                  <a:lnTo>
                    <a:pt x="423" y="11"/>
                  </a:lnTo>
                  <a:lnTo>
                    <a:pt x="422" y="9"/>
                  </a:lnTo>
                  <a:lnTo>
                    <a:pt x="419" y="8"/>
                  </a:lnTo>
                  <a:lnTo>
                    <a:pt x="414" y="6"/>
                  </a:lnTo>
                  <a:lnTo>
                    <a:pt x="410" y="5"/>
                  </a:lnTo>
                  <a:lnTo>
                    <a:pt x="407" y="2"/>
                  </a:lnTo>
                  <a:lnTo>
                    <a:pt x="402" y="0"/>
                  </a:lnTo>
                  <a:lnTo>
                    <a:pt x="399" y="0"/>
                  </a:lnTo>
                  <a:lnTo>
                    <a:pt x="399" y="0"/>
                  </a:lnTo>
                  <a:lnTo>
                    <a:pt x="397" y="29"/>
                  </a:lnTo>
                  <a:lnTo>
                    <a:pt x="393" y="32"/>
                  </a:lnTo>
                  <a:lnTo>
                    <a:pt x="393" y="33"/>
                  </a:lnTo>
                  <a:lnTo>
                    <a:pt x="392" y="38"/>
                  </a:lnTo>
                  <a:lnTo>
                    <a:pt x="390" y="42"/>
                  </a:lnTo>
                  <a:lnTo>
                    <a:pt x="387" y="48"/>
                  </a:lnTo>
                  <a:lnTo>
                    <a:pt x="384" y="54"/>
                  </a:lnTo>
                  <a:lnTo>
                    <a:pt x="381" y="57"/>
                  </a:lnTo>
                  <a:lnTo>
                    <a:pt x="378" y="60"/>
                  </a:lnTo>
                  <a:lnTo>
                    <a:pt x="375" y="59"/>
                  </a:lnTo>
                  <a:lnTo>
                    <a:pt x="375" y="60"/>
                  </a:lnTo>
                  <a:lnTo>
                    <a:pt x="375" y="62"/>
                  </a:lnTo>
                  <a:lnTo>
                    <a:pt x="374" y="65"/>
                  </a:lnTo>
                  <a:lnTo>
                    <a:pt x="372" y="69"/>
                  </a:lnTo>
                  <a:lnTo>
                    <a:pt x="371" y="74"/>
                  </a:lnTo>
                  <a:lnTo>
                    <a:pt x="368" y="77"/>
                  </a:lnTo>
                  <a:lnTo>
                    <a:pt x="366" y="77"/>
                  </a:lnTo>
                  <a:lnTo>
                    <a:pt x="363" y="74"/>
                  </a:lnTo>
                  <a:lnTo>
                    <a:pt x="362" y="74"/>
                  </a:lnTo>
                  <a:lnTo>
                    <a:pt x="362" y="72"/>
                  </a:lnTo>
                  <a:lnTo>
                    <a:pt x="360" y="71"/>
                  </a:lnTo>
                  <a:lnTo>
                    <a:pt x="357" y="71"/>
                  </a:lnTo>
                  <a:lnTo>
                    <a:pt x="356" y="72"/>
                  </a:lnTo>
                  <a:lnTo>
                    <a:pt x="353" y="74"/>
                  </a:lnTo>
                  <a:lnTo>
                    <a:pt x="351" y="80"/>
                  </a:lnTo>
                  <a:lnTo>
                    <a:pt x="351" y="89"/>
                  </a:lnTo>
                  <a:lnTo>
                    <a:pt x="351" y="90"/>
                  </a:lnTo>
                  <a:lnTo>
                    <a:pt x="351" y="91"/>
                  </a:lnTo>
                  <a:lnTo>
                    <a:pt x="350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8" y="98"/>
                  </a:lnTo>
                  <a:lnTo>
                    <a:pt x="348" y="99"/>
                  </a:lnTo>
                  <a:lnTo>
                    <a:pt x="348" y="99"/>
                  </a:lnTo>
                  <a:lnTo>
                    <a:pt x="348" y="101"/>
                  </a:lnTo>
                  <a:lnTo>
                    <a:pt x="347" y="104"/>
                  </a:lnTo>
                  <a:lnTo>
                    <a:pt x="345" y="110"/>
                  </a:lnTo>
                  <a:lnTo>
                    <a:pt x="344" y="114"/>
                  </a:lnTo>
                  <a:lnTo>
                    <a:pt x="339" y="117"/>
                  </a:lnTo>
                  <a:lnTo>
                    <a:pt x="335" y="119"/>
                  </a:lnTo>
                  <a:lnTo>
                    <a:pt x="329" y="117"/>
                  </a:lnTo>
                  <a:lnTo>
                    <a:pt x="321" y="111"/>
                  </a:lnTo>
                  <a:lnTo>
                    <a:pt x="320" y="110"/>
                  </a:lnTo>
                  <a:lnTo>
                    <a:pt x="317" y="108"/>
                  </a:lnTo>
                  <a:lnTo>
                    <a:pt x="314" y="107"/>
                  </a:lnTo>
                  <a:lnTo>
                    <a:pt x="311" y="107"/>
                  </a:lnTo>
                  <a:lnTo>
                    <a:pt x="308" y="108"/>
                  </a:lnTo>
                  <a:lnTo>
                    <a:pt x="306" y="111"/>
                  </a:lnTo>
                  <a:lnTo>
                    <a:pt x="306" y="117"/>
                  </a:lnTo>
                  <a:lnTo>
                    <a:pt x="308" y="125"/>
                  </a:lnTo>
                  <a:lnTo>
                    <a:pt x="308" y="126"/>
                  </a:lnTo>
                  <a:lnTo>
                    <a:pt x="308" y="129"/>
                  </a:lnTo>
                  <a:lnTo>
                    <a:pt x="306" y="131"/>
                  </a:lnTo>
                  <a:lnTo>
                    <a:pt x="305" y="132"/>
                  </a:lnTo>
                  <a:lnTo>
                    <a:pt x="305" y="135"/>
                  </a:lnTo>
                  <a:lnTo>
                    <a:pt x="303" y="137"/>
                  </a:lnTo>
                  <a:lnTo>
                    <a:pt x="303" y="138"/>
                  </a:lnTo>
                  <a:lnTo>
                    <a:pt x="302" y="138"/>
                  </a:lnTo>
                  <a:lnTo>
                    <a:pt x="300" y="149"/>
                  </a:lnTo>
                  <a:lnTo>
                    <a:pt x="300" y="149"/>
                  </a:lnTo>
                  <a:lnTo>
                    <a:pt x="299" y="150"/>
                  </a:lnTo>
                  <a:lnTo>
                    <a:pt x="297" y="152"/>
                  </a:lnTo>
                  <a:lnTo>
                    <a:pt x="297" y="153"/>
                  </a:lnTo>
                  <a:lnTo>
                    <a:pt x="296" y="155"/>
                  </a:lnTo>
                  <a:lnTo>
                    <a:pt x="295" y="159"/>
                  </a:lnTo>
                  <a:lnTo>
                    <a:pt x="294" y="165"/>
                  </a:lnTo>
                  <a:lnTo>
                    <a:pt x="294" y="171"/>
                  </a:lnTo>
                  <a:lnTo>
                    <a:pt x="294" y="174"/>
                  </a:lnTo>
                  <a:lnTo>
                    <a:pt x="291" y="177"/>
                  </a:lnTo>
                  <a:lnTo>
                    <a:pt x="288" y="182"/>
                  </a:lnTo>
                  <a:lnTo>
                    <a:pt x="285" y="186"/>
                  </a:lnTo>
                  <a:lnTo>
                    <a:pt x="282" y="189"/>
                  </a:lnTo>
                  <a:lnTo>
                    <a:pt x="279" y="194"/>
                  </a:lnTo>
                  <a:lnTo>
                    <a:pt x="278" y="198"/>
                  </a:lnTo>
                  <a:lnTo>
                    <a:pt x="276" y="203"/>
                  </a:lnTo>
                  <a:lnTo>
                    <a:pt x="276" y="204"/>
                  </a:lnTo>
                  <a:lnTo>
                    <a:pt x="276" y="206"/>
                  </a:lnTo>
                  <a:lnTo>
                    <a:pt x="276" y="207"/>
                  </a:lnTo>
                  <a:lnTo>
                    <a:pt x="276" y="210"/>
                  </a:lnTo>
                  <a:lnTo>
                    <a:pt x="276" y="212"/>
                  </a:lnTo>
                  <a:lnTo>
                    <a:pt x="276" y="213"/>
                  </a:lnTo>
                  <a:lnTo>
                    <a:pt x="276" y="215"/>
                  </a:lnTo>
                  <a:lnTo>
                    <a:pt x="276" y="215"/>
                  </a:lnTo>
                  <a:lnTo>
                    <a:pt x="281" y="217"/>
                  </a:lnTo>
                  <a:lnTo>
                    <a:pt x="275" y="224"/>
                  </a:lnTo>
                  <a:lnTo>
                    <a:pt x="279" y="230"/>
                  </a:lnTo>
                  <a:lnTo>
                    <a:pt x="264" y="240"/>
                  </a:lnTo>
                  <a:lnTo>
                    <a:pt x="264" y="240"/>
                  </a:lnTo>
                  <a:lnTo>
                    <a:pt x="263" y="240"/>
                  </a:lnTo>
                  <a:lnTo>
                    <a:pt x="261" y="239"/>
                  </a:lnTo>
                  <a:lnTo>
                    <a:pt x="258" y="239"/>
                  </a:lnTo>
                  <a:lnTo>
                    <a:pt x="254" y="239"/>
                  </a:lnTo>
                  <a:lnTo>
                    <a:pt x="251" y="240"/>
                  </a:lnTo>
                  <a:lnTo>
                    <a:pt x="246" y="245"/>
                  </a:lnTo>
                  <a:lnTo>
                    <a:pt x="245" y="249"/>
                  </a:lnTo>
                  <a:lnTo>
                    <a:pt x="243" y="248"/>
                  </a:lnTo>
                  <a:lnTo>
                    <a:pt x="242" y="248"/>
                  </a:lnTo>
                  <a:lnTo>
                    <a:pt x="239" y="248"/>
                  </a:lnTo>
                  <a:lnTo>
                    <a:pt x="234" y="246"/>
                  </a:lnTo>
                  <a:lnTo>
                    <a:pt x="231" y="246"/>
                  </a:lnTo>
                  <a:lnTo>
                    <a:pt x="230" y="248"/>
                  </a:lnTo>
                  <a:lnTo>
                    <a:pt x="230" y="249"/>
                  </a:lnTo>
                  <a:lnTo>
                    <a:pt x="231" y="255"/>
                  </a:lnTo>
                  <a:lnTo>
                    <a:pt x="231" y="257"/>
                  </a:lnTo>
                  <a:lnTo>
                    <a:pt x="230" y="258"/>
                  </a:lnTo>
                  <a:lnTo>
                    <a:pt x="229" y="258"/>
                  </a:lnTo>
                  <a:lnTo>
                    <a:pt x="226" y="260"/>
                  </a:lnTo>
                  <a:lnTo>
                    <a:pt x="224" y="261"/>
                  </a:lnTo>
                  <a:lnTo>
                    <a:pt x="222" y="263"/>
                  </a:lnTo>
                  <a:lnTo>
                    <a:pt x="221" y="263"/>
                  </a:lnTo>
                  <a:lnTo>
                    <a:pt x="221" y="263"/>
                  </a:lnTo>
                  <a:lnTo>
                    <a:pt x="219" y="264"/>
                  </a:lnTo>
                  <a:lnTo>
                    <a:pt x="216" y="266"/>
                  </a:lnTo>
                  <a:lnTo>
                    <a:pt x="212" y="267"/>
                  </a:lnTo>
                  <a:lnTo>
                    <a:pt x="206" y="269"/>
                  </a:lnTo>
                  <a:lnTo>
                    <a:pt x="201" y="269"/>
                  </a:lnTo>
                  <a:lnTo>
                    <a:pt x="197" y="269"/>
                  </a:lnTo>
                  <a:lnTo>
                    <a:pt x="195" y="267"/>
                  </a:lnTo>
                  <a:lnTo>
                    <a:pt x="193" y="263"/>
                  </a:lnTo>
                  <a:lnTo>
                    <a:pt x="193" y="263"/>
                  </a:lnTo>
                  <a:lnTo>
                    <a:pt x="192" y="266"/>
                  </a:lnTo>
                  <a:lnTo>
                    <a:pt x="189" y="269"/>
                  </a:lnTo>
                  <a:lnTo>
                    <a:pt x="186" y="272"/>
                  </a:lnTo>
                  <a:lnTo>
                    <a:pt x="182" y="276"/>
                  </a:lnTo>
                  <a:lnTo>
                    <a:pt x="177" y="278"/>
                  </a:lnTo>
                  <a:lnTo>
                    <a:pt x="173" y="278"/>
                  </a:lnTo>
                  <a:lnTo>
                    <a:pt x="167" y="276"/>
                  </a:lnTo>
                  <a:lnTo>
                    <a:pt x="165" y="276"/>
                  </a:lnTo>
                  <a:lnTo>
                    <a:pt x="163" y="276"/>
                  </a:lnTo>
                  <a:lnTo>
                    <a:pt x="160" y="275"/>
                  </a:lnTo>
                  <a:lnTo>
                    <a:pt x="157" y="273"/>
                  </a:lnTo>
                  <a:lnTo>
                    <a:pt x="153" y="272"/>
                  </a:lnTo>
                  <a:lnTo>
                    <a:pt x="149" y="267"/>
                  </a:lnTo>
                  <a:lnTo>
                    <a:pt x="144" y="263"/>
                  </a:lnTo>
                  <a:lnTo>
                    <a:pt x="141" y="257"/>
                  </a:lnTo>
                  <a:lnTo>
                    <a:pt x="140" y="254"/>
                  </a:lnTo>
                  <a:lnTo>
                    <a:pt x="140" y="251"/>
                  </a:lnTo>
                  <a:lnTo>
                    <a:pt x="140" y="248"/>
                  </a:lnTo>
                  <a:lnTo>
                    <a:pt x="138" y="248"/>
                  </a:lnTo>
                  <a:lnTo>
                    <a:pt x="119" y="275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2"/>
                  </a:lnTo>
                  <a:lnTo>
                    <a:pt x="122" y="270"/>
                  </a:lnTo>
                  <a:lnTo>
                    <a:pt x="123" y="269"/>
                  </a:lnTo>
                  <a:lnTo>
                    <a:pt x="122" y="269"/>
                  </a:lnTo>
                  <a:lnTo>
                    <a:pt x="120" y="270"/>
                  </a:lnTo>
                  <a:lnTo>
                    <a:pt x="119" y="275"/>
                  </a:lnTo>
                  <a:lnTo>
                    <a:pt x="114" y="279"/>
                  </a:lnTo>
                  <a:lnTo>
                    <a:pt x="110" y="281"/>
                  </a:lnTo>
                  <a:lnTo>
                    <a:pt x="105" y="284"/>
                  </a:lnTo>
                  <a:lnTo>
                    <a:pt x="99" y="287"/>
                  </a:lnTo>
                  <a:lnTo>
                    <a:pt x="96" y="290"/>
                  </a:lnTo>
                  <a:lnTo>
                    <a:pt x="91" y="293"/>
                  </a:lnTo>
                  <a:lnTo>
                    <a:pt x="89" y="296"/>
                  </a:lnTo>
                  <a:lnTo>
                    <a:pt x="87" y="302"/>
                  </a:lnTo>
                  <a:lnTo>
                    <a:pt x="86" y="305"/>
                  </a:lnTo>
                  <a:lnTo>
                    <a:pt x="84" y="308"/>
                  </a:lnTo>
                  <a:lnTo>
                    <a:pt x="83" y="310"/>
                  </a:lnTo>
                  <a:lnTo>
                    <a:pt x="81" y="312"/>
                  </a:lnTo>
                  <a:lnTo>
                    <a:pt x="80" y="314"/>
                  </a:lnTo>
                  <a:lnTo>
                    <a:pt x="78" y="315"/>
                  </a:lnTo>
                  <a:lnTo>
                    <a:pt x="77" y="317"/>
                  </a:lnTo>
                  <a:lnTo>
                    <a:pt x="75" y="320"/>
                  </a:lnTo>
                  <a:lnTo>
                    <a:pt x="75" y="321"/>
                  </a:lnTo>
                  <a:lnTo>
                    <a:pt x="74" y="323"/>
                  </a:lnTo>
                  <a:lnTo>
                    <a:pt x="74" y="324"/>
                  </a:lnTo>
                  <a:lnTo>
                    <a:pt x="74" y="327"/>
                  </a:lnTo>
                  <a:lnTo>
                    <a:pt x="72" y="327"/>
                  </a:lnTo>
                  <a:lnTo>
                    <a:pt x="71" y="329"/>
                  </a:lnTo>
                  <a:lnTo>
                    <a:pt x="71" y="330"/>
                  </a:lnTo>
                  <a:lnTo>
                    <a:pt x="68" y="330"/>
                  </a:lnTo>
                  <a:lnTo>
                    <a:pt x="64" y="333"/>
                  </a:lnTo>
                  <a:lnTo>
                    <a:pt x="60" y="335"/>
                  </a:lnTo>
                  <a:lnTo>
                    <a:pt x="57" y="338"/>
                  </a:lnTo>
                  <a:lnTo>
                    <a:pt x="55" y="339"/>
                  </a:lnTo>
                  <a:lnTo>
                    <a:pt x="54" y="341"/>
                  </a:lnTo>
                  <a:lnTo>
                    <a:pt x="53" y="342"/>
                  </a:lnTo>
                  <a:lnTo>
                    <a:pt x="53" y="344"/>
                  </a:lnTo>
                  <a:lnTo>
                    <a:pt x="51" y="345"/>
                  </a:lnTo>
                  <a:lnTo>
                    <a:pt x="50" y="345"/>
                  </a:lnTo>
                  <a:lnTo>
                    <a:pt x="47" y="347"/>
                  </a:lnTo>
                  <a:lnTo>
                    <a:pt x="44" y="348"/>
                  </a:lnTo>
                  <a:lnTo>
                    <a:pt x="39" y="351"/>
                  </a:lnTo>
                  <a:lnTo>
                    <a:pt x="35" y="353"/>
                  </a:lnTo>
                  <a:lnTo>
                    <a:pt x="31" y="356"/>
                  </a:lnTo>
                  <a:lnTo>
                    <a:pt x="27" y="357"/>
                  </a:lnTo>
                  <a:lnTo>
                    <a:pt x="22" y="360"/>
                  </a:lnTo>
                  <a:lnTo>
                    <a:pt x="18" y="362"/>
                  </a:lnTo>
                  <a:lnTo>
                    <a:pt x="14" y="365"/>
                  </a:lnTo>
                  <a:lnTo>
                    <a:pt x="9" y="366"/>
                  </a:lnTo>
                  <a:lnTo>
                    <a:pt x="6" y="368"/>
                  </a:lnTo>
                  <a:lnTo>
                    <a:pt x="3" y="369"/>
                  </a:lnTo>
                  <a:lnTo>
                    <a:pt x="0" y="371"/>
                  </a:lnTo>
                  <a:lnTo>
                    <a:pt x="0" y="372"/>
                  </a:lnTo>
                  <a:lnTo>
                    <a:pt x="0" y="372"/>
                  </a:lnTo>
                  <a:lnTo>
                    <a:pt x="153" y="348"/>
                  </a:lnTo>
                  <a:lnTo>
                    <a:pt x="163" y="342"/>
                  </a:lnTo>
                  <a:lnTo>
                    <a:pt x="176" y="342"/>
                  </a:lnTo>
                  <a:lnTo>
                    <a:pt x="176" y="342"/>
                  </a:lnTo>
                  <a:lnTo>
                    <a:pt x="177" y="342"/>
                  </a:lnTo>
                  <a:lnTo>
                    <a:pt x="180" y="342"/>
                  </a:lnTo>
                  <a:lnTo>
                    <a:pt x="185" y="342"/>
                  </a:lnTo>
                  <a:lnTo>
                    <a:pt x="189" y="341"/>
                  </a:lnTo>
                  <a:lnTo>
                    <a:pt x="195" y="341"/>
                  </a:lnTo>
                  <a:lnTo>
                    <a:pt x="201" y="341"/>
                  </a:lnTo>
                  <a:lnTo>
                    <a:pt x="210" y="341"/>
                  </a:lnTo>
                  <a:lnTo>
                    <a:pt x="219" y="339"/>
                  </a:lnTo>
                  <a:lnTo>
                    <a:pt x="229" y="338"/>
                  </a:lnTo>
                  <a:lnTo>
                    <a:pt x="239" y="336"/>
                  </a:lnTo>
                  <a:lnTo>
                    <a:pt x="251" y="335"/>
                  </a:lnTo>
                  <a:lnTo>
                    <a:pt x="263" y="333"/>
                  </a:lnTo>
                  <a:lnTo>
                    <a:pt x="276" y="332"/>
                  </a:lnTo>
                  <a:lnTo>
                    <a:pt x="291" y="330"/>
                  </a:lnTo>
                  <a:lnTo>
                    <a:pt x="305" y="327"/>
                  </a:lnTo>
                  <a:lnTo>
                    <a:pt x="321" y="326"/>
                  </a:lnTo>
                  <a:lnTo>
                    <a:pt x="338" y="323"/>
                  </a:lnTo>
                  <a:lnTo>
                    <a:pt x="356" y="320"/>
                  </a:lnTo>
                  <a:lnTo>
                    <a:pt x="374" y="317"/>
                  </a:lnTo>
                  <a:lnTo>
                    <a:pt x="393" y="314"/>
                  </a:lnTo>
                  <a:lnTo>
                    <a:pt x="411" y="310"/>
                  </a:lnTo>
                  <a:lnTo>
                    <a:pt x="431" y="308"/>
                  </a:lnTo>
                  <a:lnTo>
                    <a:pt x="453" y="303"/>
                  </a:lnTo>
                  <a:lnTo>
                    <a:pt x="474" y="300"/>
                  </a:lnTo>
                  <a:lnTo>
                    <a:pt x="496" y="296"/>
                  </a:lnTo>
                  <a:lnTo>
                    <a:pt x="519" y="290"/>
                  </a:lnTo>
                  <a:lnTo>
                    <a:pt x="542" y="285"/>
                  </a:lnTo>
                  <a:lnTo>
                    <a:pt x="566" y="279"/>
                  </a:lnTo>
                  <a:lnTo>
                    <a:pt x="591" y="276"/>
                  </a:lnTo>
                  <a:lnTo>
                    <a:pt x="615" y="270"/>
                  </a:lnTo>
                  <a:lnTo>
                    <a:pt x="641" y="263"/>
                  </a:lnTo>
                  <a:lnTo>
                    <a:pt x="645" y="261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" name="Freeform 146"/>
            <p:cNvSpPr>
              <a:spLocks/>
            </p:cNvSpPr>
            <p:nvPr/>
          </p:nvSpPr>
          <p:spPr bwMode="auto">
            <a:xfrm>
              <a:off x="2918430" y="4667170"/>
              <a:ext cx="443068" cy="250247"/>
            </a:xfrm>
            <a:custGeom>
              <a:avLst/>
              <a:gdLst>
                <a:gd name="T0" fmla="*/ 650 w 660"/>
                <a:gd name="T1" fmla="*/ 261 h 373"/>
                <a:gd name="T2" fmla="*/ 656 w 660"/>
                <a:gd name="T3" fmla="*/ 260 h 373"/>
                <a:gd name="T4" fmla="*/ 628 w 660"/>
                <a:gd name="T5" fmla="*/ 225 h 373"/>
                <a:gd name="T6" fmla="*/ 614 w 660"/>
                <a:gd name="T7" fmla="*/ 222 h 373"/>
                <a:gd name="T8" fmla="*/ 615 w 660"/>
                <a:gd name="T9" fmla="*/ 233 h 373"/>
                <a:gd name="T10" fmla="*/ 608 w 660"/>
                <a:gd name="T11" fmla="*/ 233 h 373"/>
                <a:gd name="T12" fmla="*/ 536 w 660"/>
                <a:gd name="T13" fmla="*/ 203 h 373"/>
                <a:gd name="T14" fmla="*/ 562 w 660"/>
                <a:gd name="T15" fmla="*/ 179 h 373"/>
                <a:gd name="T16" fmla="*/ 606 w 660"/>
                <a:gd name="T17" fmla="*/ 186 h 373"/>
                <a:gd name="T18" fmla="*/ 560 w 660"/>
                <a:gd name="T19" fmla="*/ 141 h 373"/>
                <a:gd name="T20" fmla="*/ 593 w 660"/>
                <a:gd name="T21" fmla="*/ 125 h 373"/>
                <a:gd name="T22" fmla="*/ 560 w 660"/>
                <a:gd name="T23" fmla="*/ 107 h 373"/>
                <a:gd name="T24" fmla="*/ 525 w 660"/>
                <a:gd name="T25" fmla="*/ 93 h 373"/>
                <a:gd name="T26" fmla="*/ 515 w 660"/>
                <a:gd name="T27" fmla="*/ 93 h 373"/>
                <a:gd name="T28" fmla="*/ 500 w 660"/>
                <a:gd name="T29" fmla="*/ 93 h 373"/>
                <a:gd name="T30" fmla="*/ 500 w 660"/>
                <a:gd name="T31" fmla="*/ 66 h 373"/>
                <a:gd name="T32" fmla="*/ 515 w 660"/>
                <a:gd name="T33" fmla="*/ 47 h 373"/>
                <a:gd name="T34" fmla="*/ 491 w 660"/>
                <a:gd name="T35" fmla="*/ 24 h 373"/>
                <a:gd name="T36" fmla="*/ 471 w 660"/>
                <a:gd name="T37" fmla="*/ 8 h 373"/>
                <a:gd name="T38" fmla="*/ 455 w 660"/>
                <a:gd name="T39" fmla="*/ 3 h 373"/>
                <a:gd name="T40" fmla="*/ 450 w 660"/>
                <a:gd name="T41" fmla="*/ 11 h 373"/>
                <a:gd name="T42" fmla="*/ 423 w 660"/>
                <a:gd name="T43" fmla="*/ 11 h 373"/>
                <a:gd name="T44" fmla="*/ 399 w 660"/>
                <a:gd name="T45" fmla="*/ 0 h 373"/>
                <a:gd name="T46" fmla="*/ 390 w 660"/>
                <a:gd name="T47" fmla="*/ 42 h 373"/>
                <a:gd name="T48" fmla="*/ 375 w 660"/>
                <a:gd name="T49" fmla="*/ 60 h 373"/>
                <a:gd name="T50" fmla="*/ 363 w 660"/>
                <a:gd name="T51" fmla="*/ 74 h 373"/>
                <a:gd name="T52" fmla="*/ 353 w 660"/>
                <a:gd name="T53" fmla="*/ 74 h 373"/>
                <a:gd name="T54" fmla="*/ 350 w 660"/>
                <a:gd name="T55" fmla="*/ 95 h 373"/>
                <a:gd name="T56" fmla="*/ 347 w 660"/>
                <a:gd name="T57" fmla="*/ 104 h 373"/>
                <a:gd name="T58" fmla="*/ 321 w 660"/>
                <a:gd name="T59" fmla="*/ 111 h 373"/>
                <a:gd name="T60" fmla="*/ 306 w 660"/>
                <a:gd name="T61" fmla="*/ 117 h 373"/>
                <a:gd name="T62" fmla="*/ 305 w 660"/>
                <a:gd name="T63" fmla="*/ 135 h 373"/>
                <a:gd name="T64" fmla="*/ 299 w 660"/>
                <a:gd name="T65" fmla="*/ 150 h 373"/>
                <a:gd name="T66" fmla="*/ 294 w 660"/>
                <a:gd name="T67" fmla="*/ 171 h 373"/>
                <a:gd name="T68" fmla="*/ 278 w 660"/>
                <a:gd name="T69" fmla="*/ 198 h 373"/>
                <a:gd name="T70" fmla="*/ 276 w 660"/>
                <a:gd name="T71" fmla="*/ 212 h 373"/>
                <a:gd name="T72" fmla="*/ 264 w 660"/>
                <a:gd name="T73" fmla="*/ 240 h 373"/>
                <a:gd name="T74" fmla="*/ 251 w 660"/>
                <a:gd name="T75" fmla="*/ 240 h 373"/>
                <a:gd name="T76" fmla="*/ 234 w 660"/>
                <a:gd name="T77" fmla="*/ 246 h 373"/>
                <a:gd name="T78" fmla="*/ 230 w 660"/>
                <a:gd name="T79" fmla="*/ 258 h 373"/>
                <a:gd name="T80" fmla="*/ 221 w 660"/>
                <a:gd name="T81" fmla="*/ 263 h 373"/>
                <a:gd name="T82" fmla="*/ 195 w 660"/>
                <a:gd name="T83" fmla="*/ 267 h 373"/>
                <a:gd name="T84" fmla="*/ 182 w 660"/>
                <a:gd name="T85" fmla="*/ 276 h 373"/>
                <a:gd name="T86" fmla="*/ 160 w 660"/>
                <a:gd name="T87" fmla="*/ 275 h 373"/>
                <a:gd name="T88" fmla="*/ 140 w 660"/>
                <a:gd name="T89" fmla="*/ 254 h 373"/>
                <a:gd name="T90" fmla="*/ 120 w 660"/>
                <a:gd name="T91" fmla="*/ 273 h 373"/>
                <a:gd name="T92" fmla="*/ 119 w 660"/>
                <a:gd name="T93" fmla="*/ 275 h 373"/>
                <a:gd name="T94" fmla="*/ 89 w 660"/>
                <a:gd name="T95" fmla="*/ 296 h 373"/>
                <a:gd name="T96" fmla="*/ 80 w 660"/>
                <a:gd name="T97" fmla="*/ 314 h 373"/>
                <a:gd name="T98" fmla="*/ 74 w 660"/>
                <a:gd name="T99" fmla="*/ 324 h 373"/>
                <a:gd name="T100" fmla="*/ 64 w 660"/>
                <a:gd name="T101" fmla="*/ 333 h 373"/>
                <a:gd name="T102" fmla="*/ 51 w 660"/>
                <a:gd name="T103" fmla="*/ 345 h 373"/>
                <a:gd name="T104" fmla="*/ 31 w 660"/>
                <a:gd name="T105" fmla="*/ 356 h 373"/>
                <a:gd name="T106" fmla="*/ 3 w 660"/>
                <a:gd name="T107" fmla="*/ 369 h 373"/>
                <a:gd name="T108" fmla="*/ 176 w 660"/>
                <a:gd name="T109" fmla="*/ 342 h 373"/>
                <a:gd name="T110" fmla="*/ 201 w 660"/>
                <a:gd name="T111" fmla="*/ 341 h 373"/>
                <a:gd name="T112" fmla="*/ 276 w 660"/>
                <a:gd name="T113" fmla="*/ 332 h 373"/>
                <a:gd name="T114" fmla="*/ 393 w 660"/>
                <a:gd name="T115" fmla="*/ 314 h 373"/>
                <a:gd name="T116" fmla="*/ 542 w 660"/>
                <a:gd name="T117" fmla="*/ 285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0" h="373">
                  <a:moveTo>
                    <a:pt x="645" y="261"/>
                  </a:moveTo>
                  <a:lnTo>
                    <a:pt x="645" y="261"/>
                  </a:lnTo>
                  <a:lnTo>
                    <a:pt x="647" y="261"/>
                  </a:lnTo>
                  <a:lnTo>
                    <a:pt x="648" y="263"/>
                  </a:lnTo>
                  <a:lnTo>
                    <a:pt x="650" y="263"/>
                  </a:lnTo>
                  <a:lnTo>
                    <a:pt x="650" y="261"/>
                  </a:lnTo>
                  <a:lnTo>
                    <a:pt x="650" y="261"/>
                  </a:lnTo>
                  <a:lnTo>
                    <a:pt x="647" y="251"/>
                  </a:lnTo>
                  <a:lnTo>
                    <a:pt x="647" y="248"/>
                  </a:lnTo>
                  <a:lnTo>
                    <a:pt x="647" y="248"/>
                  </a:lnTo>
                  <a:lnTo>
                    <a:pt x="648" y="248"/>
                  </a:lnTo>
                  <a:lnTo>
                    <a:pt x="651" y="251"/>
                  </a:lnTo>
                  <a:lnTo>
                    <a:pt x="653" y="257"/>
                  </a:lnTo>
                  <a:lnTo>
                    <a:pt x="656" y="260"/>
                  </a:lnTo>
                  <a:lnTo>
                    <a:pt x="656" y="261"/>
                  </a:lnTo>
                  <a:lnTo>
                    <a:pt x="659" y="257"/>
                  </a:lnTo>
                  <a:lnTo>
                    <a:pt x="642" y="222"/>
                  </a:lnTo>
                  <a:lnTo>
                    <a:pt x="635" y="221"/>
                  </a:lnTo>
                  <a:lnTo>
                    <a:pt x="629" y="225"/>
                  </a:lnTo>
                  <a:lnTo>
                    <a:pt x="629" y="225"/>
                  </a:lnTo>
                  <a:lnTo>
                    <a:pt x="628" y="225"/>
                  </a:lnTo>
                  <a:lnTo>
                    <a:pt x="626" y="225"/>
                  </a:lnTo>
                  <a:lnTo>
                    <a:pt x="624" y="225"/>
                  </a:lnTo>
                  <a:lnTo>
                    <a:pt x="623" y="225"/>
                  </a:lnTo>
                  <a:lnTo>
                    <a:pt x="623" y="225"/>
                  </a:lnTo>
                  <a:lnTo>
                    <a:pt x="618" y="222"/>
                  </a:lnTo>
                  <a:lnTo>
                    <a:pt x="615" y="221"/>
                  </a:lnTo>
                  <a:lnTo>
                    <a:pt x="614" y="222"/>
                  </a:lnTo>
                  <a:lnTo>
                    <a:pt x="612" y="224"/>
                  </a:lnTo>
                  <a:lnTo>
                    <a:pt x="612" y="225"/>
                  </a:lnTo>
                  <a:lnTo>
                    <a:pt x="612" y="227"/>
                  </a:lnTo>
                  <a:lnTo>
                    <a:pt x="612" y="228"/>
                  </a:lnTo>
                  <a:lnTo>
                    <a:pt x="612" y="230"/>
                  </a:lnTo>
                  <a:lnTo>
                    <a:pt x="612" y="230"/>
                  </a:lnTo>
                  <a:lnTo>
                    <a:pt x="615" y="233"/>
                  </a:lnTo>
                  <a:lnTo>
                    <a:pt x="617" y="236"/>
                  </a:lnTo>
                  <a:lnTo>
                    <a:pt x="615" y="236"/>
                  </a:lnTo>
                  <a:lnTo>
                    <a:pt x="614" y="236"/>
                  </a:lnTo>
                  <a:lnTo>
                    <a:pt x="612" y="236"/>
                  </a:lnTo>
                  <a:lnTo>
                    <a:pt x="609" y="234"/>
                  </a:lnTo>
                  <a:lnTo>
                    <a:pt x="608" y="234"/>
                  </a:lnTo>
                  <a:lnTo>
                    <a:pt x="608" y="233"/>
                  </a:lnTo>
                  <a:lnTo>
                    <a:pt x="599" y="233"/>
                  </a:lnTo>
                  <a:lnTo>
                    <a:pt x="593" y="227"/>
                  </a:lnTo>
                  <a:lnTo>
                    <a:pt x="587" y="224"/>
                  </a:lnTo>
                  <a:lnTo>
                    <a:pt x="578" y="212"/>
                  </a:lnTo>
                  <a:lnTo>
                    <a:pt x="562" y="210"/>
                  </a:lnTo>
                  <a:lnTo>
                    <a:pt x="552" y="209"/>
                  </a:lnTo>
                  <a:lnTo>
                    <a:pt x="536" y="203"/>
                  </a:lnTo>
                  <a:lnTo>
                    <a:pt x="549" y="201"/>
                  </a:lnTo>
                  <a:lnTo>
                    <a:pt x="581" y="206"/>
                  </a:lnTo>
                  <a:lnTo>
                    <a:pt x="602" y="224"/>
                  </a:lnTo>
                  <a:lnTo>
                    <a:pt x="612" y="213"/>
                  </a:lnTo>
                  <a:lnTo>
                    <a:pt x="596" y="201"/>
                  </a:lnTo>
                  <a:lnTo>
                    <a:pt x="579" y="194"/>
                  </a:lnTo>
                  <a:lnTo>
                    <a:pt x="562" y="179"/>
                  </a:lnTo>
                  <a:lnTo>
                    <a:pt x="568" y="180"/>
                  </a:lnTo>
                  <a:lnTo>
                    <a:pt x="585" y="192"/>
                  </a:lnTo>
                  <a:lnTo>
                    <a:pt x="593" y="197"/>
                  </a:lnTo>
                  <a:lnTo>
                    <a:pt x="599" y="192"/>
                  </a:lnTo>
                  <a:lnTo>
                    <a:pt x="593" y="186"/>
                  </a:lnTo>
                  <a:lnTo>
                    <a:pt x="593" y="179"/>
                  </a:lnTo>
                  <a:lnTo>
                    <a:pt x="606" y="186"/>
                  </a:lnTo>
                  <a:lnTo>
                    <a:pt x="606" y="174"/>
                  </a:lnTo>
                  <a:lnTo>
                    <a:pt x="596" y="167"/>
                  </a:lnTo>
                  <a:lnTo>
                    <a:pt x="593" y="159"/>
                  </a:lnTo>
                  <a:lnTo>
                    <a:pt x="578" y="158"/>
                  </a:lnTo>
                  <a:lnTo>
                    <a:pt x="557" y="143"/>
                  </a:lnTo>
                  <a:lnTo>
                    <a:pt x="542" y="126"/>
                  </a:lnTo>
                  <a:lnTo>
                    <a:pt x="560" y="141"/>
                  </a:lnTo>
                  <a:lnTo>
                    <a:pt x="579" y="154"/>
                  </a:lnTo>
                  <a:lnTo>
                    <a:pt x="593" y="155"/>
                  </a:lnTo>
                  <a:lnTo>
                    <a:pt x="593" y="137"/>
                  </a:lnTo>
                  <a:lnTo>
                    <a:pt x="599" y="129"/>
                  </a:lnTo>
                  <a:lnTo>
                    <a:pt x="599" y="125"/>
                  </a:lnTo>
                  <a:lnTo>
                    <a:pt x="599" y="125"/>
                  </a:lnTo>
                  <a:lnTo>
                    <a:pt x="593" y="125"/>
                  </a:lnTo>
                  <a:lnTo>
                    <a:pt x="587" y="123"/>
                  </a:lnTo>
                  <a:lnTo>
                    <a:pt x="581" y="120"/>
                  </a:lnTo>
                  <a:lnTo>
                    <a:pt x="573" y="117"/>
                  </a:lnTo>
                  <a:lnTo>
                    <a:pt x="569" y="113"/>
                  </a:lnTo>
                  <a:lnTo>
                    <a:pt x="563" y="110"/>
                  </a:lnTo>
                  <a:lnTo>
                    <a:pt x="560" y="108"/>
                  </a:lnTo>
                  <a:lnTo>
                    <a:pt x="560" y="107"/>
                  </a:lnTo>
                  <a:lnTo>
                    <a:pt x="560" y="107"/>
                  </a:lnTo>
                  <a:lnTo>
                    <a:pt x="549" y="107"/>
                  </a:lnTo>
                  <a:lnTo>
                    <a:pt x="540" y="104"/>
                  </a:lnTo>
                  <a:lnTo>
                    <a:pt x="533" y="102"/>
                  </a:lnTo>
                  <a:lnTo>
                    <a:pt x="529" y="99"/>
                  </a:lnTo>
                  <a:lnTo>
                    <a:pt x="527" y="96"/>
                  </a:lnTo>
                  <a:lnTo>
                    <a:pt x="525" y="93"/>
                  </a:lnTo>
                  <a:lnTo>
                    <a:pt x="524" y="93"/>
                  </a:lnTo>
                  <a:lnTo>
                    <a:pt x="524" y="93"/>
                  </a:lnTo>
                  <a:lnTo>
                    <a:pt x="524" y="93"/>
                  </a:lnTo>
                  <a:lnTo>
                    <a:pt x="524" y="93"/>
                  </a:lnTo>
                  <a:lnTo>
                    <a:pt x="521" y="93"/>
                  </a:lnTo>
                  <a:lnTo>
                    <a:pt x="518" y="93"/>
                  </a:lnTo>
                  <a:lnTo>
                    <a:pt x="515" y="93"/>
                  </a:lnTo>
                  <a:lnTo>
                    <a:pt x="512" y="95"/>
                  </a:lnTo>
                  <a:lnTo>
                    <a:pt x="509" y="95"/>
                  </a:lnTo>
                  <a:lnTo>
                    <a:pt x="506" y="96"/>
                  </a:lnTo>
                  <a:lnTo>
                    <a:pt x="506" y="96"/>
                  </a:lnTo>
                  <a:lnTo>
                    <a:pt x="506" y="96"/>
                  </a:lnTo>
                  <a:lnTo>
                    <a:pt x="501" y="95"/>
                  </a:lnTo>
                  <a:lnTo>
                    <a:pt x="500" y="93"/>
                  </a:lnTo>
                  <a:lnTo>
                    <a:pt x="499" y="87"/>
                  </a:lnTo>
                  <a:lnTo>
                    <a:pt x="499" y="83"/>
                  </a:lnTo>
                  <a:lnTo>
                    <a:pt x="499" y="77"/>
                  </a:lnTo>
                  <a:lnTo>
                    <a:pt x="499" y="72"/>
                  </a:lnTo>
                  <a:lnTo>
                    <a:pt x="500" y="68"/>
                  </a:lnTo>
                  <a:lnTo>
                    <a:pt x="500" y="66"/>
                  </a:lnTo>
                  <a:lnTo>
                    <a:pt x="500" y="66"/>
                  </a:lnTo>
                  <a:lnTo>
                    <a:pt x="501" y="66"/>
                  </a:lnTo>
                  <a:lnTo>
                    <a:pt x="503" y="65"/>
                  </a:lnTo>
                  <a:lnTo>
                    <a:pt x="506" y="63"/>
                  </a:lnTo>
                  <a:lnTo>
                    <a:pt x="507" y="62"/>
                  </a:lnTo>
                  <a:lnTo>
                    <a:pt x="507" y="62"/>
                  </a:lnTo>
                  <a:lnTo>
                    <a:pt x="513" y="54"/>
                  </a:lnTo>
                  <a:lnTo>
                    <a:pt x="515" y="47"/>
                  </a:lnTo>
                  <a:lnTo>
                    <a:pt x="513" y="39"/>
                  </a:lnTo>
                  <a:lnTo>
                    <a:pt x="509" y="33"/>
                  </a:lnTo>
                  <a:lnTo>
                    <a:pt x="503" y="30"/>
                  </a:lnTo>
                  <a:lnTo>
                    <a:pt x="497" y="27"/>
                  </a:lnTo>
                  <a:lnTo>
                    <a:pt x="494" y="26"/>
                  </a:lnTo>
                  <a:lnTo>
                    <a:pt x="491" y="24"/>
                  </a:lnTo>
                  <a:lnTo>
                    <a:pt x="491" y="24"/>
                  </a:lnTo>
                  <a:lnTo>
                    <a:pt x="480" y="24"/>
                  </a:lnTo>
                  <a:lnTo>
                    <a:pt x="474" y="21"/>
                  </a:lnTo>
                  <a:lnTo>
                    <a:pt x="470" y="20"/>
                  </a:lnTo>
                  <a:lnTo>
                    <a:pt x="470" y="15"/>
                  </a:lnTo>
                  <a:lnTo>
                    <a:pt x="470" y="12"/>
                  </a:lnTo>
                  <a:lnTo>
                    <a:pt x="470" y="11"/>
                  </a:lnTo>
                  <a:lnTo>
                    <a:pt x="471" y="8"/>
                  </a:lnTo>
                  <a:lnTo>
                    <a:pt x="471" y="6"/>
                  </a:lnTo>
                  <a:lnTo>
                    <a:pt x="471" y="6"/>
                  </a:lnTo>
                  <a:lnTo>
                    <a:pt x="468" y="3"/>
                  </a:lnTo>
                  <a:lnTo>
                    <a:pt x="465" y="0"/>
                  </a:lnTo>
                  <a:lnTo>
                    <a:pt x="461" y="0"/>
                  </a:lnTo>
                  <a:lnTo>
                    <a:pt x="459" y="2"/>
                  </a:lnTo>
                  <a:lnTo>
                    <a:pt x="455" y="3"/>
                  </a:lnTo>
                  <a:lnTo>
                    <a:pt x="452" y="3"/>
                  </a:lnTo>
                  <a:lnTo>
                    <a:pt x="450" y="5"/>
                  </a:lnTo>
                  <a:lnTo>
                    <a:pt x="449" y="6"/>
                  </a:lnTo>
                  <a:lnTo>
                    <a:pt x="450" y="6"/>
                  </a:lnTo>
                  <a:lnTo>
                    <a:pt x="450" y="6"/>
                  </a:lnTo>
                  <a:lnTo>
                    <a:pt x="450" y="8"/>
                  </a:lnTo>
                  <a:lnTo>
                    <a:pt x="450" y="11"/>
                  </a:lnTo>
                  <a:lnTo>
                    <a:pt x="450" y="14"/>
                  </a:lnTo>
                  <a:lnTo>
                    <a:pt x="449" y="15"/>
                  </a:lnTo>
                  <a:lnTo>
                    <a:pt x="446" y="17"/>
                  </a:lnTo>
                  <a:lnTo>
                    <a:pt x="441" y="18"/>
                  </a:lnTo>
                  <a:lnTo>
                    <a:pt x="434" y="15"/>
                  </a:lnTo>
                  <a:lnTo>
                    <a:pt x="423" y="11"/>
                  </a:lnTo>
                  <a:lnTo>
                    <a:pt x="423" y="11"/>
                  </a:lnTo>
                  <a:lnTo>
                    <a:pt x="422" y="9"/>
                  </a:lnTo>
                  <a:lnTo>
                    <a:pt x="419" y="8"/>
                  </a:lnTo>
                  <a:lnTo>
                    <a:pt x="414" y="6"/>
                  </a:lnTo>
                  <a:lnTo>
                    <a:pt x="410" y="5"/>
                  </a:lnTo>
                  <a:lnTo>
                    <a:pt x="407" y="2"/>
                  </a:lnTo>
                  <a:lnTo>
                    <a:pt x="402" y="0"/>
                  </a:lnTo>
                  <a:lnTo>
                    <a:pt x="399" y="0"/>
                  </a:lnTo>
                  <a:lnTo>
                    <a:pt x="399" y="0"/>
                  </a:lnTo>
                  <a:lnTo>
                    <a:pt x="397" y="29"/>
                  </a:lnTo>
                  <a:lnTo>
                    <a:pt x="393" y="32"/>
                  </a:lnTo>
                  <a:lnTo>
                    <a:pt x="393" y="32"/>
                  </a:lnTo>
                  <a:lnTo>
                    <a:pt x="393" y="33"/>
                  </a:lnTo>
                  <a:lnTo>
                    <a:pt x="392" y="38"/>
                  </a:lnTo>
                  <a:lnTo>
                    <a:pt x="390" y="42"/>
                  </a:lnTo>
                  <a:lnTo>
                    <a:pt x="387" y="48"/>
                  </a:lnTo>
                  <a:lnTo>
                    <a:pt x="384" y="54"/>
                  </a:lnTo>
                  <a:lnTo>
                    <a:pt x="381" y="57"/>
                  </a:lnTo>
                  <a:lnTo>
                    <a:pt x="378" y="60"/>
                  </a:lnTo>
                  <a:lnTo>
                    <a:pt x="375" y="59"/>
                  </a:lnTo>
                  <a:lnTo>
                    <a:pt x="375" y="59"/>
                  </a:lnTo>
                  <a:lnTo>
                    <a:pt x="375" y="60"/>
                  </a:lnTo>
                  <a:lnTo>
                    <a:pt x="375" y="62"/>
                  </a:lnTo>
                  <a:lnTo>
                    <a:pt x="374" y="65"/>
                  </a:lnTo>
                  <a:lnTo>
                    <a:pt x="372" y="69"/>
                  </a:lnTo>
                  <a:lnTo>
                    <a:pt x="371" y="74"/>
                  </a:lnTo>
                  <a:lnTo>
                    <a:pt x="368" y="77"/>
                  </a:lnTo>
                  <a:lnTo>
                    <a:pt x="366" y="77"/>
                  </a:lnTo>
                  <a:lnTo>
                    <a:pt x="363" y="74"/>
                  </a:lnTo>
                  <a:lnTo>
                    <a:pt x="363" y="74"/>
                  </a:lnTo>
                  <a:lnTo>
                    <a:pt x="362" y="74"/>
                  </a:lnTo>
                  <a:lnTo>
                    <a:pt x="362" y="72"/>
                  </a:lnTo>
                  <a:lnTo>
                    <a:pt x="360" y="71"/>
                  </a:lnTo>
                  <a:lnTo>
                    <a:pt x="357" y="71"/>
                  </a:lnTo>
                  <a:lnTo>
                    <a:pt x="356" y="72"/>
                  </a:lnTo>
                  <a:lnTo>
                    <a:pt x="353" y="74"/>
                  </a:lnTo>
                  <a:lnTo>
                    <a:pt x="351" y="80"/>
                  </a:lnTo>
                  <a:lnTo>
                    <a:pt x="351" y="89"/>
                  </a:lnTo>
                  <a:lnTo>
                    <a:pt x="351" y="89"/>
                  </a:lnTo>
                  <a:lnTo>
                    <a:pt x="351" y="90"/>
                  </a:lnTo>
                  <a:lnTo>
                    <a:pt x="351" y="91"/>
                  </a:lnTo>
                  <a:lnTo>
                    <a:pt x="350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8" y="98"/>
                  </a:lnTo>
                  <a:lnTo>
                    <a:pt x="348" y="99"/>
                  </a:lnTo>
                  <a:lnTo>
                    <a:pt x="348" y="99"/>
                  </a:lnTo>
                  <a:lnTo>
                    <a:pt x="348" y="99"/>
                  </a:lnTo>
                  <a:lnTo>
                    <a:pt x="348" y="101"/>
                  </a:lnTo>
                  <a:lnTo>
                    <a:pt x="347" y="104"/>
                  </a:lnTo>
                  <a:lnTo>
                    <a:pt x="345" y="110"/>
                  </a:lnTo>
                  <a:lnTo>
                    <a:pt x="344" y="114"/>
                  </a:lnTo>
                  <a:lnTo>
                    <a:pt x="339" y="117"/>
                  </a:lnTo>
                  <a:lnTo>
                    <a:pt x="335" y="119"/>
                  </a:lnTo>
                  <a:lnTo>
                    <a:pt x="329" y="117"/>
                  </a:lnTo>
                  <a:lnTo>
                    <a:pt x="321" y="111"/>
                  </a:lnTo>
                  <a:lnTo>
                    <a:pt x="321" y="111"/>
                  </a:lnTo>
                  <a:lnTo>
                    <a:pt x="320" y="110"/>
                  </a:lnTo>
                  <a:lnTo>
                    <a:pt x="317" y="108"/>
                  </a:lnTo>
                  <a:lnTo>
                    <a:pt x="314" y="107"/>
                  </a:lnTo>
                  <a:lnTo>
                    <a:pt x="311" y="107"/>
                  </a:lnTo>
                  <a:lnTo>
                    <a:pt x="308" y="108"/>
                  </a:lnTo>
                  <a:lnTo>
                    <a:pt x="306" y="111"/>
                  </a:lnTo>
                  <a:lnTo>
                    <a:pt x="306" y="117"/>
                  </a:lnTo>
                  <a:lnTo>
                    <a:pt x="308" y="125"/>
                  </a:lnTo>
                  <a:lnTo>
                    <a:pt x="308" y="125"/>
                  </a:lnTo>
                  <a:lnTo>
                    <a:pt x="308" y="126"/>
                  </a:lnTo>
                  <a:lnTo>
                    <a:pt x="308" y="129"/>
                  </a:lnTo>
                  <a:lnTo>
                    <a:pt x="306" y="131"/>
                  </a:lnTo>
                  <a:lnTo>
                    <a:pt x="305" y="132"/>
                  </a:lnTo>
                  <a:lnTo>
                    <a:pt x="305" y="135"/>
                  </a:lnTo>
                  <a:lnTo>
                    <a:pt x="303" y="137"/>
                  </a:lnTo>
                  <a:lnTo>
                    <a:pt x="303" y="138"/>
                  </a:lnTo>
                  <a:lnTo>
                    <a:pt x="302" y="138"/>
                  </a:lnTo>
                  <a:lnTo>
                    <a:pt x="300" y="149"/>
                  </a:lnTo>
                  <a:lnTo>
                    <a:pt x="300" y="149"/>
                  </a:lnTo>
                  <a:lnTo>
                    <a:pt x="300" y="149"/>
                  </a:lnTo>
                  <a:lnTo>
                    <a:pt x="299" y="150"/>
                  </a:lnTo>
                  <a:lnTo>
                    <a:pt x="297" y="152"/>
                  </a:lnTo>
                  <a:lnTo>
                    <a:pt x="297" y="153"/>
                  </a:lnTo>
                  <a:lnTo>
                    <a:pt x="296" y="155"/>
                  </a:lnTo>
                  <a:lnTo>
                    <a:pt x="295" y="159"/>
                  </a:lnTo>
                  <a:lnTo>
                    <a:pt x="294" y="165"/>
                  </a:lnTo>
                  <a:lnTo>
                    <a:pt x="294" y="171"/>
                  </a:lnTo>
                  <a:lnTo>
                    <a:pt x="294" y="171"/>
                  </a:lnTo>
                  <a:lnTo>
                    <a:pt x="294" y="174"/>
                  </a:lnTo>
                  <a:lnTo>
                    <a:pt x="291" y="177"/>
                  </a:lnTo>
                  <a:lnTo>
                    <a:pt x="288" y="182"/>
                  </a:lnTo>
                  <a:lnTo>
                    <a:pt x="285" y="186"/>
                  </a:lnTo>
                  <a:lnTo>
                    <a:pt x="282" y="189"/>
                  </a:lnTo>
                  <a:lnTo>
                    <a:pt x="279" y="194"/>
                  </a:lnTo>
                  <a:lnTo>
                    <a:pt x="278" y="198"/>
                  </a:lnTo>
                  <a:lnTo>
                    <a:pt x="276" y="203"/>
                  </a:lnTo>
                  <a:lnTo>
                    <a:pt x="276" y="203"/>
                  </a:lnTo>
                  <a:lnTo>
                    <a:pt x="276" y="204"/>
                  </a:lnTo>
                  <a:lnTo>
                    <a:pt x="276" y="206"/>
                  </a:lnTo>
                  <a:lnTo>
                    <a:pt x="276" y="207"/>
                  </a:lnTo>
                  <a:lnTo>
                    <a:pt x="276" y="210"/>
                  </a:lnTo>
                  <a:lnTo>
                    <a:pt x="276" y="212"/>
                  </a:lnTo>
                  <a:lnTo>
                    <a:pt x="276" y="213"/>
                  </a:lnTo>
                  <a:lnTo>
                    <a:pt x="276" y="215"/>
                  </a:lnTo>
                  <a:lnTo>
                    <a:pt x="276" y="215"/>
                  </a:lnTo>
                  <a:lnTo>
                    <a:pt x="281" y="217"/>
                  </a:lnTo>
                  <a:lnTo>
                    <a:pt x="275" y="224"/>
                  </a:lnTo>
                  <a:lnTo>
                    <a:pt x="279" y="230"/>
                  </a:lnTo>
                  <a:lnTo>
                    <a:pt x="264" y="240"/>
                  </a:lnTo>
                  <a:lnTo>
                    <a:pt x="264" y="240"/>
                  </a:lnTo>
                  <a:lnTo>
                    <a:pt x="264" y="240"/>
                  </a:lnTo>
                  <a:lnTo>
                    <a:pt x="263" y="240"/>
                  </a:lnTo>
                  <a:lnTo>
                    <a:pt x="261" y="239"/>
                  </a:lnTo>
                  <a:lnTo>
                    <a:pt x="258" y="239"/>
                  </a:lnTo>
                  <a:lnTo>
                    <a:pt x="254" y="239"/>
                  </a:lnTo>
                  <a:lnTo>
                    <a:pt x="251" y="240"/>
                  </a:lnTo>
                  <a:lnTo>
                    <a:pt x="246" y="245"/>
                  </a:lnTo>
                  <a:lnTo>
                    <a:pt x="245" y="249"/>
                  </a:lnTo>
                  <a:lnTo>
                    <a:pt x="245" y="249"/>
                  </a:lnTo>
                  <a:lnTo>
                    <a:pt x="243" y="248"/>
                  </a:lnTo>
                  <a:lnTo>
                    <a:pt x="242" y="248"/>
                  </a:lnTo>
                  <a:lnTo>
                    <a:pt x="239" y="248"/>
                  </a:lnTo>
                  <a:lnTo>
                    <a:pt x="234" y="246"/>
                  </a:lnTo>
                  <a:lnTo>
                    <a:pt x="231" y="246"/>
                  </a:lnTo>
                  <a:lnTo>
                    <a:pt x="230" y="248"/>
                  </a:lnTo>
                  <a:lnTo>
                    <a:pt x="230" y="249"/>
                  </a:lnTo>
                  <a:lnTo>
                    <a:pt x="231" y="255"/>
                  </a:lnTo>
                  <a:lnTo>
                    <a:pt x="231" y="255"/>
                  </a:lnTo>
                  <a:lnTo>
                    <a:pt x="231" y="257"/>
                  </a:lnTo>
                  <a:lnTo>
                    <a:pt x="230" y="258"/>
                  </a:lnTo>
                  <a:lnTo>
                    <a:pt x="229" y="258"/>
                  </a:lnTo>
                  <a:lnTo>
                    <a:pt x="226" y="260"/>
                  </a:lnTo>
                  <a:lnTo>
                    <a:pt x="224" y="261"/>
                  </a:lnTo>
                  <a:lnTo>
                    <a:pt x="222" y="263"/>
                  </a:lnTo>
                  <a:lnTo>
                    <a:pt x="221" y="263"/>
                  </a:lnTo>
                  <a:lnTo>
                    <a:pt x="221" y="263"/>
                  </a:lnTo>
                  <a:lnTo>
                    <a:pt x="221" y="263"/>
                  </a:lnTo>
                  <a:lnTo>
                    <a:pt x="219" y="264"/>
                  </a:lnTo>
                  <a:lnTo>
                    <a:pt x="216" y="266"/>
                  </a:lnTo>
                  <a:lnTo>
                    <a:pt x="212" y="267"/>
                  </a:lnTo>
                  <a:lnTo>
                    <a:pt x="206" y="269"/>
                  </a:lnTo>
                  <a:lnTo>
                    <a:pt x="201" y="269"/>
                  </a:lnTo>
                  <a:lnTo>
                    <a:pt x="197" y="269"/>
                  </a:lnTo>
                  <a:lnTo>
                    <a:pt x="195" y="267"/>
                  </a:lnTo>
                  <a:lnTo>
                    <a:pt x="193" y="263"/>
                  </a:lnTo>
                  <a:lnTo>
                    <a:pt x="193" y="263"/>
                  </a:lnTo>
                  <a:lnTo>
                    <a:pt x="193" y="263"/>
                  </a:lnTo>
                  <a:lnTo>
                    <a:pt x="192" y="266"/>
                  </a:lnTo>
                  <a:lnTo>
                    <a:pt x="189" y="269"/>
                  </a:lnTo>
                  <a:lnTo>
                    <a:pt x="186" y="272"/>
                  </a:lnTo>
                  <a:lnTo>
                    <a:pt x="182" y="276"/>
                  </a:lnTo>
                  <a:lnTo>
                    <a:pt x="177" y="278"/>
                  </a:lnTo>
                  <a:lnTo>
                    <a:pt x="173" y="278"/>
                  </a:lnTo>
                  <a:lnTo>
                    <a:pt x="167" y="276"/>
                  </a:lnTo>
                  <a:lnTo>
                    <a:pt x="167" y="276"/>
                  </a:lnTo>
                  <a:lnTo>
                    <a:pt x="165" y="276"/>
                  </a:lnTo>
                  <a:lnTo>
                    <a:pt x="163" y="276"/>
                  </a:lnTo>
                  <a:lnTo>
                    <a:pt x="160" y="275"/>
                  </a:lnTo>
                  <a:lnTo>
                    <a:pt x="157" y="273"/>
                  </a:lnTo>
                  <a:lnTo>
                    <a:pt x="153" y="272"/>
                  </a:lnTo>
                  <a:lnTo>
                    <a:pt x="149" y="267"/>
                  </a:lnTo>
                  <a:lnTo>
                    <a:pt x="144" y="263"/>
                  </a:lnTo>
                  <a:lnTo>
                    <a:pt x="141" y="257"/>
                  </a:lnTo>
                  <a:lnTo>
                    <a:pt x="141" y="257"/>
                  </a:lnTo>
                  <a:lnTo>
                    <a:pt x="140" y="254"/>
                  </a:lnTo>
                  <a:lnTo>
                    <a:pt x="140" y="251"/>
                  </a:lnTo>
                  <a:lnTo>
                    <a:pt x="140" y="248"/>
                  </a:lnTo>
                  <a:lnTo>
                    <a:pt x="138" y="248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3"/>
                  </a:lnTo>
                  <a:lnTo>
                    <a:pt x="120" y="273"/>
                  </a:lnTo>
                  <a:lnTo>
                    <a:pt x="120" y="272"/>
                  </a:lnTo>
                  <a:lnTo>
                    <a:pt x="122" y="270"/>
                  </a:lnTo>
                  <a:lnTo>
                    <a:pt x="123" y="269"/>
                  </a:lnTo>
                  <a:lnTo>
                    <a:pt x="122" y="269"/>
                  </a:lnTo>
                  <a:lnTo>
                    <a:pt x="120" y="270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4" y="279"/>
                  </a:lnTo>
                  <a:lnTo>
                    <a:pt x="110" y="281"/>
                  </a:lnTo>
                  <a:lnTo>
                    <a:pt x="105" y="284"/>
                  </a:lnTo>
                  <a:lnTo>
                    <a:pt x="99" y="287"/>
                  </a:lnTo>
                  <a:lnTo>
                    <a:pt x="96" y="290"/>
                  </a:lnTo>
                  <a:lnTo>
                    <a:pt x="91" y="293"/>
                  </a:lnTo>
                  <a:lnTo>
                    <a:pt x="89" y="296"/>
                  </a:lnTo>
                  <a:lnTo>
                    <a:pt x="87" y="302"/>
                  </a:lnTo>
                  <a:lnTo>
                    <a:pt x="87" y="302"/>
                  </a:lnTo>
                  <a:lnTo>
                    <a:pt x="86" y="305"/>
                  </a:lnTo>
                  <a:lnTo>
                    <a:pt x="84" y="308"/>
                  </a:lnTo>
                  <a:lnTo>
                    <a:pt x="83" y="310"/>
                  </a:lnTo>
                  <a:lnTo>
                    <a:pt x="81" y="312"/>
                  </a:lnTo>
                  <a:lnTo>
                    <a:pt x="80" y="314"/>
                  </a:lnTo>
                  <a:lnTo>
                    <a:pt x="78" y="315"/>
                  </a:lnTo>
                  <a:lnTo>
                    <a:pt x="77" y="317"/>
                  </a:lnTo>
                  <a:lnTo>
                    <a:pt x="75" y="320"/>
                  </a:lnTo>
                  <a:lnTo>
                    <a:pt x="75" y="320"/>
                  </a:lnTo>
                  <a:lnTo>
                    <a:pt x="75" y="321"/>
                  </a:lnTo>
                  <a:lnTo>
                    <a:pt x="74" y="323"/>
                  </a:lnTo>
                  <a:lnTo>
                    <a:pt x="74" y="324"/>
                  </a:lnTo>
                  <a:lnTo>
                    <a:pt x="74" y="327"/>
                  </a:lnTo>
                  <a:lnTo>
                    <a:pt x="72" y="327"/>
                  </a:lnTo>
                  <a:lnTo>
                    <a:pt x="71" y="329"/>
                  </a:lnTo>
                  <a:lnTo>
                    <a:pt x="71" y="330"/>
                  </a:lnTo>
                  <a:lnTo>
                    <a:pt x="68" y="330"/>
                  </a:lnTo>
                  <a:lnTo>
                    <a:pt x="68" y="330"/>
                  </a:lnTo>
                  <a:lnTo>
                    <a:pt x="64" y="333"/>
                  </a:lnTo>
                  <a:lnTo>
                    <a:pt x="60" y="335"/>
                  </a:lnTo>
                  <a:lnTo>
                    <a:pt x="57" y="338"/>
                  </a:lnTo>
                  <a:lnTo>
                    <a:pt x="55" y="339"/>
                  </a:lnTo>
                  <a:lnTo>
                    <a:pt x="54" y="341"/>
                  </a:lnTo>
                  <a:lnTo>
                    <a:pt x="53" y="342"/>
                  </a:lnTo>
                  <a:lnTo>
                    <a:pt x="53" y="344"/>
                  </a:lnTo>
                  <a:lnTo>
                    <a:pt x="51" y="345"/>
                  </a:lnTo>
                  <a:lnTo>
                    <a:pt x="51" y="345"/>
                  </a:lnTo>
                  <a:lnTo>
                    <a:pt x="50" y="345"/>
                  </a:lnTo>
                  <a:lnTo>
                    <a:pt x="47" y="347"/>
                  </a:lnTo>
                  <a:lnTo>
                    <a:pt x="44" y="348"/>
                  </a:lnTo>
                  <a:lnTo>
                    <a:pt x="39" y="351"/>
                  </a:lnTo>
                  <a:lnTo>
                    <a:pt x="35" y="353"/>
                  </a:lnTo>
                  <a:lnTo>
                    <a:pt x="31" y="356"/>
                  </a:lnTo>
                  <a:lnTo>
                    <a:pt x="27" y="357"/>
                  </a:lnTo>
                  <a:lnTo>
                    <a:pt x="22" y="360"/>
                  </a:lnTo>
                  <a:lnTo>
                    <a:pt x="18" y="362"/>
                  </a:lnTo>
                  <a:lnTo>
                    <a:pt x="14" y="365"/>
                  </a:lnTo>
                  <a:lnTo>
                    <a:pt x="9" y="366"/>
                  </a:lnTo>
                  <a:lnTo>
                    <a:pt x="6" y="368"/>
                  </a:lnTo>
                  <a:lnTo>
                    <a:pt x="3" y="369"/>
                  </a:lnTo>
                  <a:lnTo>
                    <a:pt x="0" y="371"/>
                  </a:lnTo>
                  <a:lnTo>
                    <a:pt x="0" y="372"/>
                  </a:lnTo>
                  <a:lnTo>
                    <a:pt x="0" y="372"/>
                  </a:lnTo>
                  <a:lnTo>
                    <a:pt x="153" y="348"/>
                  </a:lnTo>
                  <a:lnTo>
                    <a:pt x="163" y="342"/>
                  </a:lnTo>
                  <a:lnTo>
                    <a:pt x="176" y="342"/>
                  </a:lnTo>
                  <a:lnTo>
                    <a:pt x="176" y="342"/>
                  </a:lnTo>
                  <a:lnTo>
                    <a:pt x="176" y="342"/>
                  </a:lnTo>
                  <a:lnTo>
                    <a:pt x="177" y="342"/>
                  </a:lnTo>
                  <a:lnTo>
                    <a:pt x="180" y="342"/>
                  </a:lnTo>
                  <a:lnTo>
                    <a:pt x="185" y="342"/>
                  </a:lnTo>
                  <a:lnTo>
                    <a:pt x="189" y="341"/>
                  </a:lnTo>
                  <a:lnTo>
                    <a:pt x="195" y="341"/>
                  </a:lnTo>
                  <a:lnTo>
                    <a:pt x="201" y="341"/>
                  </a:lnTo>
                  <a:lnTo>
                    <a:pt x="210" y="341"/>
                  </a:lnTo>
                  <a:lnTo>
                    <a:pt x="219" y="339"/>
                  </a:lnTo>
                  <a:lnTo>
                    <a:pt x="229" y="338"/>
                  </a:lnTo>
                  <a:lnTo>
                    <a:pt x="239" y="336"/>
                  </a:lnTo>
                  <a:lnTo>
                    <a:pt x="251" y="335"/>
                  </a:lnTo>
                  <a:lnTo>
                    <a:pt x="263" y="333"/>
                  </a:lnTo>
                  <a:lnTo>
                    <a:pt x="276" y="332"/>
                  </a:lnTo>
                  <a:lnTo>
                    <a:pt x="291" y="330"/>
                  </a:lnTo>
                  <a:lnTo>
                    <a:pt x="305" y="327"/>
                  </a:lnTo>
                  <a:lnTo>
                    <a:pt x="321" y="326"/>
                  </a:lnTo>
                  <a:lnTo>
                    <a:pt x="338" y="323"/>
                  </a:lnTo>
                  <a:lnTo>
                    <a:pt x="356" y="320"/>
                  </a:lnTo>
                  <a:lnTo>
                    <a:pt x="374" y="317"/>
                  </a:lnTo>
                  <a:lnTo>
                    <a:pt x="393" y="314"/>
                  </a:lnTo>
                  <a:lnTo>
                    <a:pt x="411" y="310"/>
                  </a:lnTo>
                  <a:lnTo>
                    <a:pt x="431" y="308"/>
                  </a:lnTo>
                  <a:lnTo>
                    <a:pt x="453" y="303"/>
                  </a:lnTo>
                  <a:lnTo>
                    <a:pt x="474" y="300"/>
                  </a:lnTo>
                  <a:lnTo>
                    <a:pt x="496" y="296"/>
                  </a:lnTo>
                  <a:lnTo>
                    <a:pt x="519" y="290"/>
                  </a:lnTo>
                  <a:lnTo>
                    <a:pt x="542" y="285"/>
                  </a:lnTo>
                  <a:lnTo>
                    <a:pt x="566" y="279"/>
                  </a:lnTo>
                  <a:lnTo>
                    <a:pt x="591" y="276"/>
                  </a:lnTo>
                  <a:lnTo>
                    <a:pt x="615" y="270"/>
                  </a:lnTo>
                  <a:lnTo>
                    <a:pt x="641" y="263"/>
                  </a:lnTo>
                  <a:lnTo>
                    <a:pt x="645" y="261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" name="Freeform 147"/>
            <p:cNvSpPr>
              <a:spLocks/>
            </p:cNvSpPr>
            <p:nvPr/>
          </p:nvSpPr>
          <p:spPr bwMode="auto">
            <a:xfrm>
              <a:off x="3121578" y="4618735"/>
              <a:ext cx="256196" cy="127297"/>
            </a:xfrm>
            <a:custGeom>
              <a:avLst/>
              <a:gdLst>
                <a:gd name="T0" fmla="*/ 210 w 381"/>
                <a:gd name="T1" fmla="*/ 131 h 190"/>
                <a:gd name="T2" fmla="*/ 201 w 381"/>
                <a:gd name="T3" fmla="*/ 160 h 190"/>
                <a:gd name="T4" fmla="*/ 213 w 381"/>
                <a:gd name="T5" fmla="*/ 157 h 190"/>
                <a:gd name="T6" fmla="*/ 223 w 381"/>
                <a:gd name="T7" fmla="*/ 158 h 190"/>
                <a:gd name="T8" fmla="*/ 240 w 381"/>
                <a:gd name="T9" fmla="*/ 170 h 190"/>
                <a:gd name="T10" fmla="*/ 279 w 381"/>
                <a:gd name="T11" fmla="*/ 182 h 190"/>
                <a:gd name="T12" fmla="*/ 253 w 381"/>
                <a:gd name="T13" fmla="*/ 152 h 190"/>
                <a:gd name="T14" fmla="*/ 260 w 381"/>
                <a:gd name="T15" fmla="*/ 150 h 190"/>
                <a:gd name="T16" fmla="*/ 267 w 381"/>
                <a:gd name="T17" fmla="*/ 146 h 190"/>
                <a:gd name="T18" fmla="*/ 253 w 381"/>
                <a:gd name="T19" fmla="*/ 120 h 190"/>
                <a:gd name="T20" fmla="*/ 253 w 381"/>
                <a:gd name="T21" fmla="*/ 94 h 190"/>
                <a:gd name="T22" fmla="*/ 246 w 381"/>
                <a:gd name="T23" fmla="*/ 68 h 190"/>
                <a:gd name="T24" fmla="*/ 254 w 381"/>
                <a:gd name="T25" fmla="*/ 56 h 190"/>
                <a:gd name="T26" fmla="*/ 254 w 381"/>
                <a:gd name="T27" fmla="*/ 44 h 190"/>
                <a:gd name="T28" fmla="*/ 260 w 381"/>
                <a:gd name="T29" fmla="*/ 51 h 190"/>
                <a:gd name="T30" fmla="*/ 272 w 381"/>
                <a:gd name="T31" fmla="*/ 35 h 190"/>
                <a:gd name="T32" fmla="*/ 270 w 381"/>
                <a:gd name="T33" fmla="*/ 24 h 190"/>
                <a:gd name="T34" fmla="*/ 281 w 381"/>
                <a:gd name="T35" fmla="*/ 23 h 190"/>
                <a:gd name="T36" fmla="*/ 285 w 381"/>
                <a:gd name="T37" fmla="*/ 27 h 190"/>
                <a:gd name="T38" fmla="*/ 281 w 381"/>
                <a:gd name="T39" fmla="*/ 37 h 190"/>
                <a:gd name="T40" fmla="*/ 267 w 381"/>
                <a:gd name="T41" fmla="*/ 62 h 190"/>
                <a:gd name="T42" fmla="*/ 276 w 381"/>
                <a:gd name="T43" fmla="*/ 69 h 190"/>
                <a:gd name="T44" fmla="*/ 284 w 381"/>
                <a:gd name="T45" fmla="*/ 64 h 190"/>
                <a:gd name="T46" fmla="*/ 276 w 381"/>
                <a:gd name="T47" fmla="*/ 77 h 190"/>
                <a:gd name="T48" fmla="*/ 275 w 381"/>
                <a:gd name="T49" fmla="*/ 93 h 190"/>
                <a:gd name="T50" fmla="*/ 270 w 381"/>
                <a:gd name="T51" fmla="*/ 107 h 190"/>
                <a:gd name="T52" fmla="*/ 287 w 381"/>
                <a:gd name="T53" fmla="*/ 123 h 190"/>
                <a:gd name="T54" fmla="*/ 275 w 381"/>
                <a:gd name="T55" fmla="*/ 127 h 190"/>
                <a:gd name="T56" fmla="*/ 284 w 381"/>
                <a:gd name="T57" fmla="*/ 132 h 190"/>
                <a:gd name="T58" fmla="*/ 285 w 381"/>
                <a:gd name="T59" fmla="*/ 149 h 190"/>
                <a:gd name="T60" fmla="*/ 295 w 381"/>
                <a:gd name="T61" fmla="*/ 155 h 190"/>
                <a:gd name="T62" fmla="*/ 305 w 381"/>
                <a:gd name="T63" fmla="*/ 157 h 190"/>
                <a:gd name="T64" fmla="*/ 300 w 381"/>
                <a:gd name="T65" fmla="*/ 149 h 190"/>
                <a:gd name="T66" fmla="*/ 308 w 381"/>
                <a:gd name="T67" fmla="*/ 150 h 190"/>
                <a:gd name="T68" fmla="*/ 315 w 381"/>
                <a:gd name="T69" fmla="*/ 153 h 190"/>
                <a:gd name="T70" fmla="*/ 312 w 381"/>
                <a:gd name="T71" fmla="*/ 167 h 190"/>
                <a:gd name="T72" fmla="*/ 323 w 381"/>
                <a:gd name="T73" fmla="*/ 164 h 190"/>
                <a:gd name="T74" fmla="*/ 322 w 381"/>
                <a:gd name="T75" fmla="*/ 179 h 190"/>
                <a:gd name="T76" fmla="*/ 328 w 381"/>
                <a:gd name="T77" fmla="*/ 189 h 190"/>
                <a:gd name="T78" fmla="*/ 347 w 381"/>
                <a:gd name="T79" fmla="*/ 174 h 190"/>
                <a:gd name="T80" fmla="*/ 372 w 381"/>
                <a:gd name="T81" fmla="*/ 123 h 190"/>
                <a:gd name="T82" fmla="*/ 374 w 381"/>
                <a:gd name="T83" fmla="*/ 146 h 190"/>
                <a:gd name="T84" fmla="*/ 368 w 381"/>
                <a:gd name="T85" fmla="*/ 171 h 190"/>
                <a:gd name="T86" fmla="*/ 367 w 381"/>
                <a:gd name="T87" fmla="*/ 182 h 190"/>
                <a:gd name="T88" fmla="*/ 369 w 381"/>
                <a:gd name="T89" fmla="*/ 180 h 190"/>
                <a:gd name="T90" fmla="*/ 378 w 381"/>
                <a:gd name="T91" fmla="*/ 152 h 190"/>
                <a:gd name="T92" fmla="*/ 380 w 381"/>
                <a:gd name="T93" fmla="*/ 122 h 190"/>
                <a:gd name="T94" fmla="*/ 0 w 381"/>
                <a:gd name="T95" fmla="*/ 56 h 190"/>
                <a:gd name="T96" fmla="*/ 44 w 381"/>
                <a:gd name="T97" fmla="*/ 80 h 190"/>
                <a:gd name="T98" fmla="*/ 71 w 381"/>
                <a:gd name="T99" fmla="*/ 63 h 190"/>
                <a:gd name="T100" fmla="*/ 95 w 381"/>
                <a:gd name="T101" fmla="*/ 45 h 190"/>
                <a:gd name="T102" fmla="*/ 125 w 381"/>
                <a:gd name="T103" fmla="*/ 47 h 190"/>
                <a:gd name="T104" fmla="*/ 134 w 381"/>
                <a:gd name="T105" fmla="*/ 53 h 190"/>
                <a:gd name="T106" fmla="*/ 149 w 381"/>
                <a:gd name="T107" fmla="*/ 74 h 190"/>
                <a:gd name="T108" fmla="*/ 162 w 381"/>
                <a:gd name="T109" fmla="*/ 72 h 190"/>
                <a:gd name="T110" fmla="*/ 167 w 381"/>
                <a:gd name="T111" fmla="*/ 92 h 190"/>
                <a:gd name="T112" fmla="*/ 193 w 381"/>
                <a:gd name="T113" fmla="*/ 97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1" h="190">
                  <a:moveTo>
                    <a:pt x="209" y="97"/>
                  </a:moveTo>
                  <a:lnTo>
                    <a:pt x="221" y="104"/>
                  </a:lnTo>
                  <a:lnTo>
                    <a:pt x="213" y="116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2" y="127"/>
                  </a:lnTo>
                  <a:lnTo>
                    <a:pt x="210" y="131"/>
                  </a:lnTo>
                  <a:lnTo>
                    <a:pt x="207" y="137"/>
                  </a:lnTo>
                  <a:lnTo>
                    <a:pt x="206" y="143"/>
                  </a:lnTo>
                  <a:lnTo>
                    <a:pt x="203" y="149"/>
                  </a:lnTo>
                  <a:lnTo>
                    <a:pt x="201" y="152"/>
                  </a:lnTo>
                  <a:lnTo>
                    <a:pt x="201" y="153"/>
                  </a:lnTo>
                  <a:lnTo>
                    <a:pt x="200" y="157"/>
                  </a:lnTo>
                  <a:lnTo>
                    <a:pt x="201" y="160"/>
                  </a:lnTo>
                  <a:lnTo>
                    <a:pt x="203" y="162"/>
                  </a:lnTo>
                  <a:lnTo>
                    <a:pt x="204" y="162"/>
                  </a:lnTo>
                  <a:lnTo>
                    <a:pt x="206" y="162"/>
                  </a:lnTo>
                  <a:lnTo>
                    <a:pt x="209" y="162"/>
                  </a:lnTo>
                  <a:lnTo>
                    <a:pt x="210" y="161"/>
                  </a:lnTo>
                  <a:lnTo>
                    <a:pt x="212" y="161"/>
                  </a:lnTo>
                  <a:lnTo>
                    <a:pt x="213" y="157"/>
                  </a:lnTo>
                  <a:lnTo>
                    <a:pt x="216" y="155"/>
                  </a:lnTo>
                  <a:lnTo>
                    <a:pt x="218" y="155"/>
                  </a:lnTo>
                  <a:lnTo>
                    <a:pt x="219" y="155"/>
                  </a:lnTo>
                  <a:lnTo>
                    <a:pt x="221" y="156"/>
                  </a:lnTo>
                  <a:lnTo>
                    <a:pt x="221" y="157"/>
                  </a:lnTo>
                  <a:lnTo>
                    <a:pt x="221" y="157"/>
                  </a:lnTo>
                  <a:lnTo>
                    <a:pt x="223" y="158"/>
                  </a:lnTo>
                  <a:lnTo>
                    <a:pt x="231" y="170"/>
                  </a:lnTo>
                  <a:lnTo>
                    <a:pt x="234" y="170"/>
                  </a:lnTo>
                  <a:lnTo>
                    <a:pt x="234" y="162"/>
                  </a:lnTo>
                  <a:lnTo>
                    <a:pt x="239" y="162"/>
                  </a:lnTo>
                  <a:lnTo>
                    <a:pt x="239" y="164"/>
                  </a:lnTo>
                  <a:lnTo>
                    <a:pt x="240" y="167"/>
                  </a:lnTo>
                  <a:lnTo>
                    <a:pt x="240" y="170"/>
                  </a:lnTo>
                  <a:lnTo>
                    <a:pt x="242" y="170"/>
                  </a:lnTo>
                  <a:lnTo>
                    <a:pt x="252" y="170"/>
                  </a:lnTo>
                  <a:lnTo>
                    <a:pt x="260" y="171"/>
                  </a:lnTo>
                  <a:lnTo>
                    <a:pt x="267" y="173"/>
                  </a:lnTo>
                  <a:lnTo>
                    <a:pt x="272" y="176"/>
                  </a:lnTo>
                  <a:lnTo>
                    <a:pt x="276" y="179"/>
                  </a:lnTo>
                  <a:lnTo>
                    <a:pt x="279" y="182"/>
                  </a:lnTo>
                  <a:lnTo>
                    <a:pt x="281" y="183"/>
                  </a:lnTo>
                  <a:lnTo>
                    <a:pt x="281" y="185"/>
                  </a:lnTo>
                  <a:lnTo>
                    <a:pt x="284" y="177"/>
                  </a:lnTo>
                  <a:lnTo>
                    <a:pt x="276" y="168"/>
                  </a:lnTo>
                  <a:lnTo>
                    <a:pt x="275" y="161"/>
                  </a:lnTo>
                  <a:lnTo>
                    <a:pt x="265" y="158"/>
                  </a:lnTo>
                  <a:lnTo>
                    <a:pt x="253" y="152"/>
                  </a:lnTo>
                  <a:lnTo>
                    <a:pt x="245" y="144"/>
                  </a:lnTo>
                  <a:lnTo>
                    <a:pt x="246" y="141"/>
                  </a:lnTo>
                  <a:lnTo>
                    <a:pt x="253" y="147"/>
                  </a:lnTo>
                  <a:lnTo>
                    <a:pt x="254" y="147"/>
                  </a:lnTo>
                  <a:lnTo>
                    <a:pt x="256" y="149"/>
                  </a:lnTo>
                  <a:lnTo>
                    <a:pt x="259" y="149"/>
                  </a:lnTo>
                  <a:lnTo>
                    <a:pt x="260" y="150"/>
                  </a:lnTo>
                  <a:lnTo>
                    <a:pt x="267" y="155"/>
                  </a:lnTo>
                  <a:lnTo>
                    <a:pt x="272" y="156"/>
                  </a:lnTo>
                  <a:lnTo>
                    <a:pt x="273" y="155"/>
                  </a:lnTo>
                  <a:lnTo>
                    <a:pt x="273" y="153"/>
                  </a:lnTo>
                  <a:lnTo>
                    <a:pt x="272" y="150"/>
                  </a:lnTo>
                  <a:lnTo>
                    <a:pt x="269" y="149"/>
                  </a:lnTo>
                  <a:lnTo>
                    <a:pt x="267" y="146"/>
                  </a:lnTo>
                  <a:lnTo>
                    <a:pt x="266" y="146"/>
                  </a:lnTo>
                  <a:lnTo>
                    <a:pt x="263" y="141"/>
                  </a:lnTo>
                  <a:lnTo>
                    <a:pt x="260" y="138"/>
                  </a:lnTo>
                  <a:lnTo>
                    <a:pt x="257" y="134"/>
                  </a:lnTo>
                  <a:lnTo>
                    <a:pt x="256" y="130"/>
                  </a:lnTo>
                  <a:lnTo>
                    <a:pt x="253" y="126"/>
                  </a:lnTo>
                  <a:lnTo>
                    <a:pt x="253" y="120"/>
                  </a:lnTo>
                  <a:lnTo>
                    <a:pt x="252" y="116"/>
                  </a:lnTo>
                  <a:lnTo>
                    <a:pt x="252" y="111"/>
                  </a:lnTo>
                  <a:lnTo>
                    <a:pt x="252" y="107"/>
                  </a:lnTo>
                  <a:lnTo>
                    <a:pt x="252" y="102"/>
                  </a:lnTo>
                  <a:lnTo>
                    <a:pt x="252" y="100"/>
                  </a:lnTo>
                  <a:lnTo>
                    <a:pt x="253" y="97"/>
                  </a:lnTo>
                  <a:lnTo>
                    <a:pt x="253" y="94"/>
                  </a:lnTo>
                  <a:lnTo>
                    <a:pt x="253" y="92"/>
                  </a:lnTo>
                  <a:lnTo>
                    <a:pt x="253" y="90"/>
                  </a:lnTo>
                  <a:lnTo>
                    <a:pt x="253" y="90"/>
                  </a:lnTo>
                  <a:lnTo>
                    <a:pt x="253" y="83"/>
                  </a:lnTo>
                  <a:lnTo>
                    <a:pt x="251" y="78"/>
                  </a:lnTo>
                  <a:lnTo>
                    <a:pt x="249" y="72"/>
                  </a:lnTo>
                  <a:lnTo>
                    <a:pt x="246" y="68"/>
                  </a:lnTo>
                  <a:lnTo>
                    <a:pt x="243" y="65"/>
                  </a:lnTo>
                  <a:lnTo>
                    <a:pt x="242" y="63"/>
                  </a:lnTo>
                  <a:lnTo>
                    <a:pt x="240" y="62"/>
                  </a:lnTo>
                  <a:lnTo>
                    <a:pt x="239" y="62"/>
                  </a:lnTo>
                  <a:lnTo>
                    <a:pt x="251" y="62"/>
                  </a:lnTo>
                  <a:lnTo>
                    <a:pt x="254" y="57"/>
                  </a:lnTo>
                  <a:lnTo>
                    <a:pt x="254" y="56"/>
                  </a:lnTo>
                  <a:lnTo>
                    <a:pt x="254" y="54"/>
                  </a:lnTo>
                  <a:lnTo>
                    <a:pt x="254" y="51"/>
                  </a:lnTo>
                  <a:lnTo>
                    <a:pt x="254" y="50"/>
                  </a:lnTo>
                  <a:lnTo>
                    <a:pt x="253" y="47"/>
                  </a:lnTo>
                  <a:lnTo>
                    <a:pt x="252" y="44"/>
                  </a:lnTo>
                  <a:lnTo>
                    <a:pt x="253" y="44"/>
                  </a:lnTo>
                  <a:lnTo>
                    <a:pt x="254" y="44"/>
                  </a:lnTo>
                  <a:lnTo>
                    <a:pt x="256" y="44"/>
                  </a:lnTo>
                  <a:lnTo>
                    <a:pt x="256" y="45"/>
                  </a:lnTo>
                  <a:lnTo>
                    <a:pt x="257" y="47"/>
                  </a:lnTo>
                  <a:lnTo>
                    <a:pt x="257" y="47"/>
                  </a:lnTo>
                  <a:lnTo>
                    <a:pt x="259" y="50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1"/>
                  </a:lnTo>
                  <a:lnTo>
                    <a:pt x="262" y="50"/>
                  </a:lnTo>
                  <a:lnTo>
                    <a:pt x="262" y="48"/>
                  </a:lnTo>
                  <a:lnTo>
                    <a:pt x="263" y="47"/>
                  </a:lnTo>
                  <a:lnTo>
                    <a:pt x="263" y="47"/>
                  </a:lnTo>
                  <a:lnTo>
                    <a:pt x="272" y="35"/>
                  </a:lnTo>
                  <a:lnTo>
                    <a:pt x="272" y="35"/>
                  </a:lnTo>
                  <a:lnTo>
                    <a:pt x="270" y="34"/>
                  </a:lnTo>
                  <a:lnTo>
                    <a:pt x="270" y="32"/>
                  </a:lnTo>
                  <a:lnTo>
                    <a:pt x="270" y="30"/>
                  </a:lnTo>
                  <a:lnTo>
                    <a:pt x="270" y="29"/>
                  </a:lnTo>
                  <a:lnTo>
                    <a:pt x="270" y="27"/>
                  </a:lnTo>
                  <a:lnTo>
                    <a:pt x="270" y="24"/>
                  </a:lnTo>
                  <a:lnTo>
                    <a:pt x="270" y="24"/>
                  </a:lnTo>
                  <a:lnTo>
                    <a:pt x="275" y="20"/>
                  </a:lnTo>
                  <a:lnTo>
                    <a:pt x="278" y="18"/>
                  </a:lnTo>
                  <a:lnTo>
                    <a:pt x="279" y="17"/>
                  </a:lnTo>
                  <a:lnTo>
                    <a:pt x="281" y="18"/>
                  </a:lnTo>
                  <a:lnTo>
                    <a:pt x="281" y="20"/>
                  </a:lnTo>
                  <a:lnTo>
                    <a:pt x="281" y="21"/>
                  </a:lnTo>
                  <a:lnTo>
                    <a:pt x="281" y="23"/>
                  </a:lnTo>
                  <a:lnTo>
                    <a:pt x="279" y="23"/>
                  </a:lnTo>
                  <a:lnTo>
                    <a:pt x="279" y="27"/>
                  </a:lnTo>
                  <a:lnTo>
                    <a:pt x="279" y="30"/>
                  </a:lnTo>
                  <a:lnTo>
                    <a:pt x="279" y="30"/>
                  </a:lnTo>
                  <a:lnTo>
                    <a:pt x="282" y="30"/>
                  </a:lnTo>
                  <a:lnTo>
                    <a:pt x="284" y="29"/>
                  </a:lnTo>
                  <a:lnTo>
                    <a:pt x="285" y="27"/>
                  </a:lnTo>
                  <a:lnTo>
                    <a:pt x="286" y="26"/>
                  </a:lnTo>
                  <a:lnTo>
                    <a:pt x="287" y="26"/>
                  </a:lnTo>
                  <a:lnTo>
                    <a:pt x="286" y="29"/>
                  </a:lnTo>
                  <a:lnTo>
                    <a:pt x="286" y="31"/>
                  </a:lnTo>
                  <a:lnTo>
                    <a:pt x="285" y="32"/>
                  </a:lnTo>
                  <a:lnTo>
                    <a:pt x="282" y="35"/>
                  </a:lnTo>
                  <a:lnTo>
                    <a:pt x="281" y="37"/>
                  </a:lnTo>
                  <a:lnTo>
                    <a:pt x="279" y="38"/>
                  </a:lnTo>
                  <a:lnTo>
                    <a:pt x="279" y="39"/>
                  </a:lnTo>
                  <a:lnTo>
                    <a:pt x="278" y="39"/>
                  </a:lnTo>
                  <a:lnTo>
                    <a:pt x="273" y="44"/>
                  </a:lnTo>
                  <a:lnTo>
                    <a:pt x="270" y="50"/>
                  </a:lnTo>
                  <a:lnTo>
                    <a:pt x="267" y="56"/>
                  </a:lnTo>
                  <a:lnTo>
                    <a:pt x="267" y="62"/>
                  </a:lnTo>
                  <a:lnTo>
                    <a:pt x="267" y="67"/>
                  </a:lnTo>
                  <a:lnTo>
                    <a:pt x="267" y="71"/>
                  </a:lnTo>
                  <a:lnTo>
                    <a:pt x="269" y="74"/>
                  </a:lnTo>
                  <a:lnTo>
                    <a:pt x="269" y="75"/>
                  </a:lnTo>
                  <a:lnTo>
                    <a:pt x="272" y="74"/>
                  </a:lnTo>
                  <a:lnTo>
                    <a:pt x="273" y="72"/>
                  </a:lnTo>
                  <a:lnTo>
                    <a:pt x="276" y="69"/>
                  </a:lnTo>
                  <a:lnTo>
                    <a:pt x="278" y="67"/>
                  </a:lnTo>
                  <a:lnTo>
                    <a:pt x="279" y="64"/>
                  </a:lnTo>
                  <a:lnTo>
                    <a:pt x="281" y="62"/>
                  </a:lnTo>
                  <a:lnTo>
                    <a:pt x="282" y="60"/>
                  </a:lnTo>
                  <a:lnTo>
                    <a:pt x="282" y="59"/>
                  </a:lnTo>
                  <a:lnTo>
                    <a:pt x="284" y="62"/>
                  </a:lnTo>
                  <a:lnTo>
                    <a:pt x="284" y="64"/>
                  </a:lnTo>
                  <a:lnTo>
                    <a:pt x="282" y="67"/>
                  </a:lnTo>
                  <a:lnTo>
                    <a:pt x="281" y="69"/>
                  </a:lnTo>
                  <a:lnTo>
                    <a:pt x="279" y="72"/>
                  </a:lnTo>
                  <a:lnTo>
                    <a:pt x="278" y="74"/>
                  </a:lnTo>
                  <a:lnTo>
                    <a:pt x="278" y="75"/>
                  </a:lnTo>
                  <a:lnTo>
                    <a:pt x="276" y="75"/>
                  </a:lnTo>
                  <a:lnTo>
                    <a:pt x="276" y="77"/>
                  </a:lnTo>
                  <a:lnTo>
                    <a:pt x="276" y="78"/>
                  </a:lnTo>
                  <a:lnTo>
                    <a:pt x="276" y="81"/>
                  </a:lnTo>
                  <a:lnTo>
                    <a:pt x="276" y="84"/>
                  </a:lnTo>
                  <a:lnTo>
                    <a:pt x="276" y="87"/>
                  </a:lnTo>
                  <a:lnTo>
                    <a:pt x="276" y="90"/>
                  </a:lnTo>
                  <a:lnTo>
                    <a:pt x="275" y="93"/>
                  </a:lnTo>
                  <a:lnTo>
                    <a:pt x="275" y="93"/>
                  </a:lnTo>
                  <a:lnTo>
                    <a:pt x="270" y="98"/>
                  </a:lnTo>
                  <a:lnTo>
                    <a:pt x="269" y="101"/>
                  </a:lnTo>
                  <a:lnTo>
                    <a:pt x="267" y="104"/>
                  </a:lnTo>
                  <a:lnTo>
                    <a:pt x="267" y="105"/>
                  </a:lnTo>
                  <a:lnTo>
                    <a:pt x="267" y="105"/>
                  </a:lnTo>
                  <a:lnTo>
                    <a:pt x="269" y="107"/>
                  </a:lnTo>
                  <a:lnTo>
                    <a:pt x="270" y="107"/>
                  </a:lnTo>
                  <a:lnTo>
                    <a:pt x="270" y="107"/>
                  </a:lnTo>
                  <a:lnTo>
                    <a:pt x="279" y="111"/>
                  </a:lnTo>
                  <a:lnTo>
                    <a:pt x="285" y="116"/>
                  </a:lnTo>
                  <a:lnTo>
                    <a:pt x="287" y="119"/>
                  </a:lnTo>
                  <a:lnTo>
                    <a:pt x="289" y="120"/>
                  </a:lnTo>
                  <a:lnTo>
                    <a:pt x="289" y="122"/>
                  </a:lnTo>
                  <a:lnTo>
                    <a:pt x="287" y="123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1" y="123"/>
                  </a:lnTo>
                  <a:lnTo>
                    <a:pt x="278" y="125"/>
                  </a:lnTo>
                  <a:lnTo>
                    <a:pt x="275" y="125"/>
                  </a:lnTo>
                  <a:lnTo>
                    <a:pt x="275" y="126"/>
                  </a:lnTo>
                  <a:lnTo>
                    <a:pt x="275" y="127"/>
                  </a:lnTo>
                  <a:lnTo>
                    <a:pt x="275" y="127"/>
                  </a:lnTo>
                  <a:lnTo>
                    <a:pt x="275" y="128"/>
                  </a:lnTo>
                  <a:lnTo>
                    <a:pt x="276" y="128"/>
                  </a:lnTo>
                  <a:lnTo>
                    <a:pt x="282" y="128"/>
                  </a:lnTo>
                  <a:lnTo>
                    <a:pt x="285" y="130"/>
                  </a:lnTo>
                  <a:lnTo>
                    <a:pt x="285" y="131"/>
                  </a:lnTo>
                  <a:lnTo>
                    <a:pt x="284" y="132"/>
                  </a:lnTo>
                  <a:lnTo>
                    <a:pt x="281" y="134"/>
                  </a:lnTo>
                  <a:lnTo>
                    <a:pt x="278" y="135"/>
                  </a:lnTo>
                  <a:lnTo>
                    <a:pt x="276" y="135"/>
                  </a:lnTo>
                  <a:lnTo>
                    <a:pt x="275" y="137"/>
                  </a:lnTo>
                  <a:lnTo>
                    <a:pt x="275" y="140"/>
                  </a:lnTo>
                  <a:lnTo>
                    <a:pt x="284" y="150"/>
                  </a:lnTo>
                  <a:lnTo>
                    <a:pt x="285" y="149"/>
                  </a:lnTo>
                  <a:lnTo>
                    <a:pt x="286" y="149"/>
                  </a:lnTo>
                  <a:lnTo>
                    <a:pt x="287" y="147"/>
                  </a:lnTo>
                  <a:lnTo>
                    <a:pt x="287" y="147"/>
                  </a:lnTo>
                  <a:lnTo>
                    <a:pt x="289" y="149"/>
                  </a:lnTo>
                  <a:lnTo>
                    <a:pt x="292" y="150"/>
                  </a:lnTo>
                  <a:lnTo>
                    <a:pt x="293" y="153"/>
                  </a:lnTo>
                  <a:lnTo>
                    <a:pt x="295" y="155"/>
                  </a:lnTo>
                  <a:lnTo>
                    <a:pt x="295" y="156"/>
                  </a:lnTo>
                  <a:lnTo>
                    <a:pt x="296" y="157"/>
                  </a:lnTo>
                  <a:lnTo>
                    <a:pt x="296" y="157"/>
                  </a:lnTo>
                  <a:lnTo>
                    <a:pt x="298" y="158"/>
                  </a:lnTo>
                  <a:lnTo>
                    <a:pt x="300" y="158"/>
                  </a:lnTo>
                  <a:lnTo>
                    <a:pt x="303" y="157"/>
                  </a:lnTo>
                  <a:lnTo>
                    <a:pt x="305" y="157"/>
                  </a:lnTo>
                  <a:lnTo>
                    <a:pt x="305" y="157"/>
                  </a:lnTo>
                  <a:lnTo>
                    <a:pt x="305" y="157"/>
                  </a:lnTo>
                  <a:lnTo>
                    <a:pt x="303" y="156"/>
                  </a:lnTo>
                  <a:lnTo>
                    <a:pt x="303" y="156"/>
                  </a:lnTo>
                  <a:lnTo>
                    <a:pt x="303" y="155"/>
                  </a:lnTo>
                  <a:lnTo>
                    <a:pt x="302" y="152"/>
                  </a:lnTo>
                  <a:lnTo>
                    <a:pt x="300" y="149"/>
                  </a:lnTo>
                  <a:lnTo>
                    <a:pt x="302" y="147"/>
                  </a:lnTo>
                  <a:lnTo>
                    <a:pt x="303" y="146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8" y="144"/>
                  </a:lnTo>
                  <a:lnTo>
                    <a:pt x="308" y="150"/>
                  </a:lnTo>
                  <a:lnTo>
                    <a:pt x="308" y="155"/>
                  </a:lnTo>
                  <a:lnTo>
                    <a:pt x="309" y="156"/>
                  </a:lnTo>
                  <a:lnTo>
                    <a:pt x="311" y="157"/>
                  </a:lnTo>
                  <a:lnTo>
                    <a:pt x="312" y="156"/>
                  </a:lnTo>
                  <a:lnTo>
                    <a:pt x="314" y="155"/>
                  </a:lnTo>
                  <a:lnTo>
                    <a:pt x="315" y="155"/>
                  </a:lnTo>
                  <a:lnTo>
                    <a:pt x="315" y="153"/>
                  </a:lnTo>
                  <a:lnTo>
                    <a:pt x="316" y="153"/>
                  </a:lnTo>
                  <a:lnTo>
                    <a:pt x="317" y="155"/>
                  </a:lnTo>
                  <a:lnTo>
                    <a:pt x="319" y="156"/>
                  </a:lnTo>
                  <a:lnTo>
                    <a:pt x="319" y="156"/>
                  </a:lnTo>
                  <a:lnTo>
                    <a:pt x="314" y="161"/>
                  </a:lnTo>
                  <a:lnTo>
                    <a:pt x="312" y="164"/>
                  </a:lnTo>
                  <a:lnTo>
                    <a:pt x="312" y="167"/>
                  </a:lnTo>
                  <a:lnTo>
                    <a:pt x="315" y="167"/>
                  </a:lnTo>
                  <a:lnTo>
                    <a:pt x="317" y="165"/>
                  </a:lnTo>
                  <a:lnTo>
                    <a:pt x="320" y="164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3" y="167"/>
                  </a:lnTo>
                  <a:lnTo>
                    <a:pt x="323" y="168"/>
                  </a:lnTo>
                  <a:lnTo>
                    <a:pt x="323" y="171"/>
                  </a:lnTo>
                  <a:lnTo>
                    <a:pt x="323" y="173"/>
                  </a:lnTo>
                  <a:lnTo>
                    <a:pt x="323" y="174"/>
                  </a:lnTo>
                  <a:lnTo>
                    <a:pt x="323" y="174"/>
                  </a:lnTo>
                  <a:lnTo>
                    <a:pt x="322" y="179"/>
                  </a:lnTo>
                  <a:lnTo>
                    <a:pt x="322" y="182"/>
                  </a:lnTo>
                  <a:lnTo>
                    <a:pt x="322" y="185"/>
                  </a:lnTo>
                  <a:lnTo>
                    <a:pt x="323" y="186"/>
                  </a:lnTo>
                  <a:lnTo>
                    <a:pt x="325" y="188"/>
                  </a:lnTo>
                  <a:lnTo>
                    <a:pt x="326" y="189"/>
                  </a:lnTo>
                  <a:lnTo>
                    <a:pt x="328" y="189"/>
                  </a:lnTo>
                  <a:lnTo>
                    <a:pt x="328" y="189"/>
                  </a:lnTo>
                  <a:lnTo>
                    <a:pt x="334" y="186"/>
                  </a:lnTo>
                  <a:lnTo>
                    <a:pt x="334" y="186"/>
                  </a:lnTo>
                  <a:lnTo>
                    <a:pt x="336" y="183"/>
                  </a:lnTo>
                  <a:lnTo>
                    <a:pt x="338" y="182"/>
                  </a:lnTo>
                  <a:lnTo>
                    <a:pt x="341" y="179"/>
                  </a:lnTo>
                  <a:lnTo>
                    <a:pt x="344" y="177"/>
                  </a:lnTo>
                  <a:lnTo>
                    <a:pt x="347" y="174"/>
                  </a:lnTo>
                  <a:lnTo>
                    <a:pt x="349" y="173"/>
                  </a:lnTo>
                  <a:lnTo>
                    <a:pt x="353" y="171"/>
                  </a:lnTo>
                  <a:lnTo>
                    <a:pt x="359" y="171"/>
                  </a:lnTo>
                  <a:lnTo>
                    <a:pt x="364" y="167"/>
                  </a:lnTo>
                  <a:lnTo>
                    <a:pt x="365" y="144"/>
                  </a:lnTo>
                  <a:lnTo>
                    <a:pt x="369" y="144"/>
                  </a:lnTo>
                  <a:lnTo>
                    <a:pt x="372" y="123"/>
                  </a:lnTo>
                  <a:lnTo>
                    <a:pt x="372" y="123"/>
                  </a:lnTo>
                  <a:lnTo>
                    <a:pt x="374" y="122"/>
                  </a:lnTo>
                  <a:lnTo>
                    <a:pt x="375" y="122"/>
                  </a:lnTo>
                  <a:lnTo>
                    <a:pt x="375" y="123"/>
                  </a:lnTo>
                  <a:lnTo>
                    <a:pt x="375" y="131"/>
                  </a:lnTo>
                  <a:lnTo>
                    <a:pt x="374" y="138"/>
                  </a:lnTo>
                  <a:lnTo>
                    <a:pt x="374" y="146"/>
                  </a:lnTo>
                  <a:lnTo>
                    <a:pt x="372" y="152"/>
                  </a:lnTo>
                  <a:lnTo>
                    <a:pt x="371" y="156"/>
                  </a:lnTo>
                  <a:lnTo>
                    <a:pt x="371" y="160"/>
                  </a:lnTo>
                  <a:lnTo>
                    <a:pt x="369" y="164"/>
                  </a:lnTo>
                  <a:lnTo>
                    <a:pt x="369" y="167"/>
                  </a:lnTo>
                  <a:lnTo>
                    <a:pt x="368" y="170"/>
                  </a:lnTo>
                  <a:lnTo>
                    <a:pt x="368" y="171"/>
                  </a:lnTo>
                  <a:lnTo>
                    <a:pt x="368" y="173"/>
                  </a:lnTo>
                  <a:lnTo>
                    <a:pt x="367" y="174"/>
                  </a:lnTo>
                  <a:lnTo>
                    <a:pt x="367" y="176"/>
                  </a:lnTo>
                  <a:lnTo>
                    <a:pt x="367" y="176"/>
                  </a:lnTo>
                  <a:lnTo>
                    <a:pt x="367" y="177"/>
                  </a:lnTo>
                  <a:lnTo>
                    <a:pt x="367" y="177"/>
                  </a:lnTo>
                  <a:lnTo>
                    <a:pt x="367" y="182"/>
                  </a:lnTo>
                  <a:lnTo>
                    <a:pt x="367" y="183"/>
                  </a:lnTo>
                  <a:lnTo>
                    <a:pt x="367" y="185"/>
                  </a:lnTo>
                  <a:lnTo>
                    <a:pt x="368" y="183"/>
                  </a:lnTo>
                  <a:lnTo>
                    <a:pt x="368" y="183"/>
                  </a:lnTo>
                  <a:lnTo>
                    <a:pt x="368" y="182"/>
                  </a:lnTo>
                  <a:lnTo>
                    <a:pt x="369" y="182"/>
                  </a:lnTo>
                  <a:lnTo>
                    <a:pt x="369" y="180"/>
                  </a:lnTo>
                  <a:lnTo>
                    <a:pt x="371" y="179"/>
                  </a:lnTo>
                  <a:lnTo>
                    <a:pt x="372" y="174"/>
                  </a:lnTo>
                  <a:lnTo>
                    <a:pt x="374" y="171"/>
                  </a:lnTo>
                  <a:lnTo>
                    <a:pt x="375" y="167"/>
                  </a:lnTo>
                  <a:lnTo>
                    <a:pt x="375" y="161"/>
                  </a:lnTo>
                  <a:lnTo>
                    <a:pt x="377" y="157"/>
                  </a:lnTo>
                  <a:lnTo>
                    <a:pt x="378" y="152"/>
                  </a:lnTo>
                  <a:lnTo>
                    <a:pt x="378" y="146"/>
                  </a:lnTo>
                  <a:lnTo>
                    <a:pt x="378" y="141"/>
                  </a:lnTo>
                  <a:lnTo>
                    <a:pt x="378" y="135"/>
                  </a:lnTo>
                  <a:lnTo>
                    <a:pt x="378" y="131"/>
                  </a:lnTo>
                  <a:lnTo>
                    <a:pt x="380" y="127"/>
                  </a:lnTo>
                  <a:lnTo>
                    <a:pt x="380" y="125"/>
                  </a:lnTo>
                  <a:lnTo>
                    <a:pt x="380" y="122"/>
                  </a:lnTo>
                  <a:lnTo>
                    <a:pt x="380" y="120"/>
                  </a:lnTo>
                  <a:lnTo>
                    <a:pt x="380" y="120"/>
                  </a:lnTo>
                  <a:lnTo>
                    <a:pt x="380" y="120"/>
                  </a:lnTo>
                  <a:lnTo>
                    <a:pt x="326" y="130"/>
                  </a:lnTo>
                  <a:lnTo>
                    <a:pt x="292" y="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8" y="107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1"/>
                  </a:lnTo>
                  <a:lnTo>
                    <a:pt x="39" y="81"/>
                  </a:lnTo>
                  <a:lnTo>
                    <a:pt x="41" y="81"/>
                  </a:lnTo>
                  <a:lnTo>
                    <a:pt x="44" y="80"/>
                  </a:lnTo>
                  <a:lnTo>
                    <a:pt x="48" y="75"/>
                  </a:lnTo>
                  <a:lnTo>
                    <a:pt x="53" y="69"/>
                  </a:lnTo>
                  <a:lnTo>
                    <a:pt x="59" y="60"/>
                  </a:lnTo>
                  <a:lnTo>
                    <a:pt x="60" y="60"/>
                  </a:lnTo>
                  <a:lnTo>
                    <a:pt x="63" y="62"/>
                  </a:lnTo>
                  <a:lnTo>
                    <a:pt x="66" y="63"/>
                  </a:lnTo>
                  <a:lnTo>
                    <a:pt x="71" y="63"/>
                  </a:lnTo>
                  <a:lnTo>
                    <a:pt x="75" y="63"/>
                  </a:lnTo>
                  <a:lnTo>
                    <a:pt x="81" y="62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5" y="45"/>
                  </a:lnTo>
                  <a:lnTo>
                    <a:pt x="96" y="44"/>
                  </a:lnTo>
                  <a:lnTo>
                    <a:pt x="101" y="42"/>
                  </a:lnTo>
                  <a:lnTo>
                    <a:pt x="105" y="42"/>
                  </a:lnTo>
                  <a:lnTo>
                    <a:pt x="113" y="44"/>
                  </a:lnTo>
                  <a:lnTo>
                    <a:pt x="122" y="47"/>
                  </a:lnTo>
                  <a:lnTo>
                    <a:pt x="123" y="47"/>
                  </a:lnTo>
                  <a:lnTo>
                    <a:pt x="125" y="47"/>
                  </a:lnTo>
                  <a:lnTo>
                    <a:pt x="126" y="47"/>
                  </a:lnTo>
                  <a:lnTo>
                    <a:pt x="127" y="47"/>
                  </a:lnTo>
                  <a:lnTo>
                    <a:pt x="129" y="47"/>
                  </a:lnTo>
                  <a:lnTo>
                    <a:pt x="131" y="47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4" y="53"/>
                  </a:lnTo>
                  <a:lnTo>
                    <a:pt x="135" y="54"/>
                  </a:lnTo>
                  <a:lnTo>
                    <a:pt x="138" y="56"/>
                  </a:lnTo>
                  <a:lnTo>
                    <a:pt x="141" y="59"/>
                  </a:lnTo>
                  <a:lnTo>
                    <a:pt x="144" y="62"/>
                  </a:lnTo>
                  <a:lnTo>
                    <a:pt x="147" y="65"/>
                  </a:lnTo>
                  <a:lnTo>
                    <a:pt x="149" y="69"/>
                  </a:lnTo>
                  <a:lnTo>
                    <a:pt x="149" y="74"/>
                  </a:lnTo>
                  <a:lnTo>
                    <a:pt x="146" y="78"/>
                  </a:lnTo>
                  <a:lnTo>
                    <a:pt x="147" y="77"/>
                  </a:lnTo>
                  <a:lnTo>
                    <a:pt x="149" y="75"/>
                  </a:lnTo>
                  <a:lnTo>
                    <a:pt x="152" y="75"/>
                  </a:lnTo>
                  <a:lnTo>
                    <a:pt x="156" y="74"/>
                  </a:lnTo>
                  <a:lnTo>
                    <a:pt x="158" y="72"/>
                  </a:lnTo>
                  <a:lnTo>
                    <a:pt x="162" y="72"/>
                  </a:lnTo>
                  <a:lnTo>
                    <a:pt x="165" y="75"/>
                  </a:lnTo>
                  <a:lnTo>
                    <a:pt x="168" y="78"/>
                  </a:lnTo>
                  <a:lnTo>
                    <a:pt x="168" y="80"/>
                  </a:lnTo>
                  <a:lnTo>
                    <a:pt x="167" y="83"/>
                  </a:lnTo>
                  <a:lnTo>
                    <a:pt x="167" y="84"/>
                  </a:lnTo>
                  <a:lnTo>
                    <a:pt x="167" y="87"/>
                  </a:lnTo>
                  <a:lnTo>
                    <a:pt x="167" y="92"/>
                  </a:lnTo>
                  <a:lnTo>
                    <a:pt x="171" y="93"/>
                  </a:lnTo>
                  <a:lnTo>
                    <a:pt x="177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9" y="95"/>
                  </a:lnTo>
                  <a:lnTo>
                    <a:pt x="191" y="97"/>
                  </a:lnTo>
                  <a:lnTo>
                    <a:pt x="193" y="97"/>
                  </a:lnTo>
                  <a:lnTo>
                    <a:pt x="194" y="98"/>
                  </a:lnTo>
                  <a:lnTo>
                    <a:pt x="197" y="100"/>
                  </a:lnTo>
                  <a:lnTo>
                    <a:pt x="200" y="101"/>
                  </a:lnTo>
                  <a:lnTo>
                    <a:pt x="203" y="102"/>
                  </a:lnTo>
                  <a:lnTo>
                    <a:pt x="209" y="9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" name="Freeform 148"/>
            <p:cNvSpPr>
              <a:spLocks/>
            </p:cNvSpPr>
            <p:nvPr/>
          </p:nvSpPr>
          <p:spPr bwMode="auto">
            <a:xfrm>
              <a:off x="3121578" y="4618735"/>
              <a:ext cx="256196" cy="127297"/>
            </a:xfrm>
            <a:custGeom>
              <a:avLst/>
              <a:gdLst>
                <a:gd name="T0" fmla="*/ 210 w 381"/>
                <a:gd name="T1" fmla="*/ 131 h 190"/>
                <a:gd name="T2" fmla="*/ 201 w 381"/>
                <a:gd name="T3" fmla="*/ 160 h 190"/>
                <a:gd name="T4" fmla="*/ 213 w 381"/>
                <a:gd name="T5" fmla="*/ 157 h 190"/>
                <a:gd name="T6" fmla="*/ 231 w 381"/>
                <a:gd name="T7" fmla="*/ 170 h 190"/>
                <a:gd name="T8" fmla="*/ 242 w 381"/>
                <a:gd name="T9" fmla="*/ 170 h 190"/>
                <a:gd name="T10" fmla="*/ 281 w 381"/>
                <a:gd name="T11" fmla="*/ 183 h 190"/>
                <a:gd name="T12" fmla="*/ 246 w 381"/>
                <a:gd name="T13" fmla="*/ 141 h 190"/>
                <a:gd name="T14" fmla="*/ 267 w 381"/>
                <a:gd name="T15" fmla="*/ 155 h 190"/>
                <a:gd name="T16" fmla="*/ 266 w 381"/>
                <a:gd name="T17" fmla="*/ 146 h 190"/>
                <a:gd name="T18" fmla="*/ 252 w 381"/>
                <a:gd name="T19" fmla="*/ 111 h 190"/>
                <a:gd name="T20" fmla="*/ 253 w 381"/>
                <a:gd name="T21" fmla="*/ 90 h 190"/>
                <a:gd name="T22" fmla="*/ 240 w 381"/>
                <a:gd name="T23" fmla="*/ 62 h 190"/>
                <a:gd name="T24" fmla="*/ 254 w 381"/>
                <a:gd name="T25" fmla="*/ 50 h 190"/>
                <a:gd name="T26" fmla="*/ 257 w 381"/>
                <a:gd name="T27" fmla="*/ 47 h 190"/>
                <a:gd name="T28" fmla="*/ 262 w 381"/>
                <a:gd name="T29" fmla="*/ 48 h 190"/>
                <a:gd name="T30" fmla="*/ 270 w 381"/>
                <a:gd name="T31" fmla="*/ 30 h 190"/>
                <a:gd name="T32" fmla="*/ 279 w 381"/>
                <a:gd name="T33" fmla="*/ 17 h 190"/>
                <a:gd name="T34" fmla="*/ 279 w 381"/>
                <a:gd name="T35" fmla="*/ 30 h 190"/>
                <a:gd name="T36" fmla="*/ 286 w 381"/>
                <a:gd name="T37" fmla="*/ 29 h 190"/>
                <a:gd name="T38" fmla="*/ 278 w 381"/>
                <a:gd name="T39" fmla="*/ 39 h 190"/>
                <a:gd name="T40" fmla="*/ 269 w 381"/>
                <a:gd name="T41" fmla="*/ 75 h 190"/>
                <a:gd name="T42" fmla="*/ 282 w 381"/>
                <a:gd name="T43" fmla="*/ 60 h 190"/>
                <a:gd name="T44" fmla="*/ 278 w 381"/>
                <a:gd name="T45" fmla="*/ 74 h 190"/>
                <a:gd name="T46" fmla="*/ 276 w 381"/>
                <a:gd name="T47" fmla="*/ 87 h 190"/>
                <a:gd name="T48" fmla="*/ 267 w 381"/>
                <a:gd name="T49" fmla="*/ 105 h 190"/>
                <a:gd name="T50" fmla="*/ 287 w 381"/>
                <a:gd name="T51" fmla="*/ 119 h 190"/>
                <a:gd name="T52" fmla="*/ 278 w 381"/>
                <a:gd name="T53" fmla="*/ 125 h 190"/>
                <a:gd name="T54" fmla="*/ 282 w 381"/>
                <a:gd name="T55" fmla="*/ 128 h 190"/>
                <a:gd name="T56" fmla="*/ 275 w 381"/>
                <a:gd name="T57" fmla="*/ 140 h 190"/>
                <a:gd name="T58" fmla="*/ 289 w 381"/>
                <a:gd name="T59" fmla="*/ 149 h 190"/>
                <a:gd name="T60" fmla="*/ 298 w 381"/>
                <a:gd name="T61" fmla="*/ 158 h 190"/>
                <a:gd name="T62" fmla="*/ 303 w 381"/>
                <a:gd name="T63" fmla="*/ 155 h 190"/>
                <a:gd name="T64" fmla="*/ 306 w 381"/>
                <a:gd name="T65" fmla="*/ 144 h 190"/>
                <a:gd name="T66" fmla="*/ 314 w 381"/>
                <a:gd name="T67" fmla="*/ 155 h 190"/>
                <a:gd name="T68" fmla="*/ 319 w 381"/>
                <a:gd name="T69" fmla="*/ 156 h 190"/>
                <a:gd name="T70" fmla="*/ 323 w 381"/>
                <a:gd name="T71" fmla="*/ 162 h 190"/>
                <a:gd name="T72" fmla="*/ 323 w 381"/>
                <a:gd name="T73" fmla="*/ 174 h 190"/>
                <a:gd name="T74" fmla="*/ 326 w 381"/>
                <a:gd name="T75" fmla="*/ 189 h 190"/>
                <a:gd name="T76" fmla="*/ 341 w 381"/>
                <a:gd name="T77" fmla="*/ 179 h 190"/>
                <a:gd name="T78" fmla="*/ 369 w 381"/>
                <a:gd name="T79" fmla="*/ 144 h 190"/>
                <a:gd name="T80" fmla="*/ 375 w 381"/>
                <a:gd name="T81" fmla="*/ 131 h 190"/>
                <a:gd name="T82" fmla="*/ 368 w 381"/>
                <a:gd name="T83" fmla="*/ 170 h 190"/>
                <a:gd name="T84" fmla="*/ 367 w 381"/>
                <a:gd name="T85" fmla="*/ 177 h 190"/>
                <a:gd name="T86" fmla="*/ 369 w 381"/>
                <a:gd name="T87" fmla="*/ 180 h 190"/>
                <a:gd name="T88" fmla="*/ 378 w 381"/>
                <a:gd name="T89" fmla="*/ 152 h 190"/>
                <a:gd name="T90" fmla="*/ 380 w 381"/>
                <a:gd name="T91" fmla="*/ 120 h 190"/>
                <a:gd name="T92" fmla="*/ 38 w 381"/>
                <a:gd name="T93" fmla="*/ 80 h 190"/>
                <a:gd name="T94" fmla="*/ 53 w 381"/>
                <a:gd name="T95" fmla="*/ 69 h 190"/>
                <a:gd name="T96" fmla="*/ 81 w 381"/>
                <a:gd name="T97" fmla="*/ 62 h 190"/>
                <a:gd name="T98" fmla="*/ 101 w 381"/>
                <a:gd name="T99" fmla="*/ 42 h 190"/>
                <a:gd name="T100" fmla="*/ 127 w 381"/>
                <a:gd name="T101" fmla="*/ 47 h 190"/>
                <a:gd name="T102" fmla="*/ 138 w 381"/>
                <a:gd name="T103" fmla="*/ 56 h 190"/>
                <a:gd name="T104" fmla="*/ 147 w 381"/>
                <a:gd name="T105" fmla="*/ 77 h 190"/>
                <a:gd name="T106" fmla="*/ 168 w 381"/>
                <a:gd name="T107" fmla="*/ 78 h 190"/>
                <a:gd name="T108" fmla="*/ 188 w 381"/>
                <a:gd name="T109" fmla="*/ 95 h 190"/>
                <a:gd name="T110" fmla="*/ 200 w 381"/>
                <a:gd name="T111" fmla="*/ 101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1" h="190">
                  <a:moveTo>
                    <a:pt x="209" y="97"/>
                  </a:moveTo>
                  <a:lnTo>
                    <a:pt x="221" y="104"/>
                  </a:lnTo>
                  <a:lnTo>
                    <a:pt x="213" y="116"/>
                  </a:lnTo>
                  <a:lnTo>
                    <a:pt x="213" y="123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2" y="127"/>
                  </a:lnTo>
                  <a:lnTo>
                    <a:pt x="210" y="131"/>
                  </a:lnTo>
                  <a:lnTo>
                    <a:pt x="207" y="137"/>
                  </a:lnTo>
                  <a:lnTo>
                    <a:pt x="206" y="143"/>
                  </a:lnTo>
                  <a:lnTo>
                    <a:pt x="203" y="149"/>
                  </a:lnTo>
                  <a:lnTo>
                    <a:pt x="201" y="152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0" y="157"/>
                  </a:lnTo>
                  <a:lnTo>
                    <a:pt x="201" y="160"/>
                  </a:lnTo>
                  <a:lnTo>
                    <a:pt x="203" y="162"/>
                  </a:lnTo>
                  <a:lnTo>
                    <a:pt x="204" y="162"/>
                  </a:lnTo>
                  <a:lnTo>
                    <a:pt x="206" y="162"/>
                  </a:lnTo>
                  <a:lnTo>
                    <a:pt x="209" y="162"/>
                  </a:lnTo>
                  <a:lnTo>
                    <a:pt x="210" y="161"/>
                  </a:lnTo>
                  <a:lnTo>
                    <a:pt x="212" y="161"/>
                  </a:lnTo>
                  <a:lnTo>
                    <a:pt x="212" y="161"/>
                  </a:lnTo>
                  <a:lnTo>
                    <a:pt x="213" y="157"/>
                  </a:lnTo>
                  <a:lnTo>
                    <a:pt x="216" y="155"/>
                  </a:lnTo>
                  <a:lnTo>
                    <a:pt x="218" y="155"/>
                  </a:lnTo>
                  <a:lnTo>
                    <a:pt x="219" y="155"/>
                  </a:lnTo>
                  <a:lnTo>
                    <a:pt x="221" y="156"/>
                  </a:lnTo>
                  <a:lnTo>
                    <a:pt x="221" y="157"/>
                  </a:lnTo>
                  <a:lnTo>
                    <a:pt x="221" y="157"/>
                  </a:lnTo>
                  <a:lnTo>
                    <a:pt x="223" y="158"/>
                  </a:lnTo>
                  <a:lnTo>
                    <a:pt x="231" y="170"/>
                  </a:lnTo>
                  <a:lnTo>
                    <a:pt x="234" y="170"/>
                  </a:lnTo>
                  <a:lnTo>
                    <a:pt x="234" y="162"/>
                  </a:lnTo>
                  <a:lnTo>
                    <a:pt x="239" y="162"/>
                  </a:lnTo>
                  <a:lnTo>
                    <a:pt x="239" y="162"/>
                  </a:lnTo>
                  <a:lnTo>
                    <a:pt x="239" y="164"/>
                  </a:lnTo>
                  <a:lnTo>
                    <a:pt x="240" y="167"/>
                  </a:lnTo>
                  <a:lnTo>
                    <a:pt x="240" y="170"/>
                  </a:lnTo>
                  <a:lnTo>
                    <a:pt x="242" y="170"/>
                  </a:lnTo>
                  <a:lnTo>
                    <a:pt x="242" y="170"/>
                  </a:lnTo>
                  <a:lnTo>
                    <a:pt x="252" y="170"/>
                  </a:lnTo>
                  <a:lnTo>
                    <a:pt x="260" y="171"/>
                  </a:lnTo>
                  <a:lnTo>
                    <a:pt x="267" y="173"/>
                  </a:lnTo>
                  <a:lnTo>
                    <a:pt x="272" y="176"/>
                  </a:lnTo>
                  <a:lnTo>
                    <a:pt x="276" y="179"/>
                  </a:lnTo>
                  <a:lnTo>
                    <a:pt x="279" y="182"/>
                  </a:lnTo>
                  <a:lnTo>
                    <a:pt x="281" y="183"/>
                  </a:lnTo>
                  <a:lnTo>
                    <a:pt x="281" y="185"/>
                  </a:lnTo>
                  <a:lnTo>
                    <a:pt x="284" y="177"/>
                  </a:lnTo>
                  <a:lnTo>
                    <a:pt x="276" y="168"/>
                  </a:lnTo>
                  <a:lnTo>
                    <a:pt x="275" y="161"/>
                  </a:lnTo>
                  <a:lnTo>
                    <a:pt x="265" y="158"/>
                  </a:lnTo>
                  <a:lnTo>
                    <a:pt x="253" y="152"/>
                  </a:lnTo>
                  <a:lnTo>
                    <a:pt x="245" y="144"/>
                  </a:lnTo>
                  <a:lnTo>
                    <a:pt x="246" y="141"/>
                  </a:lnTo>
                  <a:lnTo>
                    <a:pt x="253" y="147"/>
                  </a:lnTo>
                  <a:lnTo>
                    <a:pt x="253" y="147"/>
                  </a:lnTo>
                  <a:lnTo>
                    <a:pt x="254" y="147"/>
                  </a:lnTo>
                  <a:lnTo>
                    <a:pt x="256" y="149"/>
                  </a:lnTo>
                  <a:lnTo>
                    <a:pt x="259" y="149"/>
                  </a:lnTo>
                  <a:lnTo>
                    <a:pt x="260" y="150"/>
                  </a:lnTo>
                  <a:lnTo>
                    <a:pt x="260" y="150"/>
                  </a:lnTo>
                  <a:lnTo>
                    <a:pt x="267" y="155"/>
                  </a:lnTo>
                  <a:lnTo>
                    <a:pt x="272" y="156"/>
                  </a:lnTo>
                  <a:lnTo>
                    <a:pt x="273" y="155"/>
                  </a:lnTo>
                  <a:lnTo>
                    <a:pt x="273" y="153"/>
                  </a:lnTo>
                  <a:lnTo>
                    <a:pt x="272" y="150"/>
                  </a:lnTo>
                  <a:lnTo>
                    <a:pt x="269" y="149"/>
                  </a:lnTo>
                  <a:lnTo>
                    <a:pt x="267" y="146"/>
                  </a:lnTo>
                  <a:lnTo>
                    <a:pt x="266" y="146"/>
                  </a:lnTo>
                  <a:lnTo>
                    <a:pt x="266" y="146"/>
                  </a:lnTo>
                  <a:lnTo>
                    <a:pt x="263" y="141"/>
                  </a:lnTo>
                  <a:lnTo>
                    <a:pt x="260" y="138"/>
                  </a:lnTo>
                  <a:lnTo>
                    <a:pt x="257" y="134"/>
                  </a:lnTo>
                  <a:lnTo>
                    <a:pt x="256" y="130"/>
                  </a:lnTo>
                  <a:lnTo>
                    <a:pt x="253" y="126"/>
                  </a:lnTo>
                  <a:lnTo>
                    <a:pt x="253" y="120"/>
                  </a:lnTo>
                  <a:lnTo>
                    <a:pt x="252" y="116"/>
                  </a:lnTo>
                  <a:lnTo>
                    <a:pt x="252" y="111"/>
                  </a:lnTo>
                  <a:lnTo>
                    <a:pt x="252" y="107"/>
                  </a:lnTo>
                  <a:lnTo>
                    <a:pt x="252" y="102"/>
                  </a:lnTo>
                  <a:lnTo>
                    <a:pt x="252" y="100"/>
                  </a:lnTo>
                  <a:lnTo>
                    <a:pt x="253" y="97"/>
                  </a:lnTo>
                  <a:lnTo>
                    <a:pt x="253" y="94"/>
                  </a:lnTo>
                  <a:lnTo>
                    <a:pt x="253" y="92"/>
                  </a:lnTo>
                  <a:lnTo>
                    <a:pt x="253" y="90"/>
                  </a:lnTo>
                  <a:lnTo>
                    <a:pt x="253" y="90"/>
                  </a:lnTo>
                  <a:lnTo>
                    <a:pt x="253" y="90"/>
                  </a:lnTo>
                  <a:lnTo>
                    <a:pt x="253" y="83"/>
                  </a:lnTo>
                  <a:lnTo>
                    <a:pt x="251" y="78"/>
                  </a:lnTo>
                  <a:lnTo>
                    <a:pt x="249" y="72"/>
                  </a:lnTo>
                  <a:lnTo>
                    <a:pt x="246" y="68"/>
                  </a:lnTo>
                  <a:lnTo>
                    <a:pt x="243" y="65"/>
                  </a:lnTo>
                  <a:lnTo>
                    <a:pt x="242" y="63"/>
                  </a:lnTo>
                  <a:lnTo>
                    <a:pt x="240" y="62"/>
                  </a:lnTo>
                  <a:lnTo>
                    <a:pt x="239" y="62"/>
                  </a:lnTo>
                  <a:lnTo>
                    <a:pt x="251" y="62"/>
                  </a:lnTo>
                  <a:lnTo>
                    <a:pt x="254" y="57"/>
                  </a:lnTo>
                  <a:lnTo>
                    <a:pt x="254" y="57"/>
                  </a:lnTo>
                  <a:lnTo>
                    <a:pt x="254" y="56"/>
                  </a:lnTo>
                  <a:lnTo>
                    <a:pt x="254" y="54"/>
                  </a:lnTo>
                  <a:lnTo>
                    <a:pt x="254" y="51"/>
                  </a:lnTo>
                  <a:lnTo>
                    <a:pt x="254" y="50"/>
                  </a:lnTo>
                  <a:lnTo>
                    <a:pt x="254" y="50"/>
                  </a:lnTo>
                  <a:lnTo>
                    <a:pt x="253" y="47"/>
                  </a:lnTo>
                  <a:lnTo>
                    <a:pt x="252" y="44"/>
                  </a:lnTo>
                  <a:lnTo>
                    <a:pt x="253" y="44"/>
                  </a:lnTo>
                  <a:lnTo>
                    <a:pt x="254" y="44"/>
                  </a:lnTo>
                  <a:lnTo>
                    <a:pt x="256" y="44"/>
                  </a:lnTo>
                  <a:lnTo>
                    <a:pt x="256" y="45"/>
                  </a:lnTo>
                  <a:lnTo>
                    <a:pt x="257" y="47"/>
                  </a:lnTo>
                  <a:lnTo>
                    <a:pt x="257" y="47"/>
                  </a:lnTo>
                  <a:lnTo>
                    <a:pt x="257" y="47"/>
                  </a:lnTo>
                  <a:lnTo>
                    <a:pt x="259" y="50"/>
                  </a:lnTo>
                  <a:lnTo>
                    <a:pt x="259" y="51"/>
                  </a:lnTo>
                  <a:lnTo>
                    <a:pt x="260" y="51"/>
                  </a:lnTo>
                  <a:lnTo>
                    <a:pt x="260" y="51"/>
                  </a:lnTo>
                  <a:lnTo>
                    <a:pt x="262" y="50"/>
                  </a:lnTo>
                  <a:lnTo>
                    <a:pt x="262" y="48"/>
                  </a:lnTo>
                  <a:lnTo>
                    <a:pt x="263" y="47"/>
                  </a:lnTo>
                  <a:lnTo>
                    <a:pt x="263" y="47"/>
                  </a:lnTo>
                  <a:lnTo>
                    <a:pt x="272" y="35"/>
                  </a:lnTo>
                  <a:lnTo>
                    <a:pt x="272" y="35"/>
                  </a:lnTo>
                  <a:lnTo>
                    <a:pt x="272" y="35"/>
                  </a:lnTo>
                  <a:lnTo>
                    <a:pt x="270" y="34"/>
                  </a:lnTo>
                  <a:lnTo>
                    <a:pt x="270" y="32"/>
                  </a:lnTo>
                  <a:lnTo>
                    <a:pt x="270" y="30"/>
                  </a:lnTo>
                  <a:lnTo>
                    <a:pt x="270" y="29"/>
                  </a:lnTo>
                  <a:lnTo>
                    <a:pt x="270" y="27"/>
                  </a:lnTo>
                  <a:lnTo>
                    <a:pt x="270" y="24"/>
                  </a:lnTo>
                  <a:lnTo>
                    <a:pt x="270" y="24"/>
                  </a:lnTo>
                  <a:lnTo>
                    <a:pt x="270" y="24"/>
                  </a:lnTo>
                  <a:lnTo>
                    <a:pt x="275" y="20"/>
                  </a:lnTo>
                  <a:lnTo>
                    <a:pt x="278" y="18"/>
                  </a:lnTo>
                  <a:lnTo>
                    <a:pt x="279" y="17"/>
                  </a:lnTo>
                  <a:lnTo>
                    <a:pt x="281" y="18"/>
                  </a:lnTo>
                  <a:lnTo>
                    <a:pt x="281" y="20"/>
                  </a:lnTo>
                  <a:lnTo>
                    <a:pt x="281" y="21"/>
                  </a:lnTo>
                  <a:lnTo>
                    <a:pt x="281" y="23"/>
                  </a:lnTo>
                  <a:lnTo>
                    <a:pt x="279" y="23"/>
                  </a:lnTo>
                  <a:lnTo>
                    <a:pt x="279" y="23"/>
                  </a:lnTo>
                  <a:lnTo>
                    <a:pt x="279" y="27"/>
                  </a:lnTo>
                  <a:lnTo>
                    <a:pt x="279" y="30"/>
                  </a:lnTo>
                  <a:lnTo>
                    <a:pt x="279" y="30"/>
                  </a:lnTo>
                  <a:lnTo>
                    <a:pt x="282" y="30"/>
                  </a:lnTo>
                  <a:lnTo>
                    <a:pt x="284" y="29"/>
                  </a:lnTo>
                  <a:lnTo>
                    <a:pt x="285" y="27"/>
                  </a:lnTo>
                  <a:lnTo>
                    <a:pt x="286" y="26"/>
                  </a:lnTo>
                  <a:lnTo>
                    <a:pt x="287" y="26"/>
                  </a:lnTo>
                  <a:lnTo>
                    <a:pt x="287" y="26"/>
                  </a:lnTo>
                  <a:lnTo>
                    <a:pt x="286" y="29"/>
                  </a:lnTo>
                  <a:lnTo>
                    <a:pt x="286" y="31"/>
                  </a:lnTo>
                  <a:lnTo>
                    <a:pt x="285" y="32"/>
                  </a:lnTo>
                  <a:lnTo>
                    <a:pt x="282" y="35"/>
                  </a:lnTo>
                  <a:lnTo>
                    <a:pt x="281" y="37"/>
                  </a:lnTo>
                  <a:lnTo>
                    <a:pt x="279" y="38"/>
                  </a:lnTo>
                  <a:lnTo>
                    <a:pt x="279" y="39"/>
                  </a:lnTo>
                  <a:lnTo>
                    <a:pt x="278" y="39"/>
                  </a:lnTo>
                  <a:lnTo>
                    <a:pt x="278" y="39"/>
                  </a:lnTo>
                  <a:lnTo>
                    <a:pt x="273" y="44"/>
                  </a:lnTo>
                  <a:lnTo>
                    <a:pt x="270" y="50"/>
                  </a:lnTo>
                  <a:lnTo>
                    <a:pt x="267" y="56"/>
                  </a:lnTo>
                  <a:lnTo>
                    <a:pt x="267" y="62"/>
                  </a:lnTo>
                  <a:lnTo>
                    <a:pt x="267" y="67"/>
                  </a:lnTo>
                  <a:lnTo>
                    <a:pt x="267" y="71"/>
                  </a:lnTo>
                  <a:lnTo>
                    <a:pt x="269" y="74"/>
                  </a:lnTo>
                  <a:lnTo>
                    <a:pt x="269" y="75"/>
                  </a:lnTo>
                  <a:lnTo>
                    <a:pt x="269" y="75"/>
                  </a:lnTo>
                  <a:lnTo>
                    <a:pt x="272" y="74"/>
                  </a:lnTo>
                  <a:lnTo>
                    <a:pt x="273" y="72"/>
                  </a:lnTo>
                  <a:lnTo>
                    <a:pt x="276" y="69"/>
                  </a:lnTo>
                  <a:lnTo>
                    <a:pt x="278" y="67"/>
                  </a:lnTo>
                  <a:lnTo>
                    <a:pt x="279" y="64"/>
                  </a:lnTo>
                  <a:lnTo>
                    <a:pt x="281" y="62"/>
                  </a:lnTo>
                  <a:lnTo>
                    <a:pt x="282" y="60"/>
                  </a:lnTo>
                  <a:lnTo>
                    <a:pt x="282" y="59"/>
                  </a:lnTo>
                  <a:lnTo>
                    <a:pt x="282" y="59"/>
                  </a:lnTo>
                  <a:lnTo>
                    <a:pt x="284" y="62"/>
                  </a:lnTo>
                  <a:lnTo>
                    <a:pt x="284" y="64"/>
                  </a:lnTo>
                  <a:lnTo>
                    <a:pt x="282" y="67"/>
                  </a:lnTo>
                  <a:lnTo>
                    <a:pt x="281" y="69"/>
                  </a:lnTo>
                  <a:lnTo>
                    <a:pt x="279" y="72"/>
                  </a:lnTo>
                  <a:lnTo>
                    <a:pt x="278" y="74"/>
                  </a:lnTo>
                  <a:lnTo>
                    <a:pt x="278" y="75"/>
                  </a:lnTo>
                  <a:lnTo>
                    <a:pt x="276" y="75"/>
                  </a:lnTo>
                  <a:lnTo>
                    <a:pt x="276" y="75"/>
                  </a:lnTo>
                  <a:lnTo>
                    <a:pt x="276" y="77"/>
                  </a:lnTo>
                  <a:lnTo>
                    <a:pt x="276" y="78"/>
                  </a:lnTo>
                  <a:lnTo>
                    <a:pt x="276" y="81"/>
                  </a:lnTo>
                  <a:lnTo>
                    <a:pt x="276" y="84"/>
                  </a:lnTo>
                  <a:lnTo>
                    <a:pt x="276" y="87"/>
                  </a:lnTo>
                  <a:lnTo>
                    <a:pt x="276" y="90"/>
                  </a:lnTo>
                  <a:lnTo>
                    <a:pt x="275" y="93"/>
                  </a:lnTo>
                  <a:lnTo>
                    <a:pt x="275" y="93"/>
                  </a:lnTo>
                  <a:lnTo>
                    <a:pt x="275" y="93"/>
                  </a:lnTo>
                  <a:lnTo>
                    <a:pt x="270" y="98"/>
                  </a:lnTo>
                  <a:lnTo>
                    <a:pt x="269" y="101"/>
                  </a:lnTo>
                  <a:lnTo>
                    <a:pt x="267" y="104"/>
                  </a:lnTo>
                  <a:lnTo>
                    <a:pt x="267" y="105"/>
                  </a:lnTo>
                  <a:lnTo>
                    <a:pt x="267" y="105"/>
                  </a:lnTo>
                  <a:lnTo>
                    <a:pt x="269" y="107"/>
                  </a:lnTo>
                  <a:lnTo>
                    <a:pt x="270" y="107"/>
                  </a:lnTo>
                  <a:lnTo>
                    <a:pt x="270" y="107"/>
                  </a:lnTo>
                  <a:lnTo>
                    <a:pt x="270" y="107"/>
                  </a:lnTo>
                  <a:lnTo>
                    <a:pt x="279" y="111"/>
                  </a:lnTo>
                  <a:lnTo>
                    <a:pt x="285" y="116"/>
                  </a:lnTo>
                  <a:lnTo>
                    <a:pt x="287" y="119"/>
                  </a:lnTo>
                  <a:lnTo>
                    <a:pt x="289" y="120"/>
                  </a:lnTo>
                  <a:lnTo>
                    <a:pt x="289" y="122"/>
                  </a:lnTo>
                  <a:lnTo>
                    <a:pt x="287" y="123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5" y="123"/>
                  </a:lnTo>
                  <a:lnTo>
                    <a:pt x="281" y="123"/>
                  </a:lnTo>
                  <a:lnTo>
                    <a:pt x="278" y="125"/>
                  </a:lnTo>
                  <a:lnTo>
                    <a:pt x="275" y="125"/>
                  </a:lnTo>
                  <a:lnTo>
                    <a:pt x="275" y="126"/>
                  </a:lnTo>
                  <a:lnTo>
                    <a:pt x="275" y="127"/>
                  </a:lnTo>
                  <a:lnTo>
                    <a:pt x="275" y="127"/>
                  </a:lnTo>
                  <a:lnTo>
                    <a:pt x="275" y="128"/>
                  </a:lnTo>
                  <a:lnTo>
                    <a:pt x="276" y="128"/>
                  </a:lnTo>
                  <a:lnTo>
                    <a:pt x="276" y="128"/>
                  </a:lnTo>
                  <a:lnTo>
                    <a:pt x="282" y="128"/>
                  </a:lnTo>
                  <a:lnTo>
                    <a:pt x="285" y="130"/>
                  </a:lnTo>
                  <a:lnTo>
                    <a:pt x="285" y="131"/>
                  </a:lnTo>
                  <a:lnTo>
                    <a:pt x="284" y="132"/>
                  </a:lnTo>
                  <a:lnTo>
                    <a:pt x="281" y="134"/>
                  </a:lnTo>
                  <a:lnTo>
                    <a:pt x="278" y="135"/>
                  </a:lnTo>
                  <a:lnTo>
                    <a:pt x="276" y="135"/>
                  </a:lnTo>
                  <a:lnTo>
                    <a:pt x="275" y="137"/>
                  </a:lnTo>
                  <a:lnTo>
                    <a:pt x="275" y="140"/>
                  </a:lnTo>
                  <a:lnTo>
                    <a:pt x="284" y="150"/>
                  </a:lnTo>
                  <a:lnTo>
                    <a:pt x="284" y="150"/>
                  </a:lnTo>
                  <a:lnTo>
                    <a:pt x="285" y="149"/>
                  </a:lnTo>
                  <a:lnTo>
                    <a:pt x="286" y="149"/>
                  </a:lnTo>
                  <a:lnTo>
                    <a:pt x="287" y="147"/>
                  </a:lnTo>
                  <a:lnTo>
                    <a:pt x="287" y="147"/>
                  </a:lnTo>
                  <a:lnTo>
                    <a:pt x="287" y="147"/>
                  </a:lnTo>
                  <a:lnTo>
                    <a:pt x="289" y="149"/>
                  </a:lnTo>
                  <a:lnTo>
                    <a:pt x="292" y="150"/>
                  </a:lnTo>
                  <a:lnTo>
                    <a:pt x="293" y="153"/>
                  </a:lnTo>
                  <a:lnTo>
                    <a:pt x="295" y="155"/>
                  </a:lnTo>
                  <a:lnTo>
                    <a:pt x="295" y="156"/>
                  </a:lnTo>
                  <a:lnTo>
                    <a:pt x="296" y="157"/>
                  </a:lnTo>
                  <a:lnTo>
                    <a:pt x="296" y="157"/>
                  </a:lnTo>
                  <a:lnTo>
                    <a:pt x="298" y="158"/>
                  </a:lnTo>
                  <a:lnTo>
                    <a:pt x="298" y="158"/>
                  </a:lnTo>
                  <a:lnTo>
                    <a:pt x="300" y="158"/>
                  </a:lnTo>
                  <a:lnTo>
                    <a:pt x="303" y="157"/>
                  </a:lnTo>
                  <a:lnTo>
                    <a:pt x="305" y="157"/>
                  </a:lnTo>
                  <a:lnTo>
                    <a:pt x="305" y="157"/>
                  </a:lnTo>
                  <a:lnTo>
                    <a:pt x="305" y="157"/>
                  </a:lnTo>
                  <a:lnTo>
                    <a:pt x="303" y="156"/>
                  </a:lnTo>
                  <a:lnTo>
                    <a:pt x="303" y="156"/>
                  </a:lnTo>
                  <a:lnTo>
                    <a:pt x="303" y="155"/>
                  </a:lnTo>
                  <a:lnTo>
                    <a:pt x="303" y="155"/>
                  </a:lnTo>
                  <a:lnTo>
                    <a:pt x="302" y="152"/>
                  </a:lnTo>
                  <a:lnTo>
                    <a:pt x="300" y="149"/>
                  </a:lnTo>
                  <a:lnTo>
                    <a:pt x="302" y="147"/>
                  </a:lnTo>
                  <a:lnTo>
                    <a:pt x="303" y="146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6" y="144"/>
                  </a:lnTo>
                  <a:lnTo>
                    <a:pt x="308" y="144"/>
                  </a:lnTo>
                  <a:lnTo>
                    <a:pt x="308" y="144"/>
                  </a:lnTo>
                  <a:lnTo>
                    <a:pt x="308" y="150"/>
                  </a:lnTo>
                  <a:lnTo>
                    <a:pt x="308" y="155"/>
                  </a:lnTo>
                  <a:lnTo>
                    <a:pt x="309" y="156"/>
                  </a:lnTo>
                  <a:lnTo>
                    <a:pt x="311" y="157"/>
                  </a:lnTo>
                  <a:lnTo>
                    <a:pt x="312" y="156"/>
                  </a:lnTo>
                  <a:lnTo>
                    <a:pt x="314" y="155"/>
                  </a:lnTo>
                  <a:lnTo>
                    <a:pt x="315" y="155"/>
                  </a:lnTo>
                  <a:lnTo>
                    <a:pt x="315" y="153"/>
                  </a:lnTo>
                  <a:lnTo>
                    <a:pt x="315" y="153"/>
                  </a:lnTo>
                  <a:lnTo>
                    <a:pt x="316" y="153"/>
                  </a:lnTo>
                  <a:lnTo>
                    <a:pt x="317" y="155"/>
                  </a:lnTo>
                  <a:lnTo>
                    <a:pt x="319" y="156"/>
                  </a:lnTo>
                  <a:lnTo>
                    <a:pt x="319" y="156"/>
                  </a:lnTo>
                  <a:lnTo>
                    <a:pt x="319" y="156"/>
                  </a:lnTo>
                  <a:lnTo>
                    <a:pt x="314" y="161"/>
                  </a:lnTo>
                  <a:lnTo>
                    <a:pt x="312" y="164"/>
                  </a:lnTo>
                  <a:lnTo>
                    <a:pt x="312" y="167"/>
                  </a:lnTo>
                  <a:lnTo>
                    <a:pt x="315" y="167"/>
                  </a:lnTo>
                  <a:lnTo>
                    <a:pt x="317" y="165"/>
                  </a:lnTo>
                  <a:lnTo>
                    <a:pt x="320" y="164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3" y="167"/>
                  </a:lnTo>
                  <a:lnTo>
                    <a:pt x="323" y="168"/>
                  </a:lnTo>
                  <a:lnTo>
                    <a:pt x="323" y="171"/>
                  </a:lnTo>
                  <a:lnTo>
                    <a:pt x="323" y="173"/>
                  </a:lnTo>
                  <a:lnTo>
                    <a:pt x="323" y="174"/>
                  </a:lnTo>
                  <a:lnTo>
                    <a:pt x="323" y="174"/>
                  </a:lnTo>
                  <a:lnTo>
                    <a:pt x="323" y="174"/>
                  </a:lnTo>
                  <a:lnTo>
                    <a:pt x="322" y="179"/>
                  </a:lnTo>
                  <a:lnTo>
                    <a:pt x="322" y="182"/>
                  </a:lnTo>
                  <a:lnTo>
                    <a:pt x="322" y="185"/>
                  </a:lnTo>
                  <a:lnTo>
                    <a:pt x="323" y="186"/>
                  </a:lnTo>
                  <a:lnTo>
                    <a:pt x="325" y="188"/>
                  </a:lnTo>
                  <a:lnTo>
                    <a:pt x="326" y="189"/>
                  </a:lnTo>
                  <a:lnTo>
                    <a:pt x="328" y="189"/>
                  </a:lnTo>
                  <a:lnTo>
                    <a:pt x="328" y="189"/>
                  </a:lnTo>
                  <a:lnTo>
                    <a:pt x="334" y="186"/>
                  </a:lnTo>
                  <a:lnTo>
                    <a:pt x="334" y="186"/>
                  </a:lnTo>
                  <a:lnTo>
                    <a:pt x="334" y="186"/>
                  </a:lnTo>
                  <a:lnTo>
                    <a:pt x="336" y="183"/>
                  </a:lnTo>
                  <a:lnTo>
                    <a:pt x="338" y="182"/>
                  </a:lnTo>
                  <a:lnTo>
                    <a:pt x="341" y="179"/>
                  </a:lnTo>
                  <a:lnTo>
                    <a:pt x="344" y="177"/>
                  </a:lnTo>
                  <a:lnTo>
                    <a:pt x="347" y="174"/>
                  </a:lnTo>
                  <a:lnTo>
                    <a:pt x="349" y="173"/>
                  </a:lnTo>
                  <a:lnTo>
                    <a:pt x="353" y="171"/>
                  </a:lnTo>
                  <a:lnTo>
                    <a:pt x="359" y="171"/>
                  </a:lnTo>
                  <a:lnTo>
                    <a:pt x="364" y="167"/>
                  </a:lnTo>
                  <a:lnTo>
                    <a:pt x="365" y="144"/>
                  </a:lnTo>
                  <a:lnTo>
                    <a:pt x="369" y="144"/>
                  </a:lnTo>
                  <a:lnTo>
                    <a:pt x="372" y="123"/>
                  </a:lnTo>
                  <a:lnTo>
                    <a:pt x="372" y="123"/>
                  </a:lnTo>
                  <a:lnTo>
                    <a:pt x="372" y="123"/>
                  </a:lnTo>
                  <a:lnTo>
                    <a:pt x="374" y="122"/>
                  </a:lnTo>
                  <a:lnTo>
                    <a:pt x="375" y="122"/>
                  </a:lnTo>
                  <a:lnTo>
                    <a:pt x="375" y="123"/>
                  </a:lnTo>
                  <a:lnTo>
                    <a:pt x="375" y="123"/>
                  </a:lnTo>
                  <a:lnTo>
                    <a:pt x="375" y="131"/>
                  </a:lnTo>
                  <a:lnTo>
                    <a:pt x="374" y="138"/>
                  </a:lnTo>
                  <a:lnTo>
                    <a:pt x="374" y="146"/>
                  </a:lnTo>
                  <a:lnTo>
                    <a:pt x="372" y="152"/>
                  </a:lnTo>
                  <a:lnTo>
                    <a:pt x="371" y="156"/>
                  </a:lnTo>
                  <a:lnTo>
                    <a:pt x="371" y="160"/>
                  </a:lnTo>
                  <a:lnTo>
                    <a:pt x="369" y="164"/>
                  </a:lnTo>
                  <a:lnTo>
                    <a:pt x="369" y="167"/>
                  </a:lnTo>
                  <a:lnTo>
                    <a:pt x="368" y="170"/>
                  </a:lnTo>
                  <a:lnTo>
                    <a:pt x="368" y="171"/>
                  </a:lnTo>
                  <a:lnTo>
                    <a:pt x="368" y="173"/>
                  </a:lnTo>
                  <a:lnTo>
                    <a:pt x="367" y="174"/>
                  </a:lnTo>
                  <a:lnTo>
                    <a:pt x="367" y="176"/>
                  </a:lnTo>
                  <a:lnTo>
                    <a:pt x="367" y="176"/>
                  </a:lnTo>
                  <a:lnTo>
                    <a:pt x="367" y="177"/>
                  </a:lnTo>
                  <a:lnTo>
                    <a:pt x="367" y="177"/>
                  </a:lnTo>
                  <a:lnTo>
                    <a:pt x="367" y="177"/>
                  </a:lnTo>
                  <a:lnTo>
                    <a:pt x="367" y="182"/>
                  </a:lnTo>
                  <a:lnTo>
                    <a:pt x="367" y="183"/>
                  </a:lnTo>
                  <a:lnTo>
                    <a:pt x="367" y="185"/>
                  </a:lnTo>
                  <a:lnTo>
                    <a:pt x="368" y="183"/>
                  </a:lnTo>
                  <a:lnTo>
                    <a:pt x="368" y="183"/>
                  </a:lnTo>
                  <a:lnTo>
                    <a:pt x="368" y="182"/>
                  </a:lnTo>
                  <a:lnTo>
                    <a:pt x="369" y="182"/>
                  </a:lnTo>
                  <a:lnTo>
                    <a:pt x="369" y="180"/>
                  </a:lnTo>
                  <a:lnTo>
                    <a:pt x="369" y="180"/>
                  </a:lnTo>
                  <a:lnTo>
                    <a:pt x="371" y="179"/>
                  </a:lnTo>
                  <a:lnTo>
                    <a:pt x="372" y="174"/>
                  </a:lnTo>
                  <a:lnTo>
                    <a:pt x="374" y="171"/>
                  </a:lnTo>
                  <a:lnTo>
                    <a:pt x="375" y="167"/>
                  </a:lnTo>
                  <a:lnTo>
                    <a:pt x="375" y="161"/>
                  </a:lnTo>
                  <a:lnTo>
                    <a:pt x="377" y="157"/>
                  </a:lnTo>
                  <a:lnTo>
                    <a:pt x="378" y="152"/>
                  </a:lnTo>
                  <a:lnTo>
                    <a:pt x="378" y="146"/>
                  </a:lnTo>
                  <a:lnTo>
                    <a:pt x="378" y="141"/>
                  </a:lnTo>
                  <a:lnTo>
                    <a:pt x="378" y="135"/>
                  </a:lnTo>
                  <a:lnTo>
                    <a:pt x="378" y="131"/>
                  </a:lnTo>
                  <a:lnTo>
                    <a:pt x="380" y="127"/>
                  </a:lnTo>
                  <a:lnTo>
                    <a:pt x="380" y="125"/>
                  </a:lnTo>
                  <a:lnTo>
                    <a:pt x="380" y="122"/>
                  </a:lnTo>
                  <a:lnTo>
                    <a:pt x="380" y="120"/>
                  </a:lnTo>
                  <a:lnTo>
                    <a:pt x="380" y="120"/>
                  </a:lnTo>
                  <a:lnTo>
                    <a:pt x="380" y="120"/>
                  </a:lnTo>
                  <a:lnTo>
                    <a:pt x="326" y="130"/>
                  </a:lnTo>
                  <a:lnTo>
                    <a:pt x="292" y="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8" y="107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1"/>
                  </a:lnTo>
                  <a:lnTo>
                    <a:pt x="39" y="81"/>
                  </a:lnTo>
                  <a:lnTo>
                    <a:pt x="41" y="81"/>
                  </a:lnTo>
                  <a:lnTo>
                    <a:pt x="44" y="80"/>
                  </a:lnTo>
                  <a:lnTo>
                    <a:pt x="48" y="75"/>
                  </a:lnTo>
                  <a:lnTo>
                    <a:pt x="53" y="69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60" y="60"/>
                  </a:lnTo>
                  <a:lnTo>
                    <a:pt x="63" y="62"/>
                  </a:lnTo>
                  <a:lnTo>
                    <a:pt x="66" y="63"/>
                  </a:lnTo>
                  <a:lnTo>
                    <a:pt x="71" y="63"/>
                  </a:lnTo>
                  <a:lnTo>
                    <a:pt x="75" y="63"/>
                  </a:lnTo>
                  <a:lnTo>
                    <a:pt x="81" y="62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5" y="45"/>
                  </a:lnTo>
                  <a:lnTo>
                    <a:pt x="96" y="44"/>
                  </a:lnTo>
                  <a:lnTo>
                    <a:pt x="101" y="42"/>
                  </a:lnTo>
                  <a:lnTo>
                    <a:pt x="105" y="42"/>
                  </a:lnTo>
                  <a:lnTo>
                    <a:pt x="113" y="44"/>
                  </a:lnTo>
                  <a:lnTo>
                    <a:pt x="122" y="47"/>
                  </a:lnTo>
                  <a:lnTo>
                    <a:pt x="122" y="47"/>
                  </a:lnTo>
                  <a:lnTo>
                    <a:pt x="123" y="47"/>
                  </a:lnTo>
                  <a:lnTo>
                    <a:pt x="125" y="47"/>
                  </a:lnTo>
                  <a:lnTo>
                    <a:pt x="126" y="47"/>
                  </a:lnTo>
                  <a:lnTo>
                    <a:pt x="127" y="47"/>
                  </a:lnTo>
                  <a:lnTo>
                    <a:pt x="129" y="47"/>
                  </a:lnTo>
                  <a:lnTo>
                    <a:pt x="131" y="47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5" y="54"/>
                  </a:lnTo>
                  <a:lnTo>
                    <a:pt x="138" y="56"/>
                  </a:lnTo>
                  <a:lnTo>
                    <a:pt x="141" y="59"/>
                  </a:lnTo>
                  <a:lnTo>
                    <a:pt x="144" y="62"/>
                  </a:lnTo>
                  <a:lnTo>
                    <a:pt x="147" y="65"/>
                  </a:lnTo>
                  <a:lnTo>
                    <a:pt x="149" y="69"/>
                  </a:lnTo>
                  <a:lnTo>
                    <a:pt x="149" y="74"/>
                  </a:lnTo>
                  <a:lnTo>
                    <a:pt x="146" y="78"/>
                  </a:lnTo>
                  <a:lnTo>
                    <a:pt x="146" y="78"/>
                  </a:lnTo>
                  <a:lnTo>
                    <a:pt x="147" y="77"/>
                  </a:lnTo>
                  <a:lnTo>
                    <a:pt x="149" y="75"/>
                  </a:lnTo>
                  <a:lnTo>
                    <a:pt x="152" y="75"/>
                  </a:lnTo>
                  <a:lnTo>
                    <a:pt x="156" y="74"/>
                  </a:lnTo>
                  <a:lnTo>
                    <a:pt x="158" y="72"/>
                  </a:lnTo>
                  <a:lnTo>
                    <a:pt x="162" y="72"/>
                  </a:lnTo>
                  <a:lnTo>
                    <a:pt x="165" y="75"/>
                  </a:lnTo>
                  <a:lnTo>
                    <a:pt x="168" y="78"/>
                  </a:lnTo>
                  <a:lnTo>
                    <a:pt x="168" y="78"/>
                  </a:lnTo>
                  <a:lnTo>
                    <a:pt x="168" y="80"/>
                  </a:lnTo>
                  <a:lnTo>
                    <a:pt x="167" y="83"/>
                  </a:lnTo>
                  <a:lnTo>
                    <a:pt x="167" y="84"/>
                  </a:lnTo>
                  <a:lnTo>
                    <a:pt x="167" y="87"/>
                  </a:lnTo>
                  <a:lnTo>
                    <a:pt x="167" y="92"/>
                  </a:lnTo>
                  <a:lnTo>
                    <a:pt x="171" y="93"/>
                  </a:lnTo>
                  <a:lnTo>
                    <a:pt x="177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9" y="95"/>
                  </a:lnTo>
                  <a:lnTo>
                    <a:pt x="191" y="97"/>
                  </a:lnTo>
                  <a:lnTo>
                    <a:pt x="193" y="97"/>
                  </a:lnTo>
                  <a:lnTo>
                    <a:pt x="194" y="98"/>
                  </a:lnTo>
                  <a:lnTo>
                    <a:pt x="197" y="100"/>
                  </a:lnTo>
                  <a:lnTo>
                    <a:pt x="200" y="101"/>
                  </a:lnTo>
                  <a:lnTo>
                    <a:pt x="203" y="102"/>
                  </a:lnTo>
                  <a:lnTo>
                    <a:pt x="209" y="97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" name="Freeform 149"/>
            <p:cNvSpPr>
              <a:spLocks/>
            </p:cNvSpPr>
            <p:nvPr/>
          </p:nvSpPr>
          <p:spPr bwMode="auto">
            <a:xfrm>
              <a:off x="3257211" y="4684556"/>
              <a:ext cx="13865" cy="14282"/>
            </a:xfrm>
            <a:custGeom>
              <a:avLst/>
              <a:gdLst>
                <a:gd name="T0" fmla="*/ 0 w 20"/>
                <a:gd name="T1" fmla="*/ 4 h 22"/>
                <a:gd name="T2" fmla="*/ 7 w 20"/>
                <a:gd name="T3" fmla="*/ 0 h 22"/>
                <a:gd name="T4" fmla="*/ 19 w 20"/>
                <a:gd name="T5" fmla="*/ 7 h 22"/>
                <a:gd name="T6" fmla="*/ 10 w 20"/>
                <a:gd name="T7" fmla="*/ 21 h 22"/>
                <a:gd name="T8" fmla="*/ 10 w 20"/>
                <a:gd name="T9" fmla="*/ 19 h 22"/>
                <a:gd name="T10" fmla="*/ 10 w 20"/>
                <a:gd name="T11" fmla="*/ 18 h 22"/>
                <a:gd name="T12" fmla="*/ 10 w 20"/>
                <a:gd name="T13" fmla="*/ 16 h 22"/>
                <a:gd name="T14" fmla="*/ 10 w 20"/>
                <a:gd name="T15" fmla="*/ 15 h 22"/>
                <a:gd name="T16" fmla="*/ 8 w 20"/>
                <a:gd name="T17" fmla="*/ 13 h 22"/>
                <a:gd name="T18" fmla="*/ 7 w 20"/>
                <a:gd name="T19" fmla="*/ 10 h 22"/>
                <a:gd name="T20" fmla="*/ 5 w 20"/>
                <a:gd name="T21" fmla="*/ 9 h 22"/>
                <a:gd name="T22" fmla="*/ 1 w 20"/>
                <a:gd name="T23" fmla="*/ 6 h 22"/>
                <a:gd name="T24" fmla="*/ 1 w 20"/>
                <a:gd name="T25" fmla="*/ 6 h 22"/>
                <a:gd name="T26" fmla="*/ 0 w 20"/>
                <a:gd name="T27" fmla="*/ 6 h 22"/>
                <a:gd name="T28" fmla="*/ 0 w 20"/>
                <a:gd name="T29" fmla="*/ 4 h 22"/>
                <a:gd name="T30" fmla="*/ 0 w 20"/>
                <a:gd name="T3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" h="22">
                  <a:moveTo>
                    <a:pt x="0" y="4"/>
                  </a:moveTo>
                  <a:lnTo>
                    <a:pt x="7" y="0"/>
                  </a:lnTo>
                  <a:lnTo>
                    <a:pt x="19" y="7"/>
                  </a:lnTo>
                  <a:lnTo>
                    <a:pt x="10" y="21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8" y="13"/>
                  </a:lnTo>
                  <a:lnTo>
                    <a:pt x="7" y="10"/>
                  </a:lnTo>
                  <a:lnTo>
                    <a:pt x="5" y="9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" name="Freeform 150"/>
            <p:cNvSpPr>
              <a:spLocks/>
            </p:cNvSpPr>
            <p:nvPr/>
          </p:nvSpPr>
          <p:spPr bwMode="auto">
            <a:xfrm>
              <a:off x="3257211" y="4684556"/>
              <a:ext cx="13865" cy="14282"/>
            </a:xfrm>
            <a:custGeom>
              <a:avLst/>
              <a:gdLst>
                <a:gd name="T0" fmla="*/ 0 w 20"/>
                <a:gd name="T1" fmla="*/ 4 h 22"/>
                <a:gd name="T2" fmla="*/ 7 w 20"/>
                <a:gd name="T3" fmla="*/ 0 h 22"/>
                <a:gd name="T4" fmla="*/ 19 w 20"/>
                <a:gd name="T5" fmla="*/ 7 h 22"/>
                <a:gd name="T6" fmla="*/ 10 w 20"/>
                <a:gd name="T7" fmla="*/ 21 h 22"/>
                <a:gd name="T8" fmla="*/ 10 w 20"/>
                <a:gd name="T9" fmla="*/ 21 h 22"/>
                <a:gd name="T10" fmla="*/ 10 w 20"/>
                <a:gd name="T11" fmla="*/ 19 h 22"/>
                <a:gd name="T12" fmla="*/ 10 w 20"/>
                <a:gd name="T13" fmla="*/ 18 h 22"/>
                <a:gd name="T14" fmla="*/ 10 w 20"/>
                <a:gd name="T15" fmla="*/ 16 h 22"/>
                <a:gd name="T16" fmla="*/ 10 w 20"/>
                <a:gd name="T17" fmla="*/ 15 h 22"/>
                <a:gd name="T18" fmla="*/ 8 w 20"/>
                <a:gd name="T19" fmla="*/ 13 h 22"/>
                <a:gd name="T20" fmla="*/ 7 w 20"/>
                <a:gd name="T21" fmla="*/ 10 h 22"/>
                <a:gd name="T22" fmla="*/ 5 w 20"/>
                <a:gd name="T23" fmla="*/ 9 h 22"/>
                <a:gd name="T24" fmla="*/ 1 w 20"/>
                <a:gd name="T25" fmla="*/ 6 h 22"/>
                <a:gd name="T26" fmla="*/ 1 w 20"/>
                <a:gd name="T27" fmla="*/ 6 h 22"/>
                <a:gd name="T28" fmla="*/ 1 w 20"/>
                <a:gd name="T29" fmla="*/ 6 h 22"/>
                <a:gd name="T30" fmla="*/ 0 w 20"/>
                <a:gd name="T31" fmla="*/ 6 h 22"/>
                <a:gd name="T32" fmla="*/ 0 w 20"/>
                <a:gd name="T33" fmla="*/ 4 h 22"/>
                <a:gd name="T34" fmla="*/ 0 w 20"/>
                <a:gd name="T35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" h="22">
                  <a:moveTo>
                    <a:pt x="0" y="4"/>
                  </a:moveTo>
                  <a:lnTo>
                    <a:pt x="7" y="0"/>
                  </a:lnTo>
                  <a:lnTo>
                    <a:pt x="19" y="7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8" y="13"/>
                  </a:lnTo>
                  <a:lnTo>
                    <a:pt x="7" y="10"/>
                  </a:lnTo>
                  <a:lnTo>
                    <a:pt x="5" y="9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" name="Freeform 151"/>
            <p:cNvSpPr>
              <a:spLocks/>
            </p:cNvSpPr>
            <p:nvPr/>
          </p:nvSpPr>
          <p:spPr bwMode="auto">
            <a:xfrm>
              <a:off x="2830419" y="5022359"/>
              <a:ext cx="294776" cy="317932"/>
            </a:xfrm>
            <a:custGeom>
              <a:avLst/>
              <a:gdLst>
                <a:gd name="T0" fmla="*/ 416 w 439"/>
                <a:gd name="T1" fmla="*/ 412 h 473"/>
                <a:gd name="T2" fmla="*/ 416 w 439"/>
                <a:gd name="T3" fmla="*/ 392 h 473"/>
                <a:gd name="T4" fmla="*/ 413 w 439"/>
                <a:gd name="T5" fmla="*/ 395 h 473"/>
                <a:gd name="T6" fmla="*/ 412 w 439"/>
                <a:gd name="T7" fmla="*/ 392 h 473"/>
                <a:gd name="T8" fmla="*/ 407 w 439"/>
                <a:gd name="T9" fmla="*/ 375 h 473"/>
                <a:gd name="T10" fmla="*/ 415 w 439"/>
                <a:gd name="T11" fmla="*/ 380 h 473"/>
                <a:gd name="T12" fmla="*/ 412 w 439"/>
                <a:gd name="T13" fmla="*/ 359 h 473"/>
                <a:gd name="T14" fmla="*/ 419 w 439"/>
                <a:gd name="T15" fmla="*/ 361 h 473"/>
                <a:gd name="T16" fmla="*/ 422 w 439"/>
                <a:gd name="T17" fmla="*/ 353 h 473"/>
                <a:gd name="T18" fmla="*/ 422 w 439"/>
                <a:gd name="T19" fmla="*/ 337 h 473"/>
                <a:gd name="T20" fmla="*/ 428 w 439"/>
                <a:gd name="T21" fmla="*/ 337 h 473"/>
                <a:gd name="T22" fmla="*/ 431 w 439"/>
                <a:gd name="T23" fmla="*/ 331 h 473"/>
                <a:gd name="T24" fmla="*/ 424 w 439"/>
                <a:gd name="T25" fmla="*/ 326 h 473"/>
                <a:gd name="T26" fmla="*/ 424 w 439"/>
                <a:gd name="T27" fmla="*/ 320 h 473"/>
                <a:gd name="T28" fmla="*/ 425 w 439"/>
                <a:gd name="T29" fmla="*/ 313 h 473"/>
                <a:gd name="T30" fmla="*/ 429 w 439"/>
                <a:gd name="T31" fmla="*/ 299 h 473"/>
                <a:gd name="T32" fmla="*/ 432 w 439"/>
                <a:gd name="T33" fmla="*/ 290 h 473"/>
                <a:gd name="T34" fmla="*/ 426 w 439"/>
                <a:gd name="T35" fmla="*/ 273 h 473"/>
                <a:gd name="T36" fmla="*/ 426 w 439"/>
                <a:gd name="T37" fmla="*/ 269 h 473"/>
                <a:gd name="T38" fmla="*/ 426 w 439"/>
                <a:gd name="T39" fmla="*/ 263 h 473"/>
                <a:gd name="T40" fmla="*/ 416 w 439"/>
                <a:gd name="T41" fmla="*/ 236 h 473"/>
                <a:gd name="T42" fmla="*/ 396 w 439"/>
                <a:gd name="T43" fmla="*/ 219 h 473"/>
                <a:gd name="T44" fmla="*/ 385 w 439"/>
                <a:gd name="T45" fmla="*/ 189 h 473"/>
                <a:gd name="T46" fmla="*/ 365 w 439"/>
                <a:gd name="T47" fmla="*/ 178 h 473"/>
                <a:gd name="T48" fmla="*/ 356 w 439"/>
                <a:gd name="T49" fmla="*/ 171 h 473"/>
                <a:gd name="T50" fmla="*/ 341 w 439"/>
                <a:gd name="T51" fmla="*/ 157 h 473"/>
                <a:gd name="T52" fmla="*/ 330 w 439"/>
                <a:gd name="T53" fmla="*/ 136 h 473"/>
                <a:gd name="T54" fmla="*/ 317 w 439"/>
                <a:gd name="T55" fmla="*/ 134 h 473"/>
                <a:gd name="T56" fmla="*/ 311 w 439"/>
                <a:gd name="T57" fmla="*/ 128 h 473"/>
                <a:gd name="T58" fmla="*/ 302 w 439"/>
                <a:gd name="T59" fmla="*/ 112 h 473"/>
                <a:gd name="T60" fmla="*/ 291 w 439"/>
                <a:gd name="T61" fmla="*/ 111 h 473"/>
                <a:gd name="T62" fmla="*/ 278 w 439"/>
                <a:gd name="T63" fmla="*/ 103 h 473"/>
                <a:gd name="T64" fmla="*/ 269 w 439"/>
                <a:gd name="T65" fmla="*/ 90 h 473"/>
                <a:gd name="T66" fmla="*/ 255 w 439"/>
                <a:gd name="T67" fmla="*/ 73 h 473"/>
                <a:gd name="T68" fmla="*/ 244 w 439"/>
                <a:gd name="T69" fmla="*/ 54 h 473"/>
                <a:gd name="T70" fmla="*/ 239 w 439"/>
                <a:gd name="T71" fmla="*/ 51 h 473"/>
                <a:gd name="T72" fmla="*/ 222 w 439"/>
                <a:gd name="T73" fmla="*/ 46 h 473"/>
                <a:gd name="T74" fmla="*/ 214 w 439"/>
                <a:gd name="T75" fmla="*/ 40 h 473"/>
                <a:gd name="T76" fmla="*/ 200 w 439"/>
                <a:gd name="T77" fmla="*/ 28 h 473"/>
                <a:gd name="T78" fmla="*/ 214 w 439"/>
                <a:gd name="T79" fmla="*/ 0 h 473"/>
                <a:gd name="T80" fmla="*/ 62 w 439"/>
                <a:gd name="T81" fmla="*/ 244 h 473"/>
                <a:gd name="T82" fmla="*/ 79 w 439"/>
                <a:gd name="T83" fmla="*/ 279 h 473"/>
                <a:gd name="T84" fmla="*/ 84 w 439"/>
                <a:gd name="T85" fmla="*/ 293 h 473"/>
                <a:gd name="T86" fmla="*/ 89 w 439"/>
                <a:gd name="T87" fmla="*/ 301 h 473"/>
                <a:gd name="T88" fmla="*/ 89 w 439"/>
                <a:gd name="T89" fmla="*/ 312 h 473"/>
                <a:gd name="T90" fmla="*/ 82 w 439"/>
                <a:gd name="T91" fmla="*/ 322 h 473"/>
                <a:gd name="T92" fmla="*/ 80 w 439"/>
                <a:gd name="T93" fmla="*/ 337 h 473"/>
                <a:gd name="T94" fmla="*/ 79 w 439"/>
                <a:gd name="T95" fmla="*/ 353 h 473"/>
                <a:gd name="T96" fmla="*/ 83 w 439"/>
                <a:gd name="T97" fmla="*/ 376 h 473"/>
                <a:gd name="T98" fmla="*/ 89 w 439"/>
                <a:gd name="T99" fmla="*/ 392 h 473"/>
                <a:gd name="T100" fmla="*/ 89 w 439"/>
                <a:gd name="T101" fmla="*/ 412 h 473"/>
                <a:gd name="T102" fmla="*/ 355 w 439"/>
                <a:gd name="T103" fmla="*/ 452 h 473"/>
                <a:gd name="T104" fmla="*/ 374 w 439"/>
                <a:gd name="T105" fmla="*/ 467 h 473"/>
                <a:gd name="T106" fmla="*/ 373 w 439"/>
                <a:gd name="T107" fmla="*/ 451 h 473"/>
                <a:gd name="T108" fmla="*/ 369 w 439"/>
                <a:gd name="T109" fmla="*/ 433 h 473"/>
                <a:gd name="T110" fmla="*/ 376 w 439"/>
                <a:gd name="T111" fmla="*/ 421 h 473"/>
                <a:gd name="T112" fmla="*/ 392 w 439"/>
                <a:gd name="T113" fmla="*/ 425 h 473"/>
                <a:gd name="T114" fmla="*/ 412 w 439"/>
                <a:gd name="T115" fmla="*/ 428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9" h="473">
                  <a:moveTo>
                    <a:pt x="418" y="421"/>
                  </a:moveTo>
                  <a:lnTo>
                    <a:pt x="413" y="416"/>
                  </a:lnTo>
                  <a:lnTo>
                    <a:pt x="412" y="413"/>
                  </a:lnTo>
                  <a:lnTo>
                    <a:pt x="416" y="412"/>
                  </a:lnTo>
                  <a:lnTo>
                    <a:pt x="418" y="401"/>
                  </a:lnTo>
                  <a:lnTo>
                    <a:pt x="415" y="401"/>
                  </a:lnTo>
                  <a:lnTo>
                    <a:pt x="415" y="398"/>
                  </a:lnTo>
                  <a:lnTo>
                    <a:pt x="416" y="392"/>
                  </a:lnTo>
                  <a:lnTo>
                    <a:pt x="412" y="391"/>
                  </a:lnTo>
                  <a:lnTo>
                    <a:pt x="413" y="392"/>
                  </a:lnTo>
                  <a:lnTo>
                    <a:pt x="413" y="394"/>
                  </a:lnTo>
                  <a:lnTo>
                    <a:pt x="413" y="395"/>
                  </a:lnTo>
                  <a:lnTo>
                    <a:pt x="413" y="397"/>
                  </a:lnTo>
                  <a:lnTo>
                    <a:pt x="413" y="397"/>
                  </a:lnTo>
                  <a:lnTo>
                    <a:pt x="413" y="395"/>
                  </a:lnTo>
                  <a:lnTo>
                    <a:pt x="412" y="392"/>
                  </a:lnTo>
                  <a:lnTo>
                    <a:pt x="409" y="386"/>
                  </a:lnTo>
                  <a:lnTo>
                    <a:pt x="407" y="379"/>
                  </a:lnTo>
                  <a:lnTo>
                    <a:pt x="407" y="376"/>
                  </a:lnTo>
                  <a:lnTo>
                    <a:pt x="407" y="375"/>
                  </a:lnTo>
                  <a:lnTo>
                    <a:pt x="409" y="375"/>
                  </a:lnTo>
                  <a:lnTo>
                    <a:pt x="412" y="376"/>
                  </a:lnTo>
                  <a:lnTo>
                    <a:pt x="413" y="379"/>
                  </a:lnTo>
                  <a:lnTo>
                    <a:pt x="415" y="380"/>
                  </a:lnTo>
                  <a:lnTo>
                    <a:pt x="415" y="380"/>
                  </a:lnTo>
                  <a:lnTo>
                    <a:pt x="415" y="365"/>
                  </a:lnTo>
                  <a:lnTo>
                    <a:pt x="412" y="359"/>
                  </a:lnTo>
                  <a:lnTo>
                    <a:pt x="412" y="359"/>
                  </a:lnTo>
                  <a:lnTo>
                    <a:pt x="413" y="361"/>
                  </a:lnTo>
                  <a:lnTo>
                    <a:pt x="415" y="361"/>
                  </a:lnTo>
                  <a:lnTo>
                    <a:pt x="416" y="361"/>
                  </a:lnTo>
                  <a:lnTo>
                    <a:pt x="419" y="361"/>
                  </a:lnTo>
                  <a:lnTo>
                    <a:pt x="421" y="361"/>
                  </a:lnTo>
                  <a:lnTo>
                    <a:pt x="421" y="361"/>
                  </a:lnTo>
                  <a:lnTo>
                    <a:pt x="422" y="361"/>
                  </a:lnTo>
                  <a:lnTo>
                    <a:pt x="422" y="353"/>
                  </a:lnTo>
                  <a:lnTo>
                    <a:pt x="422" y="347"/>
                  </a:lnTo>
                  <a:lnTo>
                    <a:pt x="422" y="343"/>
                  </a:lnTo>
                  <a:lnTo>
                    <a:pt x="422" y="340"/>
                  </a:lnTo>
                  <a:lnTo>
                    <a:pt x="422" y="337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8" y="337"/>
                  </a:lnTo>
                  <a:lnTo>
                    <a:pt x="429" y="335"/>
                  </a:lnTo>
                  <a:lnTo>
                    <a:pt x="431" y="334"/>
                  </a:lnTo>
                  <a:lnTo>
                    <a:pt x="431" y="332"/>
                  </a:lnTo>
                  <a:lnTo>
                    <a:pt x="431" y="331"/>
                  </a:lnTo>
                  <a:lnTo>
                    <a:pt x="429" y="331"/>
                  </a:lnTo>
                  <a:lnTo>
                    <a:pt x="429" y="329"/>
                  </a:lnTo>
                  <a:lnTo>
                    <a:pt x="428" y="329"/>
                  </a:lnTo>
                  <a:lnTo>
                    <a:pt x="424" y="326"/>
                  </a:lnTo>
                  <a:lnTo>
                    <a:pt x="422" y="325"/>
                  </a:lnTo>
                  <a:lnTo>
                    <a:pt x="421" y="323"/>
                  </a:lnTo>
                  <a:lnTo>
                    <a:pt x="422" y="322"/>
                  </a:lnTo>
                  <a:lnTo>
                    <a:pt x="424" y="320"/>
                  </a:lnTo>
                  <a:lnTo>
                    <a:pt x="425" y="320"/>
                  </a:lnTo>
                  <a:lnTo>
                    <a:pt x="426" y="320"/>
                  </a:lnTo>
                  <a:lnTo>
                    <a:pt x="428" y="319"/>
                  </a:lnTo>
                  <a:lnTo>
                    <a:pt x="425" y="313"/>
                  </a:lnTo>
                  <a:lnTo>
                    <a:pt x="425" y="307"/>
                  </a:lnTo>
                  <a:lnTo>
                    <a:pt x="426" y="304"/>
                  </a:lnTo>
                  <a:lnTo>
                    <a:pt x="428" y="301"/>
                  </a:lnTo>
                  <a:lnTo>
                    <a:pt x="429" y="299"/>
                  </a:lnTo>
                  <a:lnTo>
                    <a:pt x="431" y="298"/>
                  </a:lnTo>
                  <a:lnTo>
                    <a:pt x="432" y="298"/>
                  </a:lnTo>
                  <a:lnTo>
                    <a:pt x="432" y="296"/>
                  </a:lnTo>
                  <a:lnTo>
                    <a:pt x="432" y="290"/>
                  </a:lnTo>
                  <a:lnTo>
                    <a:pt x="438" y="286"/>
                  </a:lnTo>
                  <a:lnTo>
                    <a:pt x="437" y="279"/>
                  </a:lnTo>
                  <a:lnTo>
                    <a:pt x="429" y="277"/>
                  </a:lnTo>
                  <a:lnTo>
                    <a:pt x="426" y="273"/>
                  </a:lnTo>
                  <a:lnTo>
                    <a:pt x="428" y="273"/>
                  </a:lnTo>
                  <a:lnTo>
                    <a:pt x="428" y="271"/>
                  </a:lnTo>
                  <a:lnTo>
                    <a:pt x="426" y="270"/>
                  </a:lnTo>
                  <a:lnTo>
                    <a:pt x="426" y="269"/>
                  </a:lnTo>
                  <a:lnTo>
                    <a:pt x="426" y="268"/>
                  </a:lnTo>
                  <a:lnTo>
                    <a:pt x="426" y="266"/>
                  </a:lnTo>
                  <a:lnTo>
                    <a:pt x="426" y="265"/>
                  </a:lnTo>
                  <a:lnTo>
                    <a:pt x="426" y="263"/>
                  </a:lnTo>
                  <a:lnTo>
                    <a:pt x="426" y="263"/>
                  </a:lnTo>
                  <a:lnTo>
                    <a:pt x="425" y="252"/>
                  </a:lnTo>
                  <a:lnTo>
                    <a:pt x="421" y="243"/>
                  </a:lnTo>
                  <a:lnTo>
                    <a:pt x="416" y="236"/>
                  </a:lnTo>
                  <a:lnTo>
                    <a:pt x="410" y="229"/>
                  </a:lnTo>
                  <a:lnTo>
                    <a:pt x="404" y="224"/>
                  </a:lnTo>
                  <a:lnTo>
                    <a:pt x="399" y="221"/>
                  </a:lnTo>
                  <a:lnTo>
                    <a:pt x="396" y="219"/>
                  </a:lnTo>
                  <a:lnTo>
                    <a:pt x="395" y="217"/>
                  </a:lnTo>
                  <a:lnTo>
                    <a:pt x="393" y="204"/>
                  </a:lnTo>
                  <a:lnTo>
                    <a:pt x="391" y="196"/>
                  </a:lnTo>
                  <a:lnTo>
                    <a:pt x="385" y="189"/>
                  </a:lnTo>
                  <a:lnTo>
                    <a:pt x="379" y="184"/>
                  </a:lnTo>
                  <a:lnTo>
                    <a:pt x="373" y="181"/>
                  </a:lnTo>
                  <a:lnTo>
                    <a:pt x="369" y="180"/>
                  </a:lnTo>
                  <a:lnTo>
                    <a:pt x="365" y="178"/>
                  </a:lnTo>
                  <a:lnTo>
                    <a:pt x="363" y="178"/>
                  </a:lnTo>
                  <a:lnTo>
                    <a:pt x="363" y="177"/>
                  </a:lnTo>
                  <a:lnTo>
                    <a:pt x="360" y="175"/>
                  </a:lnTo>
                  <a:lnTo>
                    <a:pt x="356" y="171"/>
                  </a:lnTo>
                  <a:lnTo>
                    <a:pt x="352" y="168"/>
                  </a:lnTo>
                  <a:lnTo>
                    <a:pt x="347" y="164"/>
                  </a:lnTo>
                  <a:lnTo>
                    <a:pt x="344" y="160"/>
                  </a:lnTo>
                  <a:lnTo>
                    <a:pt x="341" y="157"/>
                  </a:lnTo>
                  <a:lnTo>
                    <a:pt x="340" y="154"/>
                  </a:lnTo>
                  <a:lnTo>
                    <a:pt x="337" y="147"/>
                  </a:lnTo>
                  <a:lnTo>
                    <a:pt x="333" y="141"/>
                  </a:lnTo>
                  <a:lnTo>
                    <a:pt x="330" y="136"/>
                  </a:lnTo>
                  <a:lnTo>
                    <a:pt x="326" y="135"/>
                  </a:lnTo>
                  <a:lnTo>
                    <a:pt x="323" y="134"/>
                  </a:lnTo>
                  <a:lnTo>
                    <a:pt x="320" y="134"/>
                  </a:lnTo>
                  <a:lnTo>
                    <a:pt x="317" y="134"/>
                  </a:lnTo>
                  <a:lnTo>
                    <a:pt x="317" y="134"/>
                  </a:lnTo>
                  <a:lnTo>
                    <a:pt x="316" y="133"/>
                  </a:lnTo>
                  <a:lnTo>
                    <a:pt x="314" y="130"/>
                  </a:lnTo>
                  <a:lnTo>
                    <a:pt x="311" y="128"/>
                  </a:lnTo>
                  <a:lnTo>
                    <a:pt x="310" y="126"/>
                  </a:lnTo>
                  <a:lnTo>
                    <a:pt x="307" y="120"/>
                  </a:lnTo>
                  <a:lnTo>
                    <a:pt x="304" y="115"/>
                  </a:lnTo>
                  <a:lnTo>
                    <a:pt x="302" y="112"/>
                  </a:lnTo>
                  <a:lnTo>
                    <a:pt x="299" y="111"/>
                  </a:lnTo>
                  <a:lnTo>
                    <a:pt x="296" y="109"/>
                  </a:lnTo>
                  <a:lnTo>
                    <a:pt x="294" y="111"/>
                  </a:lnTo>
                  <a:lnTo>
                    <a:pt x="291" y="111"/>
                  </a:lnTo>
                  <a:lnTo>
                    <a:pt x="291" y="111"/>
                  </a:lnTo>
                  <a:lnTo>
                    <a:pt x="286" y="109"/>
                  </a:lnTo>
                  <a:lnTo>
                    <a:pt x="281" y="108"/>
                  </a:lnTo>
                  <a:lnTo>
                    <a:pt x="278" y="103"/>
                  </a:lnTo>
                  <a:lnTo>
                    <a:pt x="275" y="100"/>
                  </a:lnTo>
                  <a:lnTo>
                    <a:pt x="272" y="95"/>
                  </a:lnTo>
                  <a:lnTo>
                    <a:pt x="271" y="93"/>
                  </a:lnTo>
                  <a:lnTo>
                    <a:pt x="269" y="90"/>
                  </a:lnTo>
                  <a:lnTo>
                    <a:pt x="269" y="88"/>
                  </a:lnTo>
                  <a:lnTo>
                    <a:pt x="266" y="85"/>
                  </a:lnTo>
                  <a:lnTo>
                    <a:pt x="260" y="79"/>
                  </a:lnTo>
                  <a:lnTo>
                    <a:pt x="255" y="73"/>
                  </a:lnTo>
                  <a:lnTo>
                    <a:pt x="251" y="67"/>
                  </a:lnTo>
                  <a:lnTo>
                    <a:pt x="248" y="63"/>
                  </a:lnTo>
                  <a:lnTo>
                    <a:pt x="247" y="57"/>
                  </a:lnTo>
                  <a:lnTo>
                    <a:pt x="244" y="54"/>
                  </a:lnTo>
                  <a:lnTo>
                    <a:pt x="244" y="52"/>
                  </a:lnTo>
                  <a:lnTo>
                    <a:pt x="244" y="51"/>
                  </a:lnTo>
                  <a:lnTo>
                    <a:pt x="241" y="51"/>
                  </a:lnTo>
                  <a:lnTo>
                    <a:pt x="239" y="51"/>
                  </a:lnTo>
                  <a:lnTo>
                    <a:pt x="238" y="49"/>
                  </a:lnTo>
                  <a:lnTo>
                    <a:pt x="233" y="49"/>
                  </a:lnTo>
                  <a:lnTo>
                    <a:pt x="227" y="48"/>
                  </a:lnTo>
                  <a:lnTo>
                    <a:pt x="222" y="46"/>
                  </a:lnTo>
                  <a:lnTo>
                    <a:pt x="220" y="45"/>
                  </a:lnTo>
                  <a:lnTo>
                    <a:pt x="217" y="43"/>
                  </a:lnTo>
                  <a:lnTo>
                    <a:pt x="215" y="42"/>
                  </a:lnTo>
                  <a:lnTo>
                    <a:pt x="214" y="40"/>
                  </a:lnTo>
                  <a:lnTo>
                    <a:pt x="214" y="40"/>
                  </a:lnTo>
                  <a:lnTo>
                    <a:pt x="203" y="39"/>
                  </a:lnTo>
                  <a:lnTo>
                    <a:pt x="200" y="34"/>
                  </a:lnTo>
                  <a:lnTo>
                    <a:pt x="200" y="28"/>
                  </a:lnTo>
                  <a:lnTo>
                    <a:pt x="201" y="19"/>
                  </a:lnTo>
                  <a:lnTo>
                    <a:pt x="205" y="12"/>
                  </a:lnTo>
                  <a:lnTo>
                    <a:pt x="211" y="4"/>
                  </a:lnTo>
                  <a:lnTo>
                    <a:pt x="214" y="0"/>
                  </a:lnTo>
                  <a:lnTo>
                    <a:pt x="215" y="0"/>
                  </a:lnTo>
                  <a:lnTo>
                    <a:pt x="110" y="15"/>
                  </a:lnTo>
                  <a:lnTo>
                    <a:pt x="0" y="27"/>
                  </a:lnTo>
                  <a:lnTo>
                    <a:pt x="62" y="244"/>
                  </a:lnTo>
                  <a:lnTo>
                    <a:pt x="76" y="276"/>
                  </a:lnTo>
                  <a:lnTo>
                    <a:pt x="77" y="277"/>
                  </a:lnTo>
                  <a:lnTo>
                    <a:pt x="77" y="277"/>
                  </a:lnTo>
                  <a:lnTo>
                    <a:pt x="79" y="279"/>
                  </a:lnTo>
                  <a:lnTo>
                    <a:pt x="80" y="282"/>
                  </a:lnTo>
                  <a:lnTo>
                    <a:pt x="82" y="284"/>
                  </a:lnTo>
                  <a:lnTo>
                    <a:pt x="84" y="287"/>
                  </a:lnTo>
                  <a:lnTo>
                    <a:pt x="84" y="293"/>
                  </a:lnTo>
                  <a:lnTo>
                    <a:pt x="84" y="298"/>
                  </a:lnTo>
                  <a:lnTo>
                    <a:pt x="86" y="299"/>
                  </a:lnTo>
                  <a:lnTo>
                    <a:pt x="87" y="301"/>
                  </a:lnTo>
                  <a:lnTo>
                    <a:pt x="89" y="301"/>
                  </a:lnTo>
                  <a:lnTo>
                    <a:pt x="92" y="302"/>
                  </a:lnTo>
                  <a:lnTo>
                    <a:pt x="92" y="304"/>
                  </a:lnTo>
                  <a:lnTo>
                    <a:pt x="92" y="307"/>
                  </a:lnTo>
                  <a:lnTo>
                    <a:pt x="89" y="312"/>
                  </a:lnTo>
                  <a:lnTo>
                    <a:pt x="83" y="317"/>
                  </a:lnTo>
                  <a:lnTo>
                    <a:pt x="83" y="319"/>
                  </a:lnTo>
                  <a:lnTo>
                    <a:pt x="82" y="319"/>
                  </a:lnTo>
                  <a:lnTo>
                    <a:pt x="82" y="322"/>
                  </a:lnTo>
                  <a:lnTo>
                    <a:pt x="82" y="323"/>
                  </a:lnTo>
                  <a:lnTo>
                    <a:pt x="80" y="328"/>
                  </a:lnTo>
                  <a:lnTo>
                    <a:pt x="80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46"/>
                  </a:lnTo>
                  <a:lnTo>
                    <a:pt x="79" y="349"/>
                  </a:lnTo>
                  <a:lnTo>
                    <a:pt x="79" y="353"/>
                  </a:lnTo>
                  <a:lnTo>
                    <a:pt x="79" y="358"/>
                  </a:lnTo>
                  <a:lnTo>
                    <a:pt x="79" y="365"/>
                  </a:lnTo>
                  <a:lnTo>
                    <a:pt x="80" y="370"/>
                  </a:lnTo>
                  <a:lnTo>
                    <a:pt x="83" y="376"/>
                  </a:lnTo>
                  <a:lnTo>
                    <a:pt x="87" y="380"/>
                  </a:lnTo>
                  <a:lnTo>
                    <a:pt x="87" y="383"/>
                  </a:lnTo>
                  <a:lnTo>
                    <a:pt x="87" y="386"/>
                  </a:lnTo>
                  <a:lnTo>
                    <a:pt x="89" y="392"/>
                  </a:lnTo>
                  <a:lnTo>
                    <a:pt x="89" y="398"/>
                  </a:lnTo>
                  <a:lnTo>
                    <a:pt x="89" y="404"/>
                  </a:lnTo>
                  <a:lnTo>
                    <a:pt x="89" y="408"/>
                  </a:lnTo>
                  <a:lnTo>
                    <a:pt x="89" y="412"/>
                  </a:lnTo>
                  <a:lnTo>
                    <a:pt x="89" y="413"/>
                  </a:lnTo>
                  <a:lnTo>
                    <a:pt x="103" y="441"/>
                  </a:lnTo>
                  <a:lnTo>
                    <a:pt x="117" y="469"/>
                  </a:lnTo>
                  <a:lnTo>
                    <a:pt x="355" y="452"/>
                  </a:lnTo>
                  <a:lnTo>
                    <a:pt x="363" y="472"/>
                  </a:lnTo>
                  <a:lnTo>
                    <a:pt x="376" y="472"/>
                  </a:lnTo>
                  <a:lnTo>
                    <a:pt x="376" y="470"/>
                  </a:lnTo>
                  <a:lnTo>
                    <a:pt x="374" y="467"/>
                  </a:lnTo>
                  <a:lnTo>
                    <a:pt x="374" y="464"/>
                  </a:lnTo>
                  <a:lnTo>
                    <a:pt x="374" y="460"/>
                  </a:lnTo>
                  <a:lnTo>
                    <a:pt x="373" y="455"/>
                  </a:lnTo>
                  <a:lnTo>
                    <a:pt x="373" y="451"/>
                  </a:lnTo>
                  <a:lnTo>
                    <a:pt x="373" y="448"/>
                  </a:lnTo>
                  <a:lnTo>
                    <a:pt x="373" y="446"/>
                  </a:lnTo>
                  <a:lnTo>
                    <a:pt x="369" y="439"/>
                  </a:lnTo>
                  <a:lnTo>
                    <a:pt x="369" y="433"/>
                  </a:lnTo>
                  <a:lnTo>
                    <a:pt x="369" y="428"/>
                  </a:lnTo>
                  <a:lnTo>
                    <a:pt x="371" y="425"/>
                  </a:lnTo>
                  <a:lnTo>
                    <a:pt x="374" y="422"/>
                  </a:lnTo>
                  <a:lnTo>
                    <a:pt x="376" y="421"/>
                  </a:lnTo>
                  <a:lnTo>
                    <a:pt x="379" y="421"/>
                  </a:lnTo>
                  <a:lnTo>
                    <a:pt x="380" y="421"/>
                  </a:lnTo>
                  <a:lnTo>
                    <a:pt x="385" y="424"/>
                  </a:lnTo>
                  <a:lnTo>
                    <a:pt x="392" y="425"/>
                  </a:lnTo>
                  <a:lnTo>
                    <a:pt x="398" y="427"/>
                  </a:lnTo>
                  <a:lnTo>
                    <a:pt x="404" y="428"/>
                  </a:lnTo>
                  <a:lnTo>
                    <a:pt x="409" y="428"/>
                  </a:lnTo>
                  <a:lnTo>
                    <a:pt x="412" y="428"/>
                  </a:lnTo>
                  <a:lnTo>
                    <a:pt x="415" y="428"/>
                  </a:lnTo>
                  <a:lnTo>
                    <a:pt x="416" y="428"/>
                  </a:lnTo>
                  <a:lnTo>
                    <a:pt x="418" y="421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" name="Freeform 152"/>
            <p:cNvSpPr>
              <a:spLocks/>
            </p:cNvSpPr>
            <p:nvPr/>
          </p:nvSpPr>
          <p:spPr bwMode="auto">
            <a:xfrm>
              <a:off x="2830419" y="5022359"/>
              <a:ext cx="294776" cy="317932"/>
            </a:xfrm>
            <a:custGeom>
              <a:avLst/>
              <a:gdLst>
                <a:gd name="T0" fmla="*/ 418 w 439"/>
                <a:gd name="T1" fmla="*/ 401 h 473"/>
                <a:gd name="T2" fmla="*/ 412 w 439"/>
                <a:gd name="T3" fmla="*/ 391 h 473"/>
                <a:gd name="T4" fmla="*/ 413 w 439"/>
                <a:gd name="T5" fmla="*/ 397 h 473"/>
                <a:gd name="T6" fmla="*/ 407 w 439"/>
                <a:gd name="T7" fmla="*/ 379 h 473"/>
                <a:gd name="T8" fmla="*/ 413 w 439"/>
                <a:gd name="T9" fmla="*/ 379 h 473"/>
                <a:gd name="T10" fmla="*/ 412 w 439"/>
                <a:gd name="T11" fmla="*/ 359 h 473"/>
                <a:gd name="T12" fmla="*/ 419 w 439"/>
                <a:gd name="T13" fmla="*/ 361 h 473"/>
                <a:gd name="T14" fmla="*/ 422 w 439"/>
                <a:gd name="T15" fmla="*/ 353 h 473"/>
                <a:gd name="T16" fmla="*/ 424 w 439"/>
                <a:gd name="T17" fmla="*/ 337 h 473"/>
                <a:gd name="T18" fmla="*/ 429 w 439"/>
                <a:gd name="T19" fmla="*/ 335 h 473"/>
                <a:gd name="T20" fmla="*/ 429 w 439"/>
                <a:gd name="T21" fmla="*/ 329 h 473"/>
                <a:gd name="T22" fmla="*/ 421 w 439"/>
                <a:gd name="T23" fmla="*/ 323 h 473"/>
                <a:gd name="T24" fmla="*/ 428 w 439"/>
                <a:gd name="T25" fmla="*/ 319 h 473"/>
                <a:gd name="T26" fmla="*/ 428 w 439"/>
                <a:gd name="T27" fmla="*/ 301 h 473"/>
                <a:gd name="T28" fmla="*/ 432 w 439"/>
                <a:gd name="T29" fmla="*/ 290 h 473"/>
                <a:gd name="T30" fmla="*/ 428 w 439"/>
                <a:gd name="T31" fmla="*/ 273 h 473"/>
                <a:gd name="T32" fmla="*/ 426 w 439"/>
                <a:gd name="T33" fmla="*/ 268 h 473"/>
                <a:gd name="T34" fmla="*/ 426 w 439"/>
                <a:gd name="T35" fmla="*/ 263 h 473"/>
                <a:gd name="T36" fmla="*/ 404 w 439"/>
                <a:gd name="T37" fmla="*/ 224 h 473"/>
                <a:gd name="T38" fmla="*/ 393 w 439"/>
                <a:gd name="T39" fmla="*/ 204 h 473"/>
                <a:gd name="T40" fmla="*/ 369 w 439"/>
                <a:gd name="T41" fmla="*/ 180 h 473"/>
                <a:gd name="T42" fmla="*/ 360 w 439"/>
                <a:gd name="T43" fmla="*/ 175 h 473"/>
                <a:gd name="T44" fmla="*/ 341 w 439"/>
                <a:gd name="T45" fmla="*/ 157 h 473"/>
                <a:gd name="T46" fmla="*/ 330 w 439"/>
                <a:gd name="T47" fmla="*/ 136 h 473"/>
                <a:gd name="T48" fmla="*/ 317 w 439"/>
                <a:gd name="T49" fmla="*/ 134 h 473"/>
                <a:gd name="T50" fmla="*/ 310 w 439"/>
                <a:gd name="T51" fmla="*/ 126 h 473"/>
                <a:gd name="T52" fmla="*/ 299 w 439"/>
                <a:gd name="T53" fmla="*/ 111 h 473"/>
                <a:gd name="T54" fmla="*/ 291 w 439"/>
                <a:gd name="T55" fmla="*/ 111 h 473"/>
                <a:gd name="T56" fmla="*/ 272 w 439"/>
                <a:gd name="T57" fmla="*/ 95 h 473"/>
                <a:gd name="T58" fmla="*/ 266 w 439"/>
                <a:gd name="T59" fmla="*/ 85 h 473"/>
                <a:gd name="T60" fmla="*/ 247 w 439"/>
                <a:gd name="T61" fmla="*/ 57 h 473"/>
                <a:gd name="T62" fmla="*/ 241 w 439"/>
                <a:gd name="T63" fmla="*/ 51 h 473"/>
                <a:gd name="T64" fmla="*/ 227 w 439"/>
                <a:gd name="T65" fmla="*/ 48 h 473"/>
                <a:gd name="T66" fmla="*/ 214 w 439"/>
                <a:gd name="T67" fmla="*/ 40 h 473"/>
                <a:gd name="T68" fmla="*/ 200 w 439"/>
                <a:gd name="T69" fmla="*/ 28 h 473"/>
                <a:gd name="T70" fmla="*/ 215 w 439"/>
                <a:gd name="T71" fmla="*/ 0 h 473"/>
                <a:gd name="T72" fmla="*/ 76 w 439"/>
                <a:gd name="T73" fmla="*/ 276 h 473"/>
                <a:gd name="T74" fmla="*/ 82 w 439"/>
                <a:gd name="T75" fmla="*/ 284 h 473"/>
                <a:gd name="T76" fmla="*/ 86 w 439"/>
                <a:gd name="T77" fmla="*/ 299 h 473"/>
                <a:gd name="T78" fmla="*/ 92 w 439"/>
                <a:gd name="T79" fmla="*/ 307 h 473"/>
                <a:gd name="T80" fmla="*/ 82 w 439"/>
                <a:gd name="T81" fmla="*/ 319 h 473"/>
                <a:gd name="T82" fmla="*/ 80 w 439"/>
                <a:gd name="T83" fmla="*/ 337 h 473"/>
                <a:gd name="T84" fmla="*/ 79 w 439"/>
                <a:gd name="T85" fmla="*/ 353 h 473"/>
                <a:gd name="T86" fmla="*/ 87 w 439"/>
                <a:gd name="T87" fmla="*/ 380 h 473"/>
                <a:gd name="T88" fmla="*/ 89 w 439"/>
                <a:gd name="T89" fmla="*/ 398 h 473"/>
                <a:gd name="T90" fmla="*/ 103 w 439"/>
                <a:gd name="T91" fmla="*/ 441 h 473"/>
                <a:gd name="T92" fmla="*/ 376 w 439"/>
                <a:gd name="T93" fmla="*/ 472 h 473"/>
                <a:gd name="T94" fmla="*/ 373 w 439"/>
                <a:gd name="T95" fmla="*/ 455 h 473"/>
                <a:gd name="T96" fmla="*/ 369 w 439"/>
                <a:gd name="T97" fmla="*/ 439 h 473"/>
                <a:gd name="T98" fmla="*/ 376 w 439"/>
                <a:gd name="T99" fmla="*/ 421 h 473"/>
                <a:gd name="T100" fmla="*/ 392 w 439"/>
                <a:gd name="T101" fmla="*/ 425 h 473"/>
                <a:gd name="T102" fmla="*/ 415 w 439"/>
                <a:gd name="T103" fmla="*/ 428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9" h="473">
                  <a:moveTo>
                    <a:pt x="418" y="421"/>
                  </a:moveTo>
                  <a:lnTo>
                    <a:pt x="413" y="416"/>
                  </a:lnTo>
                  <a:lnTo>
                    <a:pt x="412" y="413"/>
                  </a:lnTo>
                  <a:lnTo>
                    <a:pt x="416" y="412"/>
                  </a:lnTo>
                  <a:lnTo>
                    <a:pt x="418" y="401"/>
                  </a:lnTo>
                  <a:lnTo>
                    <a:pt x="415" y="401"/>
                  </a:lnTo>
                  <a:lnTo>
                    <a:pt x="415" y="398"/>
                  </a:lnTo>
                  <a:lnTo>
                    <a:pt x="416" y="392"/>
                  </a:lnTo>
                  <a:lnTo>
                    <a:pt x="412" y="391"/>
                  </a:lnTo>
                  <a:lnTo>
                    <a:pt x="412" y="391"/>
                  </a:lnTo>
                  <a:lnTo>
                    <a:pt x="413" y="392"/>
                  </a:lnTo>
                  <a:lnTo>
                    <a:pt x="413" y="394"/>
                  </a:lnTo>
                  <a:lnTo>
                    <a:pt x="413" y="395"/>
                  </a:lnTo>
                  <a:lnTo>
                    <a:pt x="413" y="397"/>
                  </a:lnTo>
                  <a:lnTo>
                    <a:pt x="413" y="397"/>
                  </a:lnTo>
                  <a:lnTo>
                    <a:pt x="413" y="395"/>
                  </a:lnTo>
                  <a:lnTo>
                    <a:pt x="412" y="392"/>
                  </a:lnTo>
                  <a:lnTo>
                    <a:pt x="409" y="386"/>
                  </a:lnTo>
                  <a:lnTo>
                    <a:pt x="409" y="386"/>
                  </a:lnTo>
                  <a:lnTo>
                    <a:pt x="407" y="379"/>
                  </a:lnTo>
                  <a:lnTo>
                    <a:pt x="407" y="376"/>
                  </a:lnTo>
                  <a:lnTo>
                    <a:pt x="407" y="375"/>
                  </a:lnTo>
                  <a:lnTo>
                    <a:pt x="409" y="375"/>
                  </a:lnTo>
                  <a:lnTo>
                    <a:pt x="412" y="376"/>
                  </a:lnTo>
                  <a:lnTo>
                    <a:pt x="413" y="379"/>
                  </a:lnTo>
                  <a:lnTo>
                    <a:pt x="415" y="380"/>
                  </a:lnTo>
                  <a:lnTo>
                    <a:pt x="415" y="380"/>
                  </a:lnTo>
                  <a:lnTo>
                    <a:pt x="415" y="365"/>
                  </a:lnTo>
                  <a:lnTo>
                    <a:pt x="412" y="359"/>
                  </a:lnTo>
                  <a:lnTo>
                    <a:pt x="412" y="359"/>
                  </a:lnTo>
                  <a:lnTo>
                    <a:pt x="412" y="359"/>
                  </a:lnTo>
                  <a:lnTo>
                    <a:pt x="413" y="361"/>
                  </a:lnTo>
                  <a:lnTo>
                    <a:pt x="415" y="361"/>
                  </a:lnTo>
                  <a:lnTo>
                    <a:pt x="416" y="361"/>
                  </a:lnTo>
                  <a:lnTo>
                    <a:pt x="419" y="361"/>
                  </a:lnTo>
                  <a:lnTo>
                    <a:pt x="421" y="361"/>
                  </a:lnTo>
                  <a:lnTo>
                    <a:pt x="421" y="361"/>
                  </a:lnTo>
                  <a:lnTo>
                    <a:pt x="422" y="361"/>
                  </a:lnTo>
                  <a:lnTo>
                    <a:pt x="422" y="361"/>
                  </a:lnTo>
                  <a:lnTo>
                    <a:pt x="422" y="353"/>
                  </a:lnTo>
                  <a:lnTo>
                    <a:pt x="422" y="347"/>
                  </a:lnTo>
                  <a:lnTo>
                    <a:pt x="422" y="343"/>
                  </a:lnTo>
                  <a:lnTo>
                    <a:pt x="422" y="340"/>
                  </a:lnTo>
                  <a:lnTo>
                    <a:pt x="422" y="337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8" y="337"/>
                  </a:lnTo>
                  <a:lnTo>
                    <a:pt x="429" y="335"/>
                  </a:lnTo>
                  <a:lnTo>
                    <a:pt x="431" y="334"/>
                  </a:lnTo>
                  <a:lnTo>
                    <a:pt x="431" y="332"/>
                  </a:lnTo>
                  <a:lnTo>
                    <a:pt x="431" y="331"/>
                  </a:lnTo>
                  <a:lnTo>
                    <a:pt x="429" y="331"/>
                  </a:lnTo>
                  <a:lnTo>
                    <a:pt x="429" y="329"/>
                  </a:lnTo>
                  <a:lnTo>
                    <a:pt x="428" y="329"/>
                  </a:lnTo>
                  <a:lnTo>
                    <a:pt x="428" y="329"/>
                  </a:lnTo>
                  <a:lnTo>
                    <a:pt x="424" y="326"/>
                  </a:lnTo>
                  <a:lnTo>
                    <a:pt x="422" y="325"/>
                  </a:lnTo>
                  <a:lnTo>
                    <a:pt x="421" y="323"/>
                  </a:lnTo>
                  <a:lnTo>
                    <a:pt x="422" y="322"/>
                  </a:lnTo>
                  <a:lnTo>
                    <a:pt x="424" y="320"/>
                  </a:lnTo>
                  <a:lnTo>
                    <a:pt x="425" y="320"/>
                  </a:lnTo>
                  <a:lnTo>
                    <a:pt x="426" y="320"/>
                  </a:lnTo>
                  <a:lnTo>
                    <a:pt x="428" y="319"/>
                  </a:lnTo>
                  <a:lnTo>
                    <a:pt x="428" y="319"/>
                  </a:lnTo>
                  <a:lnTo>
                    <a:pt x="425" y="313"/>
                  </a:lnTo>
                  <a:lnTo>
                    <a:pt x="425" y="307"/>
                  </a:lnTo>
                  <a:lnTo>
                    <a:pt x="426" y="304"/>
                  </a:lnTo>
                  <a:lnTo>
                    <a:pt x="428" y="301"/>
                  </a:lnTo>
                  <a:lnTo>
                    <a:pt x="429" y="299"/>
                  </a:lnTo>
                  <a:lnTo>
                    <a:pt x="431" y="298"/>
                  </a:lnTo>
                  <a:lnTo>
                    <a:pt x="432" y="298"/>
                  </a:lnTo>
                  <a:lnTo>
                    <a:pt x="432" y="296"/>
                  </a:lnTo>
                  <a:lnTo>
                    <a:pt x="432" y="290"/>
                  </a:lnTo>
                  <a:lnTo>
                    <a:pt x="438" y="286"/>
                  </a:lnTo>
                  <a:lnTo>
                    <a:pt x="437" y="279"/>
                  </a:lnTo>
                  <a:lnTo>
                    <a:pt x="429" y="277"/>
                  </a:lnTo>
                  <a:lnTo>
                    <a:pt x="426" y="273"/>
                  </a:lnTo>
                  <a:lnTo>
                    <a:pt x="428" y="273"/>
                  </a:lnTo>
                  <a:lnTo>
                    <a:pt x="428" y="273"/>
                  </a:lnTo>
                  <a:lnTo>
                    <a:pt x="428" y="271"/>
                  </a:lnTo>
                  <a:lnTo>
                    <a:pt x="426" y="270"/>
                  </a:lnTo>
                  <a:lnTo>
                    <a:pt x="426" y="269"/>
                  </a:lnTo>
                  <a:lnTo>
                    <a:pt x="426" y="268"/>
                  </a:lnTo>
                  <a:lnTo>
                    <a:pt x="426" y="266"/>
                  </a:lnTo>
                  <a:lnTo>
                    <a:pt x="426" y="265"/>
                  </a:lnTo>
                  <a:lnTo>
                    <a:pt x="426" y="263"/>
                  </a:lnTo>
                  <a:lnTo>
                    <a:pt x="426" y="263"/>
                  </a:lnTo>
                  <a:lnTo>
                    <a:pt x="426" y="263"/>
                  </a:lnTo>
                  <a:lnTo>
                    <a:pt x="425" y="252"/>
                  </a:lnTo>
                  <a:lnTo>
                    <a:pt x="421" y="243"/>
                  </a:lnTo>
                  <a:lnTo>
                    <a:pt x="416" y="236"/>
                  </a:lnTo>
                  <a:lnTo>
                    <a:pt x="410" y="229"/>
                  </a:lnTo>
                  <a:lnTo>
                    <a:pt x="404" y="224"/>
                  </a:lnTo>
                  <a:lnTo>
                    <a:pt x="399" y="221"/>
                  </a:lnTo>
                  <a:lnTo>
                    <a:pt x="396" y="219"/>
                  </a:lnTo>
                  <a:lnTo>
                    <a:pt x="395" y="217"/>
                  </a:lnTo>
                  <a:lnTo>
                    <a:pt x="395" y="217"/>
                  </a:lnTo>
                  <a:lnTo>
                    <a:pt x="393" y="204"/>
                  </a:lnTo>
                  <a:lnTo>
                    <a:pt x="391" y="196"/>
                  </a:lnTo>
                  <a:lnTo>
                    <a:pt x="385" y="189"/>
                  </a:lnTo>
                  <a:lnTo>
                    <a:pt x="379" y="184"/>
                  </a:lnTo>
                  <a:lnTo>
                    <a:pt x="373" y="181"/>
                  </a:lnTo>
                  <a:lnTo>
                    <a:pt x="369" y="180"/>
                  </a:lnTo>
                  <a:lnTo>
                    <a:pt x="365" y="178"/>
                  </a:lnTo>
                  <a:lnTo>
                    <a:pt x="363" y="178"/>
                  </a:lnTo>
                  <a:lnTo>
                    <a:pt x="363" y="178"/>
                  </a:lnTo>
                  <a:lnTo>
                    <a:pt x="363" y="177"/>
                  </a:lnTo>
                  <a:lnTo>
                    <a:pt x="360" y="175"/>
                  </a:lnTo>
                  <a:lnTo>
                    <a:pt x="356" y="171"/>
                  </a:lnTo>
                  <a:lnTo>
                    <a:pt x="352" y="168"/>
                  </a:lnTo>
                  <a:lnTo>
                    <a:pt x="347" y="164"/>
                  </a:lnTo>
                  <a:lnTo>
                    <a:pt x="344" y="160"/>
                  </a:lnTo>
                  <a:lnTo>
                    <a:pt x="341" y="157"/>
                  </a:lnTo>
                  <a:lnTo>
                    <a:pt x="340" y="154"/>
                  </a:lnTo>
                  <a:lnTo>
                    <a:pt x="340" y="154"/>
                  </a:lnTo>
                  <a:lnTo>
                    <a:pt x="337" y="147"/>
                  </a:lnTo>
                  <a:lnTo>
                    <a:pt x="333" y="141"/>
                  </a:lnTo>
                  <a:lnTo>
                    <a:pt x="330" y="136"/>
                  </a:lnTo>
                  <a:lnTo>
                    <a:pt x="326" y="135"/>
                  </a:lnTo>
                  <a:lnTo>
                    <a:pt x="323" y="134"/>
                  </a:lnTo>
                  <a:lnTo>
                    <a:pt x="320" y="134"/>
                  </a:lnTo>
                  <a:lnTo>
                    <a:pt x="317" y="134"/>
                  </a:lnTo>
                  <a:lnTo>
                    <a:pt x="317" y="134"/>
                  </a:lnTo>
                  <a:lnTo>
                    <a:pt x="317" y="134"/>
                  </a:lnTo>
                  <a:lnTo>
                    <a:pt x="316" y="133"/>
                  </a:lnTo>
                  <a:lnTo>
                    <a:pt x="314" y="130"/>
                  </a:lnTo>
                  <a:lnTo>
                    <a:pt x="311" y="128"/>
                  </a:lnTo>
                  <a:lnTo>
                    <a:pt x="310" y="126"/>
                  </a:lnTo>
                  <a:lnTo>
                    <a:pt x="310" y="126"/>
                  </a:lnTo>
                  <a:lnTo>
                    <a:pt x="307" y="120"/>
                  </a:lnTo>
                  <a:lnTo>
                    <a:pt x="304" y="115"/>
                  </a:lnTo>
                  <a:lnTo>
                    <a:pt x="302" y="112"/>
                  </a:lnTo>
                  <a:lnTo>
                    <a:pt x="299" y="111"/>
                  </a:lnTo>
                  <a:lnTo>
                    <a:pt x="296" y="109"/>
                  </a:lnTo>
                  <a:lnTo>
                    <a:pt x="294" y="111"/>
                  </a:lnTo>
                  <a:lnTo>
                    <a:pt x="291" y="111"/>
                  </a:lnTo>
                  <a:lnTo>
                    <a:pt x="291" y="111"/>
                  </a:lnTo>
                  <a:lnTo>
                    <a:pt x="291" y="111"/>
                  </a:lnTo>
                  <a:lnTo>
                    <a:pt x="286" y="109"/>
                  </a:lnTo>
                  <a:lnTo>
                    <a:pt x="281" y="108"/>
                  </a:lnTo>
                  <a:lnTo>
                    <a:pt x="278" y="103"/>
                  </a:lnTo>
                  <a:lnTo>
                    <a:pt x="275" y="100"/>
                  </a:lnTo>
                  <a:lnTo>
                    <a:pt x="272" y="95"/>
                  </a:lnTo>
                  <a:lnTo>
                    <a:pt x="271" y="93"/>
                  </a:lnTo>
                  <a:lnTo>
                    <a:pt x="269" y="90"/>
                  </a:lnTo>
                  <a:lnTo>
                    <a:pt x="269" y="88"/>
                  </a:lnTo>
                  <a:lnTo>
                    <a:pt x="269" y="88"/>
                  </a:lnTo>
                  <a:lnTo>
                    <a:pt x="266" y="85"/>
                  </a:lnTo>
                  <a:lnTo>
                    <a:pt x="260" y="79"/>
                  </a:lnTo>
                  <a:lnTo>
                    <a:pt x="255" y="73"/>
                  </a:lnTo>
                  <a:lnTo>
                    <a:pt x="251" y="67"/>
                  </a:lnTo>
                  <a:lnTo>
                    <a:pt x="248" y="63"/>
                  </a:lnTo>
                  <a:lnTo>
                    <a:pt x="247" y="57"/>
                  </a:lnTo>
                  <a:lnTo>
                    <a:pt x="244" y="54"/>
                  </a:lnTo>
                  <a:lnTo>
                    <a:pt x="244" y="52"/>
                  </a:lnTo>
                  <a:lnTo>
                    <a:pt x="244" y="52"/>
                  </a:lnTo>
                  <a:lnTo>
                    <a:pt x="244" y="51"/>
                  </a:lnTo>
                  <a:lnTo>
                    <a:pt x="241" y="51"/>
                  </a:lnTo>
                  <a:lnTo>
                    <a:pt x="239" y="51"/>
                  </a:lnTo>
                  <a:lnTo>
                    <a:pt x="238" y="49"/>
                  </a:lnTo>
                  <a:lnTo>
                    <a:pt x="238" y="49"/>
                  </a:lnTo>
                  <a:lnTo>
                    <a:pt x="233" y="49"/>
                  </a:lnTo>
                  <a:lnTo>
                    <a:pt x="227" y="48"/>
                  </a:lnTo>
                  <a:lnTo>
                    <a:pt x="222" y="46"/>
                  </a:lnTo>
                  <a:lnTo>
                    <a:pt x="220" y="45"/>
                  </a:lnTo>
                  <a:lnTo>
                    <a:pt x="217" y="43"/>
                  </a:lnTo>
                  <a:lnTo>
                    <a:pt x="215" y="42"/>
                  </a:lnTo>
                  <a:lnTo>
                    <a:pt x="214" y="40"/>
                  </a:lnTo>
                  <a:lnTo>
                    <a:pt x="214" y="40"/>
                  </a:lnTo>
                  <a:lnTo>
                    <a:pt x="214" y="40"/>
                  </a:lnTo>
                  <a:lnTo>
                    <a:pt x="203" y="39"/>
                  </a:lnTo>
                  <a:lnTo>
                    <a:pt x="200" y="34"/>
                  </a:lnTo>
                  <a:lnTo>
                    <a:pt x="200" y="28"/>
                  </a:lnTo>
                  <a:lnTo>
                    <a:pt x="201" y="19"/>
                  </a:lnTo>
                  <a:lnTo>
                    <a:pt x="205" y="12"/>
                  </a:lnTo>
                  <a:lnTo>
                    <a:pt x="211" y="4"/>
                  </a:lnTo>
                  <a:lnTo>
                    <a:pt x="214" y="0"/>
                  </a:lnTo>
                  <a:lnTo>
                    <a:pt x="215" y="0"/>
                  </a:lnTo>
                  <a:lnTo>
                    <a:pt x="110" y="15"/>
                  </a:lnTo>
                  <a:lnTo>
                    <a:pt x="0" y="27"/>
                  </a:lnTo>
                  <a:lnTo>
                    <a:pt x="62" y="244"/>
                  </a:lnTo>
                  <a:lnTo>
                    <a:pt x="76" y="276"/>
                  </a:lnTo>
                  <a:lnTo>
                    <a:pt x="76" y="276"/>
                  </a:lnTo>
                  <a:lnTo>
                    <a:pt x="77" y="277"/>
                  </a:lnTo>
                  <a:lnTo>
                    <a:pt x="77" y="277"/>
                  </a:lnTo>
                  <a:lnTo>
                    <a:pt x="79" y="279"/>
                  </a:lnTo>
                  <a:lnTo>
                    <a:pt x="80" y="282"/>
                  </a:lnTo>
                  <a:lnTo>
                    <a:pt x="82" y="284"/>
                  </a:lnTo>
                  <a:lnTo>
                    <a:pt x="84" y="287"/>
                  </a:lnTo>
                  <a:lnTo>
                    <a:pt x="84" y="293"/>
                  </a:lnTo>
                  <a:lnTo>
                    <a:pt x="84" y="298"/>
                  </a:lnTo>
                  <a:lnTo>
                    <a:pt x="84" y="298"/>
                  </a:lnTo>
                  <a:lnTo>
                    <a:pt x="86" y="299"/>
                  </a:lnTo>
                  <a:lnTo>
                    <a:pt x="87" y="301"/>
                  </a:lnTo>
                  <a:lnTo>
                    <a:pt x="89" y="301"/>
                  </a:lnTo>
                  <a:lnTo>
                    <a:pt x="92" y="302"/>
                  </a:lnTo>
                  <a:lnTo>
                    <a:pt x="92" y="304"/>
                  </a:lnTo>
                  <a:lnTo>
                    <a:pt x="92" y="307"/>
                  </a:lnTo>
                  <a:lnTo>
                    <a:pt x="89" y="312"/>
                  </a:lnTo>
                  <a:lnTo>
                    <a:pt x="83" y="317"/>
                  </a:lnTo>
                  <a:lnTo>
                    <a:pt x="83" y="317"/>
                  </a:lnTo>
                  <a:lnTo>
                    <a:pt x="83" y="319"/>
                  </a:lnTo>
                  <a:lnTo>
                    <a:pt x="82" y="319"/>
                  </a:lnTo>
                  <a:lnTo>
                    <a:pt x="82" y="322"/>
                  </a:lnTo>
                  <a:lnTo>
                    <a:pt x="82" y="323"/>
                  </a:lnTo>
                  <a:lnTo>
                    <a:pt x="80" y="328"/>
                  </a:lnTo>
                  <a:lnTo>
                    <a:pt x="80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43"/>
                  </a:lnTo>
                  <a:lnTo>
                    <a:pt x="80" y="346"/>
                  </a:lnTo>
                  <a:lnTo>
                    <a:pt x="79" y="349"/>
                  </a:lnTo>
                  <a:lnTo>
                    <a:pt x="79" y="353"/>
                  </a:lnTo>
                  <a:lnTo>
                    <a:pt x="79" y="358"/>
                  </a:lnTo>
                  <a:lnTo>
                    <a:pt x="79" y="365"/>
                  </a:lnTo>
                  <a:lnTo>
                    <a:pt x="80" y="370"/>
                  </a:lnTo>
                  <a:lnTo>
                    <a:pt x="83" y="376"/>
                  </a:lnTo>
                  <a:lnTo>
                    <a:pt x="87" y="380"/>
                  </a:lnTo>
                  <a:lnTo>
                    <a:pt x="87" y="380"/>
                  </a:lnTo>
                  <a:lnTo>
                    <a:pt x="87" y="383"/>
                  </a:lnTo>
                  <a:lnTo>
                    <a:pt x="87" y="386"/>
                  </a:lnTo>
                  <a:lnTo>
                    <a:pt x="89" y="392"/>
                  </a:lnTo>
                  <a:lnTo>
                    <a:pt x="89" y="398"/>
                  </a:lnTo>
                  <a:lnTo>
                    <a:pt x="89" y="404"/>
                  </a:lnTo>
                  <a:lnTo>
                    <a:pt x="89" y="408"/>
                  </a:lnTo>
                  <a:lnTo>
                    <a:pt x="89" y="412"/>
                  </a:lnTo>
                  <a:lnTo>
                    <a:pt x="89" y="413"/>
                  </a:lnTo>
                  <a:lnTo>
                    <a:pt x="103" y="441"/>
                  </a:lnTo>
                  <a:lnTo>
                    <a:pt x="117" y="469"/>
                  </a:lnTo>
                  <a:lnTo>
                    <a:pt x="355" y="452"/>
                  </a:lnTo>
                  <a:lnTo>
                    <a:pt x="363" y="472"/>
                  </a:lnTo>
                  <a:lnTo>
                    <a:pt x="376" y="472"/>
                  </a:lnTo>
                  <a:lnTo>
                    <a:pt x="376" y="472"/>
                  </a:lnTo>
                  <a:lnTo>
                    <a:pt x="376" y="470"/>
                  </a:lnTo>
                  <a:lnTo>
                    <a:pt x="374" y="467"/>
                  </a:lnTo>
                  <a:lnTo>
                    <a:pt x="374" y="464"/>
                  </a:lnTo>
                  <a:lnTo>
                    <a:pt x="374" y="460"/>
                  </a:lnTo>
                  <a:lnTo>
                    <a:pt x="373" y="455"/>
                  </a:lnTo>
                  <a:lnTo>
                    <a:pt x="373" y="451"/>
                  </a:lnTo>
                  <a:lnTo>
                    <a:pt x="373" y="448"/>
                  </a:lnTo>
                  <a:lnTo>
                    <a:pt x="373" y="446"/>
                  </a:lnTo>
                  <a:lnTo>
                    <a:pt x="373" y="446"/>
                  </a:lnTo>
                  <a:lnTo>
                    <a:pt x="369" y="439"/>
                  </a:lnTo>
                  <a:lnTo>
                    <a:pt x="369" y="433"/>
                  </a:lnTo>
                  <a:lnTo>
                    <a:pt x="369" y="428"/>
                  </a:lnTo>
                  <a:lnTo>
                    <a:pt x="371" y="425"/>
                  </a:lnTo>
                  <a:lnTo>
                    <a:pt x="374" y="422"/>
                  </a:lnTo>
                  <a:lnTo>
                    <a:pt x="376" y="421"/>
                  </a:lnTo>
                  <a:lnTo>
                    <a:pt x="379" y="421"/>
                  </a:lnTo>
                  <a:lnTo>
                    <a:pt x="380" y="421"/>
                  </a:lnTo>
                  <a:lnTo>
                    <a:pt x="380" y="421"/>
                  </a:lnTo>
                  <a:lnTo>
                    <a:pt x="385" y="424"/>
                  </a:lnTo>
                  <a:lnTo>
                    <a:pt x="392" y="425"/>
                  </a:lnTo>
                  <a:lnTo>
                    <a:pt x="398" y="427"/>
                  </a:lnTo>
                  <a:lnTo>
                    <a:pt x="404" y="428"/>
                  </a:lnTo>
                  <a:lnTo>
                    <a:pt x="409" y="428"/>
                  </a:lnTo>
                  <a:lnTo>
                    <a:pt x="412" y="428"/>
                  </a:lnTo>
                  <a:lnTo>
                    <a:pt x="415" y="428"/>
                  </a:lnTo>
                  <a:lnTo>
                    <a:pt x="416" y="428"/>
                  </a:lnTo>
                  <a:lnTo>
                    <a:pt x="418" y="421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411" name="Group 410"/>
            <p:cNvGrpSpPr/>
            <p:nvPr/>
          </p:nvGrpSpPr>
          <p:grpSpPr>
            <a:xfrm>
              <a:off x="668125" y="5382516"/>
              <a:ext cx="709749" cy="488075"/>
              <a:chOff x="360363" y="4984751"/>
              <a:chExt cx="1869112" cy="1247775"/>
            </a:xfrm>
          </p:grpSpPr>
          <p:sp>
            <p:nvSpPr>
              <p:cNvPr id="429" name="Freeform 154"/>
              <p:cNvSpPr>
                <a:spLocks/>
              </p:cNvSpPr>
              <p:nvPr/>
            </p:nvSpPr>
            <p:spPr bwMode="auto">
              <a:xfrm>
                <a:off x="897932" y="4989900"/>
                <a:ext cx="1331543" cy="1074425"/>
              </a:xfrm>
              <a:custGeom>
                <a:avLst/>
                <a:gdLst>
                  <a:gd name="T0" fmla="*/ 750 w 753"/>
                  <a:gd name="T1" fmla="*/ 454 h 626"/>
                  <a:gd name="T2" fmla="*/ 710 w 753"/>
                  <a:gd name="T3" fmla="*/ 430 h 626"/>
                  <a:gd name="T4" fmla="*/ 526 w 753"/>
                  <a:gd name="T5" fmla="*/ 367 h 626"/>
                  <a:gd name="T6" fmla="*/ 478 w 753"/>
                  <a:gd name="T7" fmla="*/ 367 h 626"/>
                  <a:gd name="T8" fmla="*/ 320 w 753"/>
                  <a:gd name="T9" fmla="*/ 23 h 626"/>
                  <a:gd name="T10" fmla="*/ 266 w 753"/>
                  <a:gd name="T11" fmla="*/ 22 h 626"/>
                  <a:gd name="T12" fmla="*/ 238 w 753"/>
                  <a:gd name="T13" fmla="*/ 23 h 626"/>
                  <a:gd name="T14" fmla="*/ 203 w 753"/>
                  <a:gd name="T15" fmla="*/ 12 h 626"/>
                  <a:gd name="T16" fmla="*/ 150 w 753"/>
                  <a:gd name="T17" fmla="*/ 14 h 626"/>
                  <a:gd name="T18" fmla="*/ 120 w 753"/>
                  <a:gd name="T19" fmla="*/ 31 h 626"/>
                  <a:gd name="T20" fmla="*/ 82 w 753"/>
                  <a:gd name="T21" fmla="*/ 63 h 626"/>
                  <a:gd name="T22" fmla="*/ 42 w 753"/>
                  <a:gd name="T23" fmla="*/ 115 h 626"/>
                  <a:gd name="T24" fmla="*/ 86 w 753"/>
                  <a:gd name="T25" fmla="*/ 159 h 626"/>
                  <a:gd name="T26" fmla="*/ 86 w 753"/>
                  <a:gd name="T27" fmla="*/ 169 h 626"/>
                  <a:gd name="T28" fmla="*/ 37 w 753"/>
                  <a:gd name="T29" fmla="*/ 185 h 626"/>
                  <a:gd name="T30" fmla="*/ 12 w 753"/>
                  <a:gd name="T31" fmla="*/ 193 h 626"/>
                  <a:gd name="T32" fmla="*/ 9 w 753"/>
                  <a:gd name="T33" fmla="*/ 227 h 626"/>
                  <a:gd name="T34" fmla="*/ 39 w 753"/>
                  <a:gd name="T35" fmla="*/ 253 h 626"/>
                  <a:gd name="T36" fmla="*/ 107 w 753"/>
                  <a:gd name="T37" fmla="*/ 242 h 626"/>
                  <a:gd name="T38" fmla="*/ 110 w 753"/>
                  <a:gd name="T39" fmla="*/ 283 h 626"/>
                  <a:gd name="T40" fmla="*/ 71 w 753"/>
                  <a:gd name="T41" fmla="*/ 311 h 626"/>
                  <a:gd name="T42" fmla="*/ 42 w 753"/>
                  <a:gd name="T43" fmla="*/ 321 h 626"/>
                  <a:gd name="T44" fmla="*/ 28 w 753"/>
                  <a:gd name="T45" fmla="*/ 341 h 626"/>
                  <a:gd name="T46" fmla="*/ 12 w 753"/>
                  <a:gd name="T47" fmla="*/ 367 h 626"/>
                  <a:gd name="T48" fmla="*/ 28 w 753"/>
                  <a:gd name="T49" fmla="*/ 384 h 626"/>
                  <a:gd name="T50" fmla="*/ 39 w 753"/>
                  <a:gd name="T51" fmla="*/ 419 h 626"/>
                  <a:gd name="T52" fmla="*/ 72 w 753"/>
                  <a:gd name="T53" fmla="*/ 433 h 626"/>
                  <a:gd name="T54" fmla="*/ 83 w 753"/>
                  <a:gd name="T55" fmla="*/ 430 h 626"/>
                  <a:gd name="T56" fmla="*/ 91 w 753"/>
                  <a:gd name="T57" fmla="*/ 463 h 626"/>
                  <a:gd name="T58" fmla="*/ 107 w 753"/>
                  <a:gd name="T59" fmla="*/ 469 h 626"/>
                  <a:gd name="T60" fmla="*/ 126 w 753"/>
                  <a:gd name="T61" fmla="*/ 468 h 626"/>
                  <a:gd name="T62" fmla="*/ 142 w 753"/>
                  <a:gd name="T63" fmla="*/ 487 h 626"/>
                  <a:gd name="T64" fmla="*/ 175 w 753"/>
                  <a:gd name="T65" fmla="*/ 473 h 626"/>
                  <a:gd name="T66" fmla="*/ 175 w 753"/>
                  <a:gd name="T67" fmla="*/ 487 h 626"/>
                  <a:gd name="T68" fmla="*/ 154 w 753"/>
                  <a:gd name="T69" fmla="*/ 541 h 626"/>
                  <a:gd name="T70" fmla="*/ 121 w 753"/>
                  <a:gd name="T71" fmla="*/ 568 h 626"/>
                  <a:gd name="T72" fmla="*/ 107 w 753"/>
                  <a:gd name="T73" fmla="*/ 594 h 626"/>
                  <a:gd name="T74" fmla="*/ 86 w 753"/>
                  <a:gd name="T75" fmla="*/ 587 h 626"/>
                  <a:gd name="T76" fmla="*/ 72 w 753"/>
                  <a:gd name="T77" fmla="*/ 615 h 626"/>
                  <a:gd name="T78" fmla="*/ 93 w 753"/>
                  <a:gd name="T79" fmla="*/ 604 h 626"/>
                  <a:gd name="T80" fmla="*/ 134 w 753"/>
                  <a:gd name="T81" fmla="*/ 599 h 626"/>
                  <a:gd name="T82" fmla="*/ 156 w 753"/>
                  <a:gd name="T83" fmla="*/ 572 h 626"/>
                  <a:gd name="T84" fmla="*/ 199 w 753"/>
                  <a:gd name="T85" fmla="*/ 526 h 626"/>
                  <a:gd name="T86" fmla="*/ 252 w 753"/>
                  <a:gd name="T87" fmla="*/ 468 h 626"/>
                  <a:gd name="T88" fmla="*/ 241 w 753"/>
                  <a:gd name="T89" fmla="*/ 444 h 626"/>
                  <a:gd name="T90" fmla="*/ 303 w 753"/>
                  <a:gd name="T91" fmla="*/ 365 h 626"/>
                  <a:gd name="T92" fmla="*/ 290 w 753"/>
                  <a:gd name="T93" fmla="*/ 411 h 626"/>
                  <a:gd name="T94" fmla="*/ 290 w 753"/>
                  <a:gd name="T95" fmla="*/ 438 h 626"/>
                  <a:gd name="T96" fmla="*/ 327 w 753"/>
                  <a:gd name="T97" fmla="*/ 414 h 626"/>
                  <a:gd name="T98" fmla="*/ 341 w 753"/>
                  <a:gd name="T99" fmla="*/ 395 h 626"/>
                  <a:gd name="T100" fmla="*/ 394 w 753"/>
                  <a:gd name="T101" fmla="*/ 384 h 626"/>
                  <a:gd name="T102" fmla="*/ 492 w 753"/>
                  <a:gd name="T103" fmla="*/ 381 h 626"/>
                  <a:gd name="T104" fmla="*/ 516 w 753"/>
                  <a:gd name="T105" fmla="*/ 386 h 626"/>
                  <a:gd name="T106" fmla="*/ 578 w 753"/>
                  <a:gd name="T107" fmla="*/ 406 h 626"/>
                  <a:gd name="T108" fmla="*/ 586 w 753"/>
                  <a:gd name="T109" fmla="*/ 384 h 626"/>
                  <a:gd name="T110" fmla="*/ 594 w 753"/>
                  <a:gd name="T111" fmla="*/ 365 h 626"/>
                  <a:gd name="T112" fmla="*/ 652 w 753"/>
                  <a:gd name="T113" fmla="*/ 414 h 626"/>
                  <a:gd name="T114" fmla="*/ 703 w 753"/>
                  <a:gd name="T115" fmla="*/ 444 h 626"/>
                  <a:gd name="T116" fmla="*/ 720 w 753"/>
                  <a:gd name="T117" fmla="*/ 444 h 626"/>
                  <a:gd name="T118" fmla="*/ 748 w 753"/>
                  <a:gd name="T119" fmla="*/ 482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53" h="626">
                    <a:moveTo>
                      <a:pt x="748" y="482"/>
                    </a:moveTo>
                    <a:lnTo>
                      <a:pt x="748" y="482"/>
                    </a:lnTo>
                    <a:lnTo>
                      <a:pt x="748" y="479"/>
                    </a:lnTo>
                    <a:lnTo>
                      <a:pt x="750" y="477"/>
                    </a:lnTo>
                    <a:lnTo>
                      <a:pt x="750" y="474"/>
                    </a:lnTo>
                    <a:lnTo>
                      <a:pt x="752" y="469"/>
                    </a:lnTo>
                    <a:lnTo>
                      <a:pt x="752" y="468"/>
                    </a:lnTo>
                    <a:lnTo>
                      <a:pt x="752" y="463"/>
                    </a:lnTo>
                    <a:lnTo>
                      <a:pt x="752" y="458"/>
                    </a:lnTo>
                    <a:lnTo>
                      <a:pt x="750" y="454"/>
                    </a:lnTo>
                    <a:lnTo>
                      <a:pt x="748" y="449"/>
                    </a:lnTo>
                    <a:lnTo>
                      <a:pt x="744" y="443"/>
                    </a:lnTo>
                    <a:lnTo>
                      <a:pt x="739" y="438"/>
                    </a:lnTo>
                    <a:lnTo>
                      <a:pt x="736" y="435"/>
                    </a:lnTo>
                    <a:lnTo>
                      <a:pt x="731" y="435"/>
                    </a:lnTo>
                    <a:lnTo>
                      <a:pt x="726" y="433"/>
                    </a:lnTo>
                    <a:lnTo>
                      <a:pt x="721" y="433"/>
                    </a:lnTo>
                    <a:lnTo>
                      <a:pt x="717" y="433"/>
                    </a:lnTo>
                    <a:lnTo>
                      <a:pt x="712" y="430"/>
                    </a:lnTo>
                    <a:lnTo>
                      <a:pt x="710" y="430"/>
                    </a:lnTo>
                    <a:lnTo>
                      <a:pt x="710" y="430"/>
                    </a:lnTo>
                    <a:lnTo>
                      <a:pt x="698" y="428"/>
                    </a:lnTo>
                    <a:lnTo>
                      <a:pt x="624" y="375"/>
                    </a:lnTo>
                    <a:lnTo>
                      <a:pt x="600" y="357"/>
                    </a:lnTo>
                    <a:lnTo>
                      <a:pt x="582" y="346"/>
                    </a:lnTo>
                    <a:lnTo>
                      <a:pt x="570" y="362"/>
                    </a:lnTo>
                    <a:lnTo>
                      <a:pt x="570" y="375"/>
                    </a:lnTo>
                    <a:lnTo>
                      <a:pt x="556" y="386"/>
                    </a:lnTo>
                    <a:lnTo>
                      <a:pt x="526" y="367"/>
                    </a:lnTo>
                    <a:lnTo>
                      <a:pt x="526" y="367"/>
                    </a:lnTo>
                    <a:lnTo>
                      <a:pt x="524" y="365"/>
                    </a:lnTo>
                    <a:lnTo>
                      <a:pt x="521" y="360"/>
                    </a:lnTo>
                    <a:lnTo>
                      <a:pt x="516" y="357"/>
                    </a:lnTo>
                    <a:lnTo>
                      <a:pt x="510" y="356"/>
                    </a:lnTo>
                    <a:lnTo>
                      <a:pt x="505" y="356"/>
                    </a:lnTo>
                    <a:lnTo>
                      <a:pt x="497" y="357"/>
                    </a:lnTo>
                    <a:lnTo>
                      <a:pt x="491" y="362"/>
                    </a:lnTo>
                    <a:lnTo>
                      <a:pt x="488" y="365"/>
                    </a:lnTo>
                    <a:lnTo>
                      <a:pt x="483" y="365"/>
                    </a:lnTo>
                    <a:lnTo>
                      <a:pt x="478" y="367"/>
                    </a:lnTo>
                    <a:lnTo>
                      <a:pt x="477" y="367"/>
                    </a:lnTo>
                    <a:lnTo>
                      <a:pt x="374" y="23"/>
                    </a:lnTo>
                    <a:lnTo>
                      <a:pt x="371" y="23"/>
                    </a:lnTo>
                    <a:lnTo>
                      <a:pt x="366" y="22"/>
                    </a:lnTo>
                    <a:lnTo>
                      <a:pt x="360" y="18"/>
                    </a:lnTo>
                    <a:lnTo>
                      <a:pt x="353" y="17"/>
                    </a:lnTo>
                    <a:lnTo>
                      <a:pt x="344" y="14"/>
                    </a:lnTo>
                    <a:lnTo>
                      <a:pt x="336" y="17"/>
                    </a:lnTo>
                    <a:lnTo>
                      <a:pt x="327" y="18"/>
                    </a:lnTo>
                    <a:lnTo>
                      <a:pt x="320" y="23"/>
                    </a:lnTo>
                    <a:lnTo>
                      <a:pt x="317" y="23"/>
                    </a:lnTo>
                    <a:lnTo>
                      <a:pt x="311" y="23"/>
                    </a:lnTo>
                    <a:lnTo>
                      <a:pt x="301" y="23"/>
                    </a:lnTo>
                    <a:lnTo>
                      <a:pt x="292" y="23"/>
                    </a:lnTo>
                    <a:lnTo>
                      <a:pt x="282" y="23"/>
                    </a:lnTo>
                    <a:lnTo>
                      <a:pt x="276" y="23"/>
                    </a:lnTo>
                    <a:lnTo>
                      <a:pt x="268" y="22"/>
                    </a:lnTo>
                    <a:lnTo>
                      <a:pt x="268" y="22"/>
                    </a:lnTo>
                    <a:lnTo>
                      <a:pt x="266" y="22"/>
                    </a:lnTo>
                    <a:lnTo>
                      <a:pt x="266" y="22"/>
                    </a:lnTo>
                    <a:lnTo>
                      <a:pt x="263" y="22"/>
                    </a:lnTo>
                    <a:lnTo>
                      <a:pt x="262" y="22"/>
                    </a:lnTo>
                    <a:lnTo>
                      <a:pt x="259" y="22"/>
                    </a:lnTo>
                    <a:lnTo>
                      <a:pt x="254" y="22"/>
                    </a:lnTo>
                    <a:lnTo>
                      <a:pt x="252" y="22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8" y="22"/>
                    </a:lnTo>
                    <a:lnTo>
                      <a:pt x="243" y="23"/>
                    </a:lnTo>
                    <a:lnTo>
                      <a:pt x="238" y="23"/>
                    </a:lnTo>
                    <a:lnTo>
                      <a:pt x="233" y="23"/>
                    </a:lnTo>
                    <a:lnTo>
                      <a:pt x="229" y="22"/>
                    </a:lnTo>
                    <a:lnTo>
                      <a:pt x="224" y="17"/>
                    </a:lnTo>
                    <a:lnTo>
                      <a:pt x="218" y="9"/>
                    </a:lnTo>
                    <a:lnTo>
                      <a:pt x="218" y="9"/>
                    </a:lnTo>
                    <a:lnTo>
                      <a:pt x="214" y="9"/>
                    </a:lnTo>
                    <a:lnTo>
                      <a:pt x="213" y="12"/>
                    </a:lnTo>
                    <a:lnTo>
                      <a:pt x="210" y="12"/>
                    </a:lnTo>
                    <a:lnTo>
                      <a:pt x="205" y="12"/>
                    </a:lnTo>
                    <a:lnTo>
                      <a:pt x="203" y="12"/>
                    </a:lnTo>
                    <a:lnTo>
                      <a:pt x="200" y="14"/>
                    </a:lnTo>
                    <a:lnTo>
                      <a:pt x="200" y="14"/>
                    </a:lnTo>
                    <a:lnTo>
                      <a:pt x="189" y="3"/>
                    </a:lnTo>
                    <a:lnTo>
                      <a:pt x="180" y="9"/>
                    </a:lnTo>
                    <a:lnTo>
                      <a:pt x="178" y="0"/>
                    </a:lnTo>
                    <a:lnTo>
                      <a:pt x="161" y="0"/>
                    </a:lnTo>
                    <a:lnTo>
                      <a:pt x="151" y="12"/>
                    </a:lnTo>
                    <a:lnTo>
                      <a:pt x="151" y="12"/>
                    </a:lnTo>
                    <a:lnTo>
                      <a:pt x="151" y="12"/>
                    </a:lnTo>
                    <a:lnTo>
                      <a:pt x="150" y="14"/>
                    </a:lnTo>
                    <a:lnTo>
                      <a:pt x="150" y="17"/>
                    </a:lnTo>
                    <a:lnTo>
                      <a:pt x="146" y="17"/>
                    </a:lnTo>
                    <a:lnTo>
                      <a:pt x="142" y="18"/>
                    </a:lnTo>
                    <a:lnTo>
                      <a:pt x="137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29" y="22"/>
                    </a:lnTo>
                    <a:lnTo>
                      <a:pt x="126" y="23"/>
                    </a:lnTo>
                    <a:lnTo>
                      <a:pt x="124" y="26"/>
                    </a:lnTo>
                    <a:lnTo>
                      <a:pt x="120" y="31"/>
                    </a:lnTo>
                    <a:lnTo>
                      <a:pt x="116" y="33"/>
                    </a:lnTo>
                    <a:lnTo>
                      <a:pt x="115" y="36"/>
                    </a:lnTo>
                    <a:lnTo>
                      <a:pt x="115" y="36"/>
                    </a:lnTo>
                    <a:lnTo>
                      <a:pt x="115" y="36"/>
                    </a:lnTo>
                    <a:lnTo>
                      <a:pt x="112" y="36"/>
                    </a:lnTo>
                    <a:lnTo>
                      <a:pt x="107" y="36"/>
                    </a:lnTo>
                    <a:lnTo>
                      <a:pt x="102" y="41"/>
                    </a:lnTo>
                    <a:lnTo>
                      <a:pt x="96" y="45"/>
                    </a:lnTo>
                    <a:lnTo>
                      <a:pt x="88" y="52"/>
                    </a:lnTo>
                    <a:lnTo>
                      <a:pt x="82" y="63"/>
                    </a:lnTo>
                    <a:lnTo>
                      <a:pt x="75" y="77"/>
                    </a:lnTo>
                    <a:lnTo>
                      <a:pt x="72" y="80"/>
                    </a:lnTo>
                    <a:lnTo>
                      <a:pt x="71" y="85"/>
                    </a:lnTo>
                    <a:lnTo>
                      <a:pt x="66" y="87"/>
                    </a:lnTo>
                    <a:lnTo>
                      <a:pt x="66" y="90"/>
                    </a:lnTo>
                    <a:lnTo>
                      <a:pt x="42" y="90"/>
                    </a:lnTo>
                    <a:lnTo>
                      <a:pt x="30" y="107"/>
                    </a:lnTo>
                    <a:lnTo>
                      <a:pt x="30" y="110"/>
                    </a:lnTo>
                    <a:lnTo>
                      <a:pt x="34" y="112"/>
                    </a:lnTo>
                    <a:lnTo>
                      <a:pt x="42" y="115"/>
                    </a:lnTo>
                    <a:lnTo>
                      <a:pt x="48" y="120"/>
                    </a:lnTo>
                    <a:lnTo>
                      <a:pt x="58" y="126"/>
                    </a:lnTo>
                    <a:lnTo>
                      <a:pt x="63" y="134"/>
                    </a:lnTo>
                    <a:lnTo>
                      <a:pt x="67" y="145"/>
                    </a:lnTo>
                    <a:lnTo>
                      <a:pt x="71" y="156"/>
                    </a:lnTo>
                    <a:lnTo>
                      <a:pt x="71" y="156"/>
                    </a:lnTo>
                    <a:lnTo>
                      <a:pt x="75" y="159"/>
                    </a:lnTo>
                    <a:lnTo>
                      <a:pt x="77" y="159"/>
                    </a:lnTo>
                    <a:lnTo>
                      <a:pt x="82" y="159"/>
                    </a:lnTo>
                    <a:lnTo>
                      <a:pt x="86" y="159"/>
                    </a:lnTo>
                    <a:lnTo>
                      <a:pt x="91" y="159"/>
                    </a:lnTo>
                    <a:lnTo>
                      <a:pt x="93" y="161"/>
                    </a:lnTo>
                    <a:lnTo>
                      <a:pt x="93" y="161"/>
                    </a:lnTo>
                    <a:lnTo>
                      <a:pt x="97" y="178"/>
                    </a:lnTo>
                    <a:lnTo>
                      <a:pt x="112" y="178"/>
                    </a:lnTo>
                    <a:lnTo>
                      <a:pt x="110" y="183"/>
                    </a:lnTo>
                    <a:lnTo>
                      <a:pt x="110" y="183"/>
                    </a:lnTo>
                    <a:lnTo>
                      <a:pt x="93" y="183"/>
                    </a:lnTo>
                    <a:lnTo>
                      <a:pt x="93" y="183"/>
                    </a:lnTo>
                    <a:lnTo>
                      <a:pt x="86" y="169"/>
                    </a:lnTo>
                    <a:lnTo>
                      <a:pt x="86" y="169"/>
                    </a:lnTo>
                    <a:lnTo>
                      <a:pt x="82" y="174"/>
                    </a:lnTo>
                    <a:lnTo>
                      <a:pt x="93" y="188"/>
                    </a:lnTo>
                    <a:lnTo>
                      <a:pt x="105" y="189"/>
                    </a:lnTo>
                    <a:lnTo>
                      <a:pt x="93" y="199"/>
                    </a:lnTo>
                    <a:lnTo>
                      <a:pt x="63" y="193"/>
                    </a:lnTo>
                    <a:lnTo>
                      <a:pt x="63" y="175"/>
                    </a:lnTo>
                    <a:lnTo>
                      <a:pt x="37" y="183"/>
                    </a:lnTo>
                    <a:lnTo>
                      <a:pt x="37" y="183"/>
                    </a:lnTo>
                    <a:lnTo>
                      <a:pt x="37" y="185"/>
                    </a:lnTo>
                    <a:lnTo>
                      <a:pt x="37" y="189"/>
                    </a:lnTo>
                    <a:lnTo>
                      <a:pt x="37" y="193"/>
                    </a:lnTo>
                    <a:lnTo>
                      <a:pt x="37" y="194"/>
                    </a:lnTo>
                    <a:lnTo>
                      <a:pt x="34" y="194"/>
                    </a:lnTo>
                    <a:lnTo>
                      <a:pt x="30" y="193"/>
                    </a:lnTo>
                    <a:lnTo>
                      <a:pt x="25" y="188"/>
                    </a:lnTo>
                    <a:lnTo>
                      <a:pt x="25" y="188"/>
                    </a:lnTo>
                    <a:lnTo>
                      <a:pt x="22" y="189"/>
                    </a:lnTo>
                    <a:lnTo>
                      <a:pt x="17" y="189"/>
                    </a:lnTo>
                    <a:lnTo>
                      <a:pt x="12" y="193"/>
                    </a:lnTo>
                    <a:lnTo>
                      <a:pt x="7" y="197"/>
                    </a:lnTo>
                    <a:lnTo>
                      <a:pt x="3" y="199"/>
                    </a:lnTo>
                    <a:lnTo>
                      <a:pt x="0" y="204"/>
                    </a:lnTo>
                    <a:lnTo>
                      <a:pt x="0" y="208"/>
                    </a:lnTo>
                    <a:lnTo>
                      <a:pt x="0" y="210"/>
                    </a:lnTo>
                    <a:lnTo>
                      <a:pt x="0" y="213"/>
                    </a:lnTo>
                    <a:lnTo>
                      <a:pt x="3" y="215"/>
                    </a:lnTo>
                    <a:lnTo>
                      <a:pt x="4" y="219"/>
                    </a:lnTo>
                    <a:lnTo>
                      <a:pt x="7" y="223"/>
                    </a:lnTo>
                    <a:lnTo>
                      <a:pt x="9" y="227"/>
                    </a:lnTo>
                    <a:lnTo>
                      <a:pt x="12" y="227"/>
                    </a:lnTo>
                    <a:lnTo>
                      <a:pt x="12" y="229"/>
                    </a:lnTo>
                    <a:lnTo>
                      <a:pt x="18" y="237"/>
                    </a:lnTo>
                    <a:lnTo>
                      <a:pt x="18" y="238"/>
                    </a:lnTo>
                    <a:lnTo>
                      <a:pt x="18" y="238"/>
                    </a:lnTo>
                    <a:lnTo>
                      <a:pt x="18" y="242"/>
                    </a:lnTo>
                    <a:lnTo>
                      <a:pt x="22" y="246"/>
                    </a:lnTo>
                    <a:lnTo>
                      <a:pt x="23" y="248"/>
                    </a:lnTo>
                    <a:lnTo>
                      <a:pt x="30" y="250"/>
                    </a:lnTo>
                    <a:lnTo>
                      <a:pt x="39" y="253"/>
                    </a:lnTo>
                    <a:lnTo>
                      <a:pt x="53" y="253"/>
                    </a:lnTo>
                    <a:lnTo>
                      <a:pt x="56" y="253"/>
                    </a:lnTo>
                    <a:lnTo>
                      <a:pt x="61" y="254"/>
                    </a:lnTo>
                    <a:lnTo>
                      <a:pt x="66" y="257"/>
                    </a:lnTo>
                    <a:lnTo>
                      <a:pt x="67" y="257"/>
                    </a:lnTo>
                    <a:lnTo>
                      <a:pt x="82" y="257"/>
                    </a:lnTo>
                    <a:lnTo>
                      <a:pt x="97" y="243"/>
                    </a:lnTo>
                    <a:lnTo>
                      <a:pt x="97" y="243"/>
                    </a:lnTo>
                    <a:lnTo>
                      <a:pt x="102" y="243"/>
                    </a:lnTo>
                    <a:lnTo>
                      <a:pt x="107" y="242"/>
                    </a:lnTo>
                    <a:lnTo>
                      <a:pt x="112" y="242"/>
                    </a:lnTo>
                    <a:lnTo>
                      <a:pt x="115" y="243"/>
                    </a:lnTo>
                    <a:lnTo>
                      <a:pt x="115" y="246"/>
                    </a:lnTo>
                    <a:lnTo>
                      <a:pt x="112" y="250"/>
                    </a:lnTo>
                    <a:lnTo>
                      <a:pt x="102" y="254"/>
                    </a:lnTo>
                    <a:lnTo>
                      <a:pt x="102" y="257"/>
                    </a:lnTo>
                    <a:lnTo>
                      <a:pt x="105" y="262"/>
                    </a:lnTo>
                    <a:lnTo>
                      <a:pt x="107" y="268"/>
                    </a:lnTo>
                    <a:lnTo>
                      <a:pt x="110" y="276"/>
                    </a:lnTo>
                    <a:lnTo>
                      <a:pt x="110" y="283"/>
                    </a:lnTo>
                    <a:lnTo>
                      <a:pt x="107" y="287"/>
                    </a:lnTo>
                    <a:lnTo>
                      <a:pt x="97" y="292"/>
                    </a:lnTo>
                    <a:lnTo>
                      <a:pt x="86" y="292"/>
                    </a:lnTo>
                    <a:lnTo>
                      <a:pt x="83" y="295"/>
                    </a:lnTo>
                    <a:lnTo>
                      <a:pt x="82" y="295"/>
                    </a:lnTo>
                    <a:lnTo>
                      <a:pt x="78" y="300"/>
                    </a:lnTo>
                    <a:lnTo>
                      <a:pt x="77" y="302"/>
                    </a:lnTo>
                    <a:lnTo>
                      <a:pt x="75" y="303"/>
                    </a:lnTo>
                    <a:lnTo>
                      <a:pt x="72" y="308"/>
                    </a:lnTo>
                    <a:lnTo>
                      <a:pt x="71" y="311"/>
                    </a:lnTo>
                    <a:lnTo>
                      <a:pt x="71" y="311"/>
                    </a:lnTo>
                    <a:lnTo>
                      <a:pt x="71" y="308"/>
                    </a:lnTo>
                    <a:lnTo>
                      <a:pt x="66" y="306"/>
                    </a:lnTo>
                    <a:lnTo>
                      <a:pt x="61" y="303"/>
                    </a:lnTo>
                    <a:lnTo>
                      <a:pt x="56" y="303"/>
                    </a:lnTo>
                    <a:lnTo>
                      <a:pt x="48" y="303"/>
                    </a:lnTo>
                    <a:lnTo>
                      <a:pt x="47" y="303"/>
                    </a:lnTo>
                    <a:lnTo>
                      <a:pt x="42" y="308"/>
                    </a:lnTo>
                    <a:lnTo>
                      <a:pt x="42" y="318"/>
                    </a:lnTo>
                    <a:lnTo>
                      <a:pt x="42" y="321"/>
                    </a:lnTo>
                    <a:lnTo>
                      <a:pt x="42" y="322"/>
                    </a:lnTo>
                    <a:lnTo>
                      <a:pt x="42" y="325"/>
                    </a:lnTo>
                    <a:lnTo>
                      <a:pt x="39" y="327"/>
                    </a:lnTo>
                    <a:lnTo>
                      <a:pt x="39" y="330"/>
                    </a:lnTo>
                    <a:lnTo>
                      <a:pt x="37" y="335"/>
                    </a:lnTo>
                    <a:lnTo>
                      <a:pt x="34" y="335"/>
                    </a:lnTo>
                    <a:lnTo>
                      <a:pt x="30" y="335"/>
                    </a:lnTo>
                    <a:lnTo>
                      <a:pt x="30" y="337"/>
                    </a:lnTo>
                    <a:lnTo>
                      <a:pt x="28" y="337"/>
                    </a:lnTo>
                    <a:lnTo>
                      <a:pt x="28" y="341"/>
                    </a:lnTo>
                    <a:lnTo>
                      <a:pt x="25" y="344"/>
                    </a:lnTo>
                    <a:lnTo>
                      <a:pt x="23" y="346"/>
                    </a:lnTo>
                    <a:lnTo>
                      <a:pt x="23" y="351"/>
                    </a:lnTo>
                    <a:lnTo>
                      <a:pt x="23" y="352"/>
                    </a:lnTo>
                    <a:lnTo>
                      <a:pt x="23" y="352"/>
                    </a:lnTo>
                    <a:lnTo>
                      <a:pt x="22" y="352"/>
                    </a:lnTo>
                    <a:lnTo>
                      <a:pt x="18" y="356"/>
                    </a:lnTo>
                    <a:lnTo>
                      <a:pt x="17" y="360"/>
                    </a:lnTo>
                    <a:lnTo>
                      <a:pt x="14" y="362"/>
                    </a:lnTo>
                    <a:lnTo>
                      <a:pt x="12" y="367"/>
                    </a:lnTo>
                    <a:lnTo>
                      <a:pt x="14" y="367"/>
                    </a:lnTo>
                    <a:lnTo>
                      <a:pt x="17" y="367"/>
                    </a:lnTo>
                    <a:lnTo>
                      <a:pt x="25" y="365"/>
                    </a:lnTo>
                    <a:lnTo>
                      <a:pt x="25" y="365"/>
                    </a:lnTo>
                    <a:lnTo>
                      <a:pt x="25" y="370"/>
                    </a:lnTo>
                    <a:lnTo>
                      <a:pt x="23" y="375"/>
                    </a:lnTo>
                    <a:lnTo>
                      <a:pt x="23" y="376"/>
                    </a:lnTo>
                    <a:lnTo>
                      <a:pt x="23" y="376"/>
                    </a:lnTo>
                    <a:lnTo>
                      <a:pt x="25" y="379"/>
                    </a:lnTo>
                    <a:lnTo>
                      <a:pt x="28" y="384"/>
                    </a:lnTo>
                    <a:lnTo>
                      <a:pt x="33" y="386"/>
                    </a:lnTo>
                    <a:lnTo>
                      <a:pt x="37" y="390"/>
                    </a:lnTo>
                    <a:lnTo>
                      <a:pt x="42" y="395"/>
                    </a:lnTo>
                    <a:lnTo>
                      <a:pt x="48" y="398"/>
                    </a:lnTo>
                    <a:lnTo>
                      <a:pt x="56" y="398"/>
                    </a:lnTo>
                    <a:lnTo>
                      <a:pt x="53" y="400"/>
                    </a:lnTo>
                    <a:lnTo>
                      <a:pt x="52" y="403"/>
                    </a:lnTo>
                    <a:lnTo>
                      <a:pt x="47" y="406"/>
                    </a:lnTo>
                    <a:lnTo>
                      <a:pt x="42" y="414"/>
                    </a:lnTo>
                    <a:lnTo>
                      <a:pt x="39" y="419"/>
                    </a:lnTo>
                    <a:lnTo>
                      <a:pt x="37" y="424"/>
                    </a:lnTo>
                    <a:lnTo>
                      <a:pt x="39" y="425"/>
                    </a:lnTo>
                    <a:lnTo>
                      <a:pt x="44" y="428"/>
                    </a:lnTo>
                    <a:lnTo>
                      <a:pt x="47" y="428"/>
                    </a:lnTo>
                    <a:lnTo>
                      <a:pt x="48" y="433"/>
                    </a:lnTo>
                    <a:lnTo>
                      <a:pt x="52" y="438"/>
                    </a:lnTo>
                    <a:lnTo>
                      <a:pt x="56" y="439"/>
                    </a:lnTo>
                    <a:lnTo>
                      <a:pt x="61" y="443"/>
                    </a:lnTo>
                    <a:lnTo>
                      <a:pt x="66" y="439"/>
                    </a:lnTo>
                    <a:lnTo>
                      <a:pt x="72" y="433"/>
                    </a:lnTo>
                    <a:lnTo>
                      <a:pt x="77" y="420"/>
                    </a:lnTo>
                    <a:lnTo>
                      <a:pt x="78" y="419"/>
                    </a:lnTo>
                    <a:lnTo>
                      <a:pt x="82" y="414"/>
                    </a:lnTo>
                    <a:lnTo>
                      <a:pt x="82" y="411"/>
                    </a:lnTo>
                    <a:lnTo>
                      <a:pt x="82" y="411"/>
                    </a:lnTo>
                    <a:lnTo>
                      <a:pt x="82" y="414"/>
                    </a:lnTo>
                    <a:lnTo>
                      <a:pt x="82" y="416"/>
                    </a:lnTo>
                    <a:lnTo>
                      <a:pt x="82" y="420"/>
                    </a:lnTo>
                    <a:lnTo>
                      <a:pt x="82" y="425"/>
                    </a:lnTo>
                    <a:lnTo>
                      <a:pt x="83" y="430"/>
                    </a:lnTo>
                    <a:lnTo>
                      <a:pt x="86" y="435"/>
                    </a:lnTo>
                    <a:lnTo>
                      <a:pt x="88" y="439"/>
                    </a:lnTo>
                    <a:lnTo>
                      <a:pt x="93" y="444"/>
                    </a:lnTo>
                    <a:lnTo>
                      <a:pt x="96" y="444"/>
                    </a:lnTo>
                    <a:lnTo>
                      <a:pt x="96" y="447"/>
                    </a:lnTo>
                    <a:lnTo>
                      <a:pt x="96" y="452"/>
                    </a:lnTo>
                    <a:lnTo>
                      <a:pt x="93" y="454"/>
                    </a:lnTo>
                    <a:lnTo>
                      <a:pt x="93" y="458"/>
                    </a:lnTo>
                    <a:lnTo>
                      <a:pt x="91" y="460"/>
                    </a:lnTo>
                    <a:lnTo>
                      <a:pt x="91" y="463"/>
                    </a:lnTo>
                    <a:lnTo>
                      <a:pt x="91" y="463"/>
                    </a:lnTo>
                    <a:lnTo>
                      <a:pt x="88" y="477"/>
                    </a:lnTo>
                    <a:lnTo>
                      <a:pt x="88" y="477"/>
                    </a:lnTo>
                    <a:lnTo>
                      <a:pt x="88" y="479"/>
                    </a:lnTo>
                    <a:lnTo>
                      <a:pt x="91" y="484"/>
                    </a:lnTo>
                    <a:lnTo>
                      <a:pt x="91" y="487"/>
                    </a:lnTo>
                    <a:lnTo>
                      <a:pt x="93" y="487"/>
                    </a:lnTo>
                    <a:lnTo>
                      <a:pt x="96" y="487"/>
                    </a:lnTo>
                    <a:lnTo>
                      <a:pt x="101" y="482"/>
                    </a:lnTo>
                    <a:lnTo>
                      <a:pt x="107" y="469"/>
                    </a:lnTo>
                    <a:lnTo>
                      <a:pt x="110" y="469"/>
                    </a:lnTo>
                    <a:lnTo>
                      <a:pt x="110" y="468"/>
                    </a:lnTo>
                    <a:lnTo>
                      <a:pt x="110" y="463"/>
                    </a:lnTo>
                    <a:lnTo>
                      <a:pt x="110" y="463"/>
                    </a:lnTo>
                    <a:lnTo>
                      <a:pt x="112" y="460"/>
                    </a:lnTo>
                    <a:lnTo>
                      <a:pt x="115" y="463"/>
                    </a:lnTo>
                    <a:lnTo>
                      <a:pt x="120" y="465"/>
                    </a:lnTo>
                    <a:lnTo>
                      <a:pt x="124" y="469"/>
                    </a:lnTo>
                    <a:lnTo>
                      <a:pt x="126" y="469"/>
                    </a:lnTo>
                    <a:lnTo>
                      <a:pt x="126" y="468"/>
                    </a:lnTo>
                    <a:lnTo>
                      <a:pt x="126" y="465"/>
                    </a:lnTo>
                    <a:lnTo>
                      <a:pt x="129" y="463"/>
                    </a:lnTo>
                    <a:lnTo>
                      <a:pt x="129" y="460"/>
                    </a:lnTo>
                    <a:lnTo>
                      <a:pt x="131" y="463"/>
                    </a:lnTo>
                    <a:lnTo>
                      <a:pt x="134" y="465"/>
                    </a:lnTo>
                    <a:lnTo>
                      <a:pt x="135" y="474"/>
                    </a:lnTo>
                    <a:lnTo>
                      <a:pt x="137" y="477"/>
                    </a:lnTo>
                    <a:lnTo>
                      <a:pt x="137" y="479"/>
                    </a:lnTo>
                    <a:lnTo>
                      <a:pt x="140" y="484"/>
                    </a:lnTo>
                    <a:lnTo>
                      <a:pt x="142" y="487"/>
                    </a:lnTo>
                    <a:lnTo>
                      <a:pt x="145" y="488"/>
                    </a:lnTo>
                    <a:lnTo>
                      <a:pt x="146" y="487"/>
                    </a:lnTo>
                    <a:lnTo>
                      <a:pt x="150" y="484"/>
                    </a:lnTo>
                    <a:lnTo>
                      <a:pt x="150" y="474"/>
                    </a:lnTo>
                    <a:lnTo>
                      <a:pt x="150" y="474"/>
                    </a:lnTo>
                    <a:lnTo>
                      <a:pt x="151" y="474"/>
                    </a:lnTo>
                    <a:lnTo>
                      <a:pt x="156" y="477"/>
                    </a:lnTo>
                    <a:lnTo>
                      <a:pt x="161" y="477"/>
                    </a:lnTo>
                    <a:lnTo>
                      <a:pt x="169" y="477"/>
                    </a:lnTo>
                    <a:lnTo>
                      <a:pt x="175" y="473"/>
                    </a:lnTo>
                    <a:lnTo>
                      <a:pt x="183" y="465"/>
                    </a:lnTo>
                    <a:lnTo>
                      <a:pt x="191" y="454"/>
                    </a:lnTo>
                    <a:lnTo>
                      <a:pt x="191" y="454"/>
                    </a:lnTo>
                    <a:lnTo>
                      <a:pt x="189" y="458"/>
                    </a:lnTo>
                    <a:lnTo>
                      <a:pt x="188" y="463"/>
                    </a:lnTo>
                    <a:lnTo>
                      <a:pt x="184" y="469"/>
                    </a:lnTo>
                    <a:lnTo>
                      <a:pt x="180" y="474"/>
                    </a:lnTo>
                    <a:lnTo>
                      <a:pt x="180" y="479"/>
                    </a:lnTo>
                    <a:lnTo>
                      <a:pt x="178" y="484"/>
                    </a:lnTo>
                    <a:lnTo>
                      <a:pt x="175" y="487"/>
                    </a:lnTo>
                    <a:lnTo>
                      <a:pt x="175" y="487"/>
                    </a:lnTo>
                    <a:lnTo>
                      <a:pt x="175" y="493"/>
                    </a:lnTo>
                    <a:lnTo>
                      <a:pt x="173" y="503"/>
                    </a:lnTo>
                    <a:lnTo>
                      <a:pt x="173" y="512"/>
                    </a:lnTo>
                    <a:lnTo>
                      <a:pt x="169" y="522"/>
                    </a:lnTo>
                    <a:lnTo>
                      <a:pt x="165" y="528"/>
                    </a:lnTo>
                    <a:lnTo>
                      <a:pt x="161" y="536"/>
                    </a:lnTo>
                    <a:lnTo>
                      <a:pt x="154" y="537"/>
                    </a:lnTo>
                    <a:lnTo>
                      <a:pt x="154" y="537"/>
                    </a:lnTo>
                    <a:lnTo>
                      <a:pt x="154" y="541"/>
                    </a:lnTo>
                    <a:lnTo>
                      <a:pt x="156" y="541"/>
                    </a:lnTo>
                    <a:lnTo>
                      <a:pt x="156" y="542"/>
                    </a:lnTo>
                    <a:lnTo>
                      <a:pt x="154" y="547"/>
                    </a:lnTo>
                    <a:lnTo>
                      <a:pt x="151" y="550"/>
                    </a:lnTo>
                    <a:lnTo>
                      <a:pt x="146" y="555"/>
                    </a:lnTo>
                    <a:lnTo>
                      <a:pt x="137" y="558"/>
                    </a:lnTo>
                    <a:lnTo>
                      <a:pt x="137" y="558"/>
                    </a:lnTo>
                    <a:lnTo>
                      <a:pt x="134" y="561"/>
                    </a:lnTo>
                    <a:lnTo>
                      <a:pt x="126" y="563"/>
                    </a:lnTo>
                    <a:lnTo>
                      <a:pt x="121" y="568"/>
                    </a:lnTo>
                    <a:lnTo>
                      <a:pt x="116" y="571"/>
                    </a:lnTo>
                    <a:lnTo>
                      <a:pt x="115" y="577"/>
                    </a:lnTo>
                    <a:lnTo>
                      <a:pt x="115" y="582"/>
                    </a:lnTo>
                    <a:lnTo>
                      <a:pt x="116" y="587"/>
                    </a:lnTo>
                    <a:lnTo>
                      <a:pt x="116" y="590"/>
                    </a:lnTo>
                    <a:lnTo>
                      <a:pt x="116" y="591"/>
                    </a:lnTo>
                    <a:lnTo>
                      <a:pt x="115" y="594"/>
                    </a:lnTo>
                    <a:lnTo>
                      <a:pt x="112" y="594"/>
                    </a:lnTo>
                    <a:lnTo>
                      <a:pt x="110" y="596"/>
                    </a:lnTo>
                    <a:lnTo>
                      <a:pt x="107" y="594"/>
                    </a:lnTo>
                    <a:lnTo>
                      <a:pt x="105" y="591"/>
                    </a:lnTo>
                    <a:lnTo>
                      <a:pt x="105" y="585"/>
                    </a:lnTo>
                    <a:lnTo>
                      <a:pt x="102" y="585"/>
                    </a:lnTo>
                    <a:lnTo>
                      <a:pt x="102" y="585"/>
                    </a:lnTo>
                    <a:lnTo>
                      <a:pt x="97" y="585"/>
                    </a:lnTo>
                    <a:lnTo>
                      <a:pt x="96" y="585"/>
                    </a:lnTo>
                    <a:lnTo>
                      <a:pt x="93" y="587"/>
                    </a:lnTo>
                    <a:lnTo>
                      <a:pt x="88" y="587"/>
                    </a:lnTo>
                    <a:lnTo>
                      <a:pt x="88" y="587"/>
                    </a:lnTo>
                    <a:lnTo>
                      <a:pt x="86" y="587"/>
                    </a:lnTo>
                    <a:lnTo>
                      <a:pt x="63" y="610"/>
                    </a:lnTo>
                    <a:lnTo>
                      <a:pt x="61" y="610"/>
                    </a:lnTo>
                    <a:lnTo>
                      <a:pt x="61" y="612"/>
                    </a:lnTo>
                    <a:lnTo>
                      <a:pt x="58" y="617"/>
                    </a:lnTo>
                    <a:lnTo>
                      <a:pt x="56" y="620"/>
                    </a:lnTo>
                    <a:lnTo>
                      <a:pt x="56" y="625"/>
                    </a:lnTo>
                    <a:lnTo>
                      <a:pt x="58" y="625"/>
                    </a:lnTo>
                    <a:lnTo>
                      <a:pt x="61" y="621"/>
                    </a:lnTo>
                    <a:lnTo>
                      <a:pt x="71" y="617"/>
                    </a:lnTo>
                    <a:lnTo>
                      <a:pt x="72" y="615"/>
                    </a:lnTo>
                    <a:lnTo>
                      <a:pt x="77" y="612"/>
                    </a:lnTo>
                    <a:lnTo>
                      <a:pt x="78" y="609"/>
                    </a:lnTo>
                    <a:lnTo>
                      <a:pt x="83" y="606"/>
                    </a:lnTo>
                    <a:lnTo>
                      <a:pt x="88" y="601"/>
                    </a:lnTo>
                    <a:lnTo>
                      <a:pt x="91" y="599"/>
                    </a:lnTo>
                    <a:lnTo>
                      <a:pt x="93" y="596"/>
                    </a:lnTo>
                    <a:lnTo>
                      <a:pt x="93" y="596"/>
                    </a:lnTo>
                    <a:lnTo>
                      <a:pt x="93" y="596"/>
                    </a:lnTo>
                    <a:lnTo>
                      <a:pt x="93" y="599"/>
                    </a:lnTo>
                    <a:lnTo>
                      <a:pt x="93" y="604"/>
                    </a:lnTo>
                    <a:lnTo>
                      <a:pt x="93" y="606"/>
                    </a:lnTo>
                    <a:lnTo>
                      <a:pt x="96" y="609"/>
                    </a:lnTo>
                    <a:lnTo>
                      <a:pt x="101" y="609"/>
                    </a:lnTo>
                    <a:lnTo>
                      <a:pt x="107" y="606"/>
                    </a:lnTo>
                    <a:lnTo>
                      <a:pt x="120" y="599"/>
                    </a:lnTo>
                    <a:lnTo>
                      <a:pt x="121" y="594"/>
                    </a:lnTo>
                    <a:lnTo>
                      <a:pt x="124" y="591"/>
                    </a:lnTo>
                    <a:lnTo>
                      <a:pt x="126" y="591"/>
                    </a:lnTo>
                    <a:lnTo>
                      <a:pt x="131" y="599"/>
                    </a:lnTo>
                    <a:lnTo>
                      <a:pt x="134" y="599"/>
                    </a:lnTo>
                    <a:lnTo>
                      <a:pt x="134" y="596"/>
                    </a:lnTo>
                    <a:lnTo>
                      <a:pt x="134" y="594"/>
                    </a:lnTo>
                    <a:lnTo>
                      <a:pt x="135" y="590"/>
                    </a:lnTo>
                    <a:lnTo>
                      <a:pt x="140" y="585"/>
                    </a:lnTo>
                    <a:lnTo>
                      <a:pt x="145" y="582"/>
                    </a:lnTo>
                    <a:lnTo>
                      <a:pt x="151" y="580"/>
                    </a:lnTo>
                    <a:lnTo>
                      <a:pt x="161" y="580"/>
                    </a:lnTo>
                    <a:lnTo>
                      <a:pt x="161" y="577"/>
                    </a:lnTo>
                    <a:lnTo>
                      <a:pt x="159" y="577"/>
                    </a:lnTo>
                    <a:lnTo>
                      <a:pt x="156" y="572"/>
                    </a:lnTo>
                    <a:lnTo>
                      <a:pt x="156" y="571"/>
                    </a:lnTo>
                    <a:lnTo>
                      <a:pt x="159" y="563"/>
                    </a:lnTo>
                    <a:lnTo>
                      <a:pt x="165" y="558"/>
                    </a:lnTo>
                    <a:lnTo>
                      <a:pt x="175" y="550"/>
                    </a:lnTo>
                    <a:lnTo>
                      <a:pt x="191" y="541"/>
                    </a:lnTo>
                    <a:lnTo>
                      <a:pt x="194" y="541"/>
                    </a:lnTo>
                    <a:lnTo>
                      <a:pt x="191" y="537"/>
                    </a:lnTo>
                    <a:lnTo>
                      <a:pt x="191" y="536"/>
                    </a:lnTo>
                    <a:lnTo>
                      <a:pt x="194" y="531"/>
                    </a:lnTo>
                    <a:lnTo>
                      <a:pt x="199" y="526"/>
                    </a:lnTo>
                    <a:lnTo>
                      <a:pt x="208" y="517"/>
                    </a:lnTo>
                    <a:lnTo>
                      <a:pt x="222" y="506"/>
                    </a:lnTo>
                    <a:lnTo>
                      <a:pt x="241" y="488"/>
                    </a:lnTo>
                    <a:lnTo>
                      <a:pt x="243" y="487"/>
                    </a:lnTo>
                    <a:lnTo>
                      <a:pt x="246" y="479"/>
                    </a:lnTo>
                    <a:lnTo>
                      <a:pt x="246" y="474"/>
                    </a:lnTo>
                    <a:lnTo>
                      <a:pt x="246" y="474"/>
                    </a:lnTo>
                    <a:lnTo>
                      <a:pt x="248" y="473"/>
                    </a:lnTo>
                    <a:lnTo>
                      <a:pt x="249" y="469"/>
                    </a:lnTo>
                    <a:lnTo>
                      <a:pt x="252" y="468"/>
                    </a:lnTo>
                    <a:lnTo>
                      <a:pt x="252" y="465"/>
                    </a:lnTo>
                    <a:lnTo>
                      <a:pt x="254" y="463"/>
                    </a:lnTo>
                    <a:lnTo>
                      <a:pt x="252" y="458"/>
                    </a:lnTo>
                    <a:lnTo>
                      <a:pt x="249" y="455"/>
                    </a:lnTo>
                    <a:lnTo>
                      <a:pt x="241" y="455"/>
                    </a:lnTo>
                    <a:lnTo>
                      <a:pt x="241" y="455"/>
                    </a:lnTo>
                    <a:lnTo>
                      <a:pt x="238" y="455"/>
                    </a:lnTo>
                    <a:lnTo>
                      <a:pt x="238" y="454"/>
                    </a:lnTo>
                    <a:lnTo>
                      <a:pt x="238" y="452"/>
                    </a:lnTo>
                    <a:lnTo>
                      <a:pt x="241" y="444"/>
                    </a:lnTo>
                    <a:lnTo>
                      <a:pt x="246" y="438"/>
                    </a:lnTo>
                    <a:lnTo>
                      <a:pt x="252" y="428"/>
                    </a:lnTo>
                    <a:lnTo>
                      <a:pt x="263" y="416"/>
                    </a:lnTo>
                    <a:lnTo>
                      <a:pt x="266" y="411"/>
                    </a:lnTo>
                    <a:lnTo>
                      <a:pt x="268" y="405"/>
                    </a:lnTo>
                    <a:lnTo>
                      <a:pt x="271" y="393"/>
                    </a:lnTo>
                    <a:lnTo>
                      <a:pt x="276" y="381"/>
                    </a:lnTo>
                    <a:lnTo>
                      <a:pt x="282" y="370"/>
                    </a:lnTo>
                    <a:lnTo>
                      <a:pt x="292" y="365"/>
                    </a:lnTo>
                    <a:lnTo>
                      <a:pt x="303" y="365"/>
                    </a:lnTo>
                    <a:lnTo>
                      <a:pt x="317" y="375"/>
                    </a:lnTo>
                    <a:lnTo>
                      <a:pt x="315" y="375"/>
                    </a:lnTo>
                    <a:lnTo>
                      <a:pt x="311" y="375"/>
                    </a:lnTo>
                    <a:lnTo>
                      <a:pt x="303" y="376"/>
                    </a:lnTo>
                    <a:lnTo>
                      <a:pt x="295" y="376"/>
                    </a:lnTo>
                    <a:lnTo>
                      <a:pt x="290" y="381"/>
                    </a:lnTo>
                    <a:lnTo>
                      <a:pt x="285" y="389"/>
                    </a:lnTo>
                    <a:lnTo>
                      <a:pt x="285" y="398"/>
                    </a:lnTo>
                    <a:lnTo>
                      <a:pt x="290" y="409"/>
                    </a:lnTo>
                    <a:lnTo>
                      <a:pt x="290" y="411"/>
                    </a:lnTo>
                    <a:lnTo>
                      <a:pt x="287" y="416"/>
                    </a:lnTo>
                    <a:lnTo>
                      <a:pt x="282" y="420"/>
                    </a:lnTo>
                    <a:lnTo>
                      <a:pt x="281" y="425"/>
                    </a:lnTo>
                    <a:lnTo>
                      <a:pt x="281" y="428"/>
                    </a:lnTo>
                    <a:lnTo>
                      <a:pt x="282" y="430"/>
                    </a:lnTo>
                    <a:lnTo>
                      <a:pt x="287" y="428"/>
                    </a:lnTo>
                    <a:lnTo>
                      <a:pt x="297" y="424"/>
                    </a:lnTo>
                    <a:lnTo>
                      <a:pt x="295" y="425"/>
                    </a:lnTo>
                    <a:lnTo>
                      <a:pt x="292" y="430"/>
                    </a:lnTo>
                    <a:lnTo>
                      <a:pt x="290" y="438"/>
                    </a:lnTo>
                    <a:lnTo>
                      <a:pt x="287" y="443"/>
                    </a:lnTo>
                    <a:lnTo>
                      <a:pt x="287" y="447"/>
                    </a:lnTo>
                    <a:lnTo>
                      <a:pt x="290" y="444"/>
                    </a:lnTo>
                    <a:lnTo>
                      <a:pt x="300" y="439"/>
                    </a:lnTo>
                    <a:lnTo>
                      <a:pt x="312" y="425"/>
                    </a:lnTo>
                    <a:lnTo>
                      <a:pt x="312" y="424"/>
                    </a:lnTo>
                    <a:lnTo>
                      <a:pt x="317" y="420"/>
                    </a:lnTo>
                    <a:lnTo>
                      <a:pt x="320" y="419"/>
                    </a:lnTo>
                    <a:lnTo>
                      <a:pt x="322" y="416"/>
                    </a:lnTo>
                    <a:lnTo>
                      <a:pt x="327" y="414"/>
                    </a:lnTo>
                    <a:lnTo>
                      <a:pt x="330" y="411"/>
                    </a:lnTo>
                    <a:lnTo>
                      <a:pt x="330" y="411"/>
                    </a:lnTo>
                    <a:lnTo>
                      <a:pt x="331" y="409"/>
                    </a:lnTo>
                    <a:lnTo>
                      <a:pt x="331" y="409"/>
                    </a:lnTo>
                    <a:lnTo>
                      <a:pt x="334" y="409"/>
                    </a:lnTo>
                    <a:lnTo>
                      <a:pt x="336" y="409"/>
                    </a:lnTo>
                    <a:lnTo>
                      <a:pt x="339" y="406"/>
                    </a:lnTo>
                    <a:lnTo>
                      <a:pt x="341" y="405"/>
                    </a:lnTo>
                    <a:lnTo>
                      <a:pt x="344" y="400"/>
                    </a:lnTo>
                    <a:lnTo>
                      <a:pt x="341" y="395"/>
                    </a:lnTo>
                    <a:lnTo>
                      <a:pt x="339" y="389"/>
                    </a:lnTo>
                    <a:lnTo>
                      <a:pt x="339" y="386"/>
                    </a:lnTo>
                    <a:lnTo>
                      <a:pt x="336" y="381"/>
                    </a:lnTo>
                    <a:lnTo>
                      <a:pt x="334" y="376"/>
                    </a:lnTo>
                    <a:lnTo>
                      <a:pt x="331" y="375"/>
                    </a:lnTo>
                    <a:lnTo>
                      <a:pt x="345" y="365"/>
                    </a:lnTo>
                    <a:lnTo>
                      <a:pt x="353" y="370"/>
                    </a:lnTo>
                    <a:lnTo>
                      <a:pt x="366" y="362"/>
                    </a:lnTo>
                    <a:lnTo>
                      <a:pt x="388" y="375"/>
                    </a:lnTo>
                    <a:lnTo>
                      <a:pt x="394" y="384"/>
                    </a:lnTo>
                    <a:lnTo>
                      <a:pt x="404" y="371"/>
                    </a:lnTo>
                    <a:lnTo>
                      <a:pt x="418" y="395"/>
                    </a:lnTo>
                    <a:lnTo>
                      <a:pt x="418" y="395"/>
                    </a:lnTo>
                    <a:lnTo>
                      <a:pt x="420" y="393"/>
                    </a:lnTo>
                    <a:lnTo>
                      <a:pt x="428" y="389"/>
                    </a:lnTo>
                    <a:lnTo>
                      <a:pt x="434" y="384"/>
                    </a:lnTo>
                    <a:lnTo>
                      <a:pt x="447" y="381"/>
                    </a:lnTo>
                    <a:lnTo>
                      <a:pt x="461" y="379"/>
                    </a:lnTo>
                    <a:lnTo>
                      <a:pt x="473" y="379"/>
                    </a:lnTo>
                    <a:lnTo>
                      <a:pt x="492" y="381"/>
                    </a:lnTo>
                    <a:lnTo>
                      <a:pt x="496" y="381"/>
                    </a:lnTo>
                    <a:lnTo>
                      <a:pt x="497" y="379"/>
                    </a:lnTo>
                    <a:lnTo>
                      <a:pt x="500" y="376"/>
                    </a:lnTo>
                    <a:lnTo>
                      <a:pt x="502" y="375"/>
                    </a:lnTo>
                    <a:lnTo>
                      <a:pt x="505" y="375"/>
                    </a:lnTo>
                    <a:lnTo>
                      <a:pt x="510" y="375"/>
                    </a:lnTo>
                    <a:lnTo>
                      <a:pt x="511" y="379"/>
                    </a:lnTo>
                    <a:lnTo>
                      <a:pt x="511" y="384"/>
                    </a:lnTo>
                    <a:lnTo>
                      <a:pt x="511" y="386"/>
                    </a:lnTo>
                    <a:lnTo>
                      <a:pt x="516" y="386"/>
                    </a:lnTo>
                    <a:lnTo>
                      <a:pt x="521" y="389"/>
                    </a:lnTo>
                    <a:lnTo>
                      <a:pt x="526" y="389"/>
                    </a:lnTo>
                    <a:lnTo>
                      <a:pt x="530" y="389"/>
                    </a:lnTo>
                    <a:lnTo>
                      <a:pt x="535" y="390"/>
                    </a:lnTo>
                    <a:lnTo>
                      <a:pt x="537" y="390"/>
                    </a:lnTo>
                    <a:lnTo>
                      <a:pt x="540" y="390"/>
                    </a:lnTo>
                    <a:lnTo>
                      <a:pt x="568" y="406"/>
                    </a:lnTo>
                    <a:lnTo>
                      <a:pt x="570" y="406"/>
                    </a:lnTo>
                    <a:lnTo>
                      <a:pt x="573" y="406"/>
                    </a:lnTo>
                    <a:lnTo>
                      <a:pt x="578" y="406"/>
                    </a:lnTo>
                    <a:lnTo>
                      <a:pt x="582" y="406"/>
                    </a:lnTo>
                    <a:lnTo>
                      <a:pt x="586" y="406"/>
                    </a:lnTo>
                    <a:lnTo>
                      <a:pt x="586" y="403"/>
                    </a:lnTo>
                    <a:lnTo>
                      <a:pt x="584" y="398"/>
                    </a:lnTo>
                    <a:lnTo>
                      <a:pt x="575" y="386"/>
                    </a:lnTo>
                    <a:lnTo>
                      <a:pt x="578" y="386"/>
                    </a:lnTo>
                    <a:lnTo>
                      <a:pt x="579" y="384"/>
                    </a:lnTo>
                    <a:lnTo>
                      <a:pt x="584" y="381"/>
                    </a:lnTo>
                    <a:lnTo>
                      <a:pt x="584" y="381"/>
                    </a:lnTo>
                    <a:lnTo>
                      <a:pt x="586" y="384"/>
                    </a:lnTo>
                    <a:lnTo>
                      <a:pt x="590" y="386"/>
                    </a:lnTo>
                    <a:lnTo>
                      <a:pt x="595" y="390"/>
                    </a:lnTo>
                    <a:lnTo>
                      <a:pt x="600" y="395"/>
                    </a:lnTo>
                    <a:lnTo>
                      <a:pt x="605" y="398"/>
                    </a:lnTo>
                    <a:lnTo>
                      <a:pt x="605" y="395"/>
                    </a:lnTo>
                    <a:lnTo>
                      <a:pt x="600" y="389"/>
                    </a:lnTo>
                    <a:lnTo>
                      <a:pt x="594" y="375"/>
                    </a:lnTo>
                    <a:lnTo>
                      <a:pt x="590" y="371"/>
                    </a:lnTo>
                    <a:lnTo>
                      <a:pt x="594" y="367"/>
                    </a:lnTo>
                    <a:lnTo>
                      <a:pt x="594" y="365"/>
                    </a:lnTo>
                    <a:lnTo>
                      <a:pt x="595" y="365"/>
                    </a:lnTo>
                    <a:lnTo>
                      <a:pt x="614" y="390"/>
                    </a:lnTo>
                    <a:lnTo>
                      <a:pt x="628" y="386"/>
                    </a:lnTo>
                    <a:lnTo>
                      <a:pt x="628" y="389"/>
                    </a:lnTo>
                    <a:lnTo>
                      <a:pt x="631" y="389"/>
                    </a:lnTo>
                    <a:lnTo>
                      <a:pt x="636" y="390"/>
                    </a:lnTo>
                    <a:lnTo>
                      <a:pt x="638" y="395"/>
                    </a:lnTo>
                    <a:lnTo>
                      <a:pt x="642" y="400"/>
                    </a:lnTo>
                    <a:lnTo>
                      <a:pt x="647" y="406"/>
                    </a:lnTo>
                    <a:lnTo>
                      <a:pt x="652" y="414"/>
                    </a:lnTo>
                    <a:lnTo>
                      <a:pt x="657" y="420"/>
                    </a:lnTo>
                    <a:lnTo>
                      <a:pt x="661" y="430"/>
                    </a:lnTo>
                    <a:lnTo>
                      <a:pt x="666" y="433"/>
                    </a:lnTo>
                    <a:lnTo>
                      <a:pt x="668" y="433"/>
                    </a:lnTo>
                    <a:lnTo>
                      <a:pt x="668" y="433"/>
                    </a:lnTo>
                    <a:lnTo>
                      <a:pt x="671" y="430"/>
                    </a:lnTo>
                    <a:lnTo>
                      <a:pt x="673" y="428"/>
                    </a:lnTo>
                    <a:lnTo>
                      <a:pt x="673" y="425"/>
                    </a:lnTo>
                    <a:lnTo>
                      <a:pt x="673" y="424"/>
                    </a:lnTo>
                    <a:lnTo>
                      <a:pt x="703" y="444"/>
                    </a:lnTo>
                    <a:lnTo>
                      <a:pt x="703" y="444"/>
                    </a:lnTo>
                    <a:lnTo>
                      <a:pt x="701" y="449"/>
                    </a:lnTo>
                    <a:lnTo>
                      <a:pt x="701" y="452"/>
                    </a:lnTo>
                    <a:lnTo>
                      <a:pt x="701" y="455"/>
                    </a:lnTo>
                    <a:lnTo>
                      <a:pt x="701" y="458"/>
                    </a:lnTo>
                    <a:lnTo>
                      <a:pt x="703" y="458"/>
                    </a:lnTo>
                    <a:lnTo>
                      <a:pt x="710" y="454"/>
                    </a:lnTo>
                    <a:lnTo>
                      <a:pt x="717" y="447"/>
                    </a:lnTo>
                    <a:lnTo>
                      <a:pt x="720" y="444"/>
                    </a:lnTo>
                    <a:lnTo>
                      <a:pt x="720" y="444"/>
                    </a:lnTo>
                    <a:lnTo>
                      <a:pt x="720" y="444"/>
                    </a:lnTo>
                    <a:lnTo>
                      <a:pt x="721" y="444"/>
                    </a:lnTo>
                    <a:lnTo>
                      <a:pt x="725" y="447"/>
                    </a:lnTo>
                    <a:lnTo>
                      <a:pt x="729" y="449"/>
                    </a:lnTo>
                    <a:lnTo>
                      <a:pt x="734" y="455"/>
                    </a:lnTo>
                    <a:lnTo>
                      <a:pt x="739" y="468"/>
                    </a:lnTo>
                    <a:lnTo>
                      <a:pt x="740" y="469"/>
                    </a:lnTo>
                    <a:lnTo>
                      <a:pt x="744" y="474"/>
                    </a:lnTo>
                    <a:lnTo>
                      <a:pt x="745" y="479"/>
                    </a:lnTo>
                    <a:lnTo>
                      <a:pt x="748" y="482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0" name="Freeform 155"/>
              <p:cNvSpPr>
                <a:spLocks/>
              </p:cNvSpPr>
              <p:nvPr/>
            </p:nvSpPr>
            <p:spPr bwMode="auto">
              <a:xfrm>
                <a:off x="897932" y="4984751"/>
                <a:ext cx="1331543" cy="1072709"/>
              </a:xfrm>
              <a:custGeom>
                <a:avLst/>
                <a:gdLst>
                  <a:gd name="T0" fmla="*/ 752 w 753"/>
                  <a:gd name="T1" fmla="*/ 458 h 626"/>
                  <a:gd name="T2" fmla="*/ 712 w 753"/>
                  <a:gd name="T3" fmla="*/ 430 h 626"/>
                  <a:gd name="T4" fmla="*/ 526 w 753"/>
                  <a:gd name="T5" fmla="*/ 367 h 626"/>
                  <a:gd name="T6" fmla="*/ 483 w 753"/>
                  <a:gd name="T7" fmla="*/ 365 h 626"/>
                  <a:gd name="T8" fmla="*/ 327 w 753"/>
                  <a:gd name="T9" fmla="*/ 18 h 626"/>
                  <a:gd name="T10" fmla="*/ 268 w 753"/>
                  <a:gd name="T11" fmla="*/ 22 h 626"/>
                  <a:gd name="T12" fmla="*/ 248 w 753"/>
                  <a:gd name="T13" fmla="*/ 22 h 626"/>
                  <a:gd name="T14" fmla="*/ 210 w 753"/>
                  <a:gd name="T15" fmla="*/ 12 h 626"/>
                  <a:gd name="T16" fmla="*/ 151 w 753"/>
                  <a:gd name="T17" fmla="*/ 12 h 626"/>
                  <a:gd name="T18" fmla="*/ 126 w 753"/>
                  <a:gd name="T19" fmla="*/ 23 h 626"/>
                  <a:gd name="T20" fmla="*/ 96 w 753"/>
                  <a:gd name="T21" fmla="*/ 45 h 626"/>
                  <a:gd name="T22" fmla="*/ 30 w 753"/>
                  <a:gd name="T23" fmla="*/ 107 h 626"/>
                  <a:gd name="T24" fmla="*/ 75 w 753"/>
                  <a:gd name="T25" fmla="*/ 159 h 626"/>
                  <a:gd name="T26" fmla="*/ 93 w 753"/>
                  <a:gd name="T27" fmla="*/ 183 h 626"/>
                  <a:gd name="T28" fmla="*/ 37 w 753"/>
                  <a:gd name="T29" fmla="*/ 183 h 626"/>
                  <a:gd name="T30" fmla="*/ 22 w 753"/>
                  <a:gd name="T31" fmla="*/ 189 h 626"/>
                  <a:gd name="T32" fmla="*/ 4 w 753"/>
                  <a:gd name="T33" fmla="*/ 219 h 626"/>
                  <a:gd name="T34" fmla="*/ 23 w 753"/>
                  <a:gd name="T35" fmla="*/ 248 h 626"/>
                  <a:gd name="T36" fmla="*/ 97 w 753"/>
                  <a:gd name="T37" fmla="*/ 243 h 626"/>
                  <a:gd name="T38" fmla="*/ 105 w 753"/>
                  <a:gd name="T39" fmla="*/ 262 h 626"/>
                  <a:gd name="T40" fmla="*/ 77 w 753"/>
                  <a:gd name="T41" fmla="*/ 302 h 626"/>
                  <a:gd name="T42" fmla="*/ 47 w 753"/>
                  <a:gd name="T43" fmla="*/ 303 h 626"/>
                  <a:gd name="T44" fmla="*/ 30 w 753"/>
                  <a:gd name="T45" fmla="*/ 335 h 626"/>
                  <a:gd name="T46" fmla="*/ 22 w 753"/>
                  <a:gd name="T47" fmla="*/ 352 h 626"/>
                  <a:gd name="T48" fmla="*/ 23 w 753"/>
                  <a:gd name="T49" fmla="*/ 375 h 626"/>
                  <a:gd name="T50" fmla="*/ 56 w 753"/>
                  <a:gd name="T51" fmla="*/ 398 h 626"/>
                  <a:gd name="T52" fmla="*/ 48 w 753"/>
                  <a:gd name="T53" fmla="*/ 433 h 626"/>
                  <a:gd name="T54" fmla="*/ 82 w 753"/>
                  <a:gd name="T55" fmla="*/ 411 h 626"/>
                  <a:gd name="T56" fmla="*/ 96 w 753"/>
                  <a:gd name="T57" fmla="*/ 444 h 626"/>
                  <a:gd name="T58" fmla="*/ 88 w 753"/>
                  <a:gd name="T59" fmla="*/ 479 h 626"/>
                  <a:gd name="T60" fmla="*/ 110 w 753"/>
                  <a:gd name="T61" fmla="*/ 463 h 626"/>
                  <a:gd name="T62" fmla="*/ 131 w 753"/>
                  <a:gd name="T63" fmla="*/ 463 h 626"/>
                  <a:gd name="T64" fmla="*/ 150 w 753"/>
                  <a:gd name="T65" fmla="*/ 474 h 626"/>
                  <a:gd name="T66" fmla="*/ 191 w 753"/>
                  <a:gd name="T67" fmla="*/ 454 h 626"/>
                  <a:gd name="T68" fmla="*/ 173 w 753"/>
                  <a:gd name="T69" fmla="*/ 503 h 626"/>
                  <a:gd name="T70" fmla="*/ 154 w 753"/>
                  <a:gd name="T71" fmla="*/ 547 h 626"/>
                  <a:gd name="T72" fmla="*/ 115 w 753"/>
                  <a:gd name="T73" fmla="*/ 582 h 626"/>
                  <a:gd name="T74" fmla="*/ 105 w 753"/>
                  <a:gd name="T75" fmla="*/ 585 h 626"/>
                  <a:gd name="T76" fmla="*/ 61 w 753"/>
                  <a:gd name="T77" fmla="*/ 610 h 626"/>
                  <a:gd name="T78" fmla="*/ 78 w 753"/>
                  <a:gd name="T79" fmla="*/ 609 h 626"/>
                  <a:gd name="T80" fmla="*/ 96 w 753"/>
                  <a:gd name="T81" fmla="*/ 609 h 626"/>
                  <a:gd name="T82" fmla="*/ 134 w 753"/>
                  <a:gd name="T83" fmla="*/ 596 h 626"/>
                  <a:gd name="T84" fmla="*/ 156 w 753"/>
                  <a:gd name="T85" fmla="*/ 571 h 626"/>
                  <a:gd name="T86" fmla="*/ 208 w 753"/>
                  <a:gd name="T87" fmla="*/ 517 h 626"/>
                  <a:gd name="T88" fmla="*/ 252 w 753"/>
                  <a:gd name="T89" fmla="*/ 468 h 626"/>
                  <a:gd name="T90" fmla="*/ 241 w 753"/>
                  <a:gd name="T91" fmla="*/ 444 h 626"/>
                  <a:gd name="T92" fmla="*/ 303 w 753"/>
                  <a:gd name="T93" fmla="*/ 365 h 626"/>
                  <a:gd name="T94" fmla="*/ 290 w 753"/>
                  <a:gd name="T95" fmla="*/ 409 h 626"/>
                  <a:gd name="T96" fmla="*/ 292 w 753"/>
                  <a:gd name="T97" fmla="*/ 430 h 626"/>
                  <a:gd name="T98" fmla="*/ 322 w 753"/>
                  <a:gd name="T99" fmla="*/ 416 h 626"/>
                  <a:gd name="T100" fmla="*/ 344 w 753"/>
                  <a:gd name="T101" fmla="*/ 400 h 626"/>
                  <a:gd name="T102" fmla="*/ 388 w 753"/>
                  <a:gd name="T103" fmla="*/ 375 h 626"/>
                  <a:gd name="T104" fmla="*/ 473 w 753"/>
                  <a:gd name="T105" fmla="*/ 379 h 626"/>
                  <a:gd name="T106" fmla="*/ 511 w 753"/>
                  <a:gd name="T107" fmla="*/ 384 h 626"/>
                  <a:gd name="T108" fmla="*/ 570 w 753"/>
                  <a:gd name="T109" fmla="*/ 406 h 626"/>
                  <a:gd name="T110" fmla="*/ 584 w 753"/>
                  <a:gd name="T111" fmla="*/ 381 h 626"/>
                  <a:gd name="T112" fmla="*/ 594 w 753"/>
                  <a:gd name="T113" fmla="*/ 375 h 626"/>
                  <a:gd name="T114" fmla="*/ 638 w 753"/>
                  <a:gd name="T115" fmla="*/ 395 h 626"/>
                  <a:gd name="T116" fmla="*/ 673 w 753"/>
                  <a:gd name="T117" fmla="*/ 428 h 626"/>
                  <a:gd name="T118" fmla="*/ 710 w 753"/>
                  <a:gd name="T119" fmla="*/ 454 h 626"/>
                  <a:gd name="T120" fmla="*/ 739 w 753"/>
                  <a:gd name="T121" fmla="*/ 46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3" h="626">
                    <a:moveTo>
                      <a:pt x="748" y="482"/>
                    </a:moveTo>
                    <a:lnTo>
                      <a:pt x="748" y="482"/>
                    </a:lnTo>
                    <a:lnTo>
                      <a:pt x="748" y="482"/>
                    </a:lnTo>
                    <a:lnTo>
                      <a:pt x="748" y="479"/>
                    </a:lnTo>
                    <a:lnTo>
                      <a:pt x="750" y="477"/>
                    </a:lnTo>
                    <a:lnTo>
                      <a:pt x="750" y="474"/>
                    </a:lnTo>
                    <a:lnTo>
                      <a:pt x="750" y="474"/>
                    </a:lnTo>
                    <a:lnTo>
                      <a:pt x="752" y="469"/>
                    </a:lnTo>
                    <a:lnTo>
                      <a:pt x="752" y="468"/>
                    </a:lnTo>
                    <a:lnTo>
                      <a:pt x="752" y="463"/>
                    </a:lnTo>
                    <a:lnTo>
                      <a:pt x="752" y="458"/>
                    </a:lnTo>
                    <a:lnTo>
                      <a:pt x="750" y="454"/>
                    </a:lnTo>
                    <a:lnTo>
                      <a:pt x="748" y="449"/>
                    </a:lnTo>
                    <a:lnTo>
                      <a:pt x="744" y="443"/>
                    </a:lnTo>
                    <a:lnTo>
                      <a:pt x="739" y="438"/>
                    </a:lnTo>
                    <a:lnTo>
                      <a:pt x="739" y="438"/>
                    </a:lnTo>
                    <a:lnTo>
                      <a:pt x="736" y="435"/>
                    </a:lnTo>
                    <a:lnTo>
                      <a:pt x="731" y="435"/>
                    </a:lnTo>
                    <a:lnTo>
                      <a:pt x="726" y="433"/>
                    </a:lnTo>
                    <a:lnTo>
                      <a:pt x="721" y="433"/>
                    </a:lnTo>
                    <a:lnTo>
                      <a:pt x="717" y="433"/>
                    </a:lnTo>
                    <a:lnTo>
                      <a:pt x="712" y="430"/>
                    </a:lnTo>
                    <a:lnTo>
                      <a:pt x="710" y="430"/>
                    </a:lnTo>
                    <a:lnTo>
                      <a:pt x="710" y="430"/>
                    </a:lnTo>
                    <a:lnTo>
                      <a:pt x="698" y="428"/>
                    </a:lnTo>
                    <a:lnTo>
                      <a:pt x="624" y="375"/>
                    </a:lnTo>
                    <a:lnTo>
                      <a:pt x="600" y="357"/>
                    </a:lnTo>
                    <a:lnTo>
                      <a:pt x="582" y="346"/>
                    </a:lnTo>
                    <a:lnTo>
                      <a:pt x="570" y="362"/>
                    </a:lnTo>
                    <a:lnTo>
                      <a:pt x="570" y="375"/>
                    </a:lnTo>
                    <a:lnTo>
                      <a:pt x="556" y="386"/>
                    </a:lnTo>
                    <a:lnTo>
                      <a:pt x="526" y="367"/>
                    </a:lnTo>
                    <a:lnTo>
                      <a:pt x="526" y="367"/>
                    </a:lnTo>
                    <a:lnTo>
                      <a:pt x="526" y="367"/>
                    </a:lnTo>
                    <a:lnTo>
                      <a:pt x="524" y="365"/>
                    </a:lnTo>
                    <a:lnTo>
                      <a:pt x="521" y="360"/>
                    </a:lnTo>
                    <a:lnTo>
                      <a:pt x="516" y="357"/>
                    </a:lnTo>
                    <a:lnTo>
                      <a:pt x="510" y="356"/>
                    </a:lnTo>
                    <a:lnTo>
                      <a:pt x="505" y="356"/>
                    </a:lnTo>
                    <a:lnTo>
                      <a:pt x="497" y="357"/>
                    </a:lnTo>
                    <a:lnTo>
                      <a:pt x="491" y="362"/>
                    </a:lnTo>
                    <a:lnTo>
                      <a:pt x="491" y="362"/>
                    </a:lnTo>
                    <a:lnTo>
                      <a:pt x="488" y="365"/>
                    </a:lnTo>
                    <a:lnTo>
                      <a:pt x="483" y="365"/>
                    </a:lnTo>
                    <a:lnTo>
                      <a:pt x="478" y="367"/>
                    </a:lnTo>
                    <a:lnTo>
                      <a:pt x="477" y="367"/>
                    </a:lnTo>
                    <a:lnTo>
                      <a:pt x="374" y="23"/>
                    </a:lnTo>
                    <a:lnTo>
                      <a:pt x="374" y="23"/>
                    </a:lnTo>
                    <a:lnTo>
                      <a:pt x="371" y="23"/>
                    </a:lnTo>
                    <a:lnTo>
                      <a:pt x="366" y="22"/>
                    </a:lnTo>
                    <a:lnTo>
                      <a:pt x="360" y="18"/>
                    </a:lnTo>
                    <a:lnTo>
                      <a:pt x="353" y="17"/>
                    </a:lnTo>
                    <a:lnTo>
                      <a:pt x="344" y="14"/>
                    </a:lnTo>
                    <a:lnTo>
                      <a:pt x="336" y="17"/>
                    </a:lnTo>
                    <a:lnTo>
                      <a:pt x="327" y="18"/>
                    </a:lnTo>
                    <a:lnTo>
                      <a:pt x="320" y="23"/>
                    </a:lnTo>
                    <a:lnTo>
                      <a:pt x="320" y="23"/>
                    </a:lnTo>
                    <a:lnTo>
                      <a:pt x="317" y="23"/>
                    </a:lnTo>
                    <a:lnTo>
                      <a:pt x="311" y="23"/>
                    </a:lnTo>
                    <a:lnTo>
                      <a:pt x="301" y="23"/>
                    </a:lnTo>
                    <a:lnTo>
                      <a:pt x="292" y="23"/>
                    </a:lnTo>
                    <a:lnTo>
                      <a:pt x="282" y="23"/>
                    </a:lnTo>
                    <a:lnTo>
                      <a:pt x="276" y="23"/>
                    </a:lnTo>
                    <a:lnTo>
                      <a:pt x="268" y="22"/>
                    </a:lnTo>
                    <a:lnTo>
                      <a:pt x="268" y="22"/>
                    </a:lnTo>
                    <a:lnTo>
                      <a:pt x="268" y="22"/>
                    </a:lnTo>
                    <a:lnTo>
                      <a:pt x="266" y="22"/>
                    </a:lnTo>
                    <a:lnTo>
                      <a:pt x="266" y="22"/>
                    </a:lnTo>
                    <a:lnTo>
                      <a:pt x="263" y="22"/>
                    </a:lnTo>
                    <a:lnTo>
                      <a:pt x="262" y="22"/>
                    </a:lnTo>
                    <a:lnTo>
                      <a:pt x="259" y="22"/>
                    </a:lnTo>
                    <a:lnTo>
                      <a:pt x="254" y="22"/>
                    </a:lnTo>
                    <a:lnTo>
                      <a:pt x="252" y="22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9" y="22"/>
                    </a:lnTo>
                    <a:lnTo>
                      <a:pt x="248" y="22"/>
                    </a:lnTo>
                    <a:lnTo>
                      <a:pt x="243" y="23"/>
                    </a:lnTo>
                    <a:lnTo>
                      <a:pt x="238" y="23"/>
                    </a:lnTo>
                    <a:lnTo>
                      <a:pt x="233" y="23"/>
                    </a:lnTo>
                    <a:lnTo>
                      <a:pt x="229" y="22"/>
                    </a:lnTo>
                    <a:lnTo>
                      <a:pt x="224" y="17"/>
                    </a:lnTo>
                    <a:lnTo>
                      <a:pt x="218" y="9"/>
                    </a:lnTo>
                    <a:lnTo>
                      <a:pt x="218" y="9"/>
                    </a:lnTo>
                    <a:lnTo>
                      <a:pt x="218" y="9"/>
                    </a:lnTo>
                    <a:lnTo>
                      <a:pt x="214" y="9"/>
                    </a:lnTo>
                    <a:lnTo>
                      <a:pt x="213" y="12"/>
                    </a:lnTo>
                    <a:lnTo>
                      <a:pt x="210" y="12"/>
                    </a:lnTo>
                    <a:lnTo>
                      <a:pt x="205" y="12"/>
                    </a:lnTo>
                    <a:lnTo>
                      <a:pt x="203" y="12"/>
                    </a:lnTo>
                    <a:lnTo>
                      <a:pt x="200" y="14"/>
                    </a:lnTo>
                    <a:lnTo>
                      <a:pt x="200" y="14"/>
                    </a:lnTo>
                    <a:lnTo>
                      <a:pt x="189" y="3"/>
                    </a:lnTo>
                    <a:lnTo>
                      <a:pt x="180" y="9"/>
                    </a:lnTo>
                    <a:lnTo>
                      <a:pt x="178" y="0"/>
                    </a:lnTo>
                    <a:lnTo>
                      <a:pt x="161" y="0"/>
                    </a:lnTo>
                    <a:lnTo>
                      <a:pt x="151" y="12"/>
                    </a:lnTo>
                    <a:lnTo>
                      <a:pt x="151" y="12"/>
                    </a:lnTo>
                    <a:lnTo>
                      <a:pt x="151" y="12"/>
                    </a:lnTo>
                    <a:lnTo>
                      <a:pt x="151" y="12"/>
                    </a:lnTo>
                    <a:lnTo>
                      <a:pt x="150" y="14"/>
                    </a:lnTo>
                    <a:lnTo>
                      <a:pt x="150" y="17"/>
                    </a:lnTo>
                    <a:lnTo>
                      <a:pt x="146" y="17"/>
                    </a:lnTo>
                    <a:lnTo>
                      <a:pt x="142" y="18"/>
                    </a:lnTo>
                    <a:lnTo>
                      <a:pt x="137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29" y="22"/>
                    </a:lnTo>
                    <a:lnTo>
                      <a:pt x="126" y="23"/>
                    </a:lnTo>
                    <a:lnTo>
                      <a:pt x="124" y="26"/>
                    </a:lnTo>
                    <a:lnTo>
                      <a:pt x="120" y="31"/>
                    </a:lnTo>
                    <a:lnTo>
                      <a:pt x="116" y="33"/>
                    </a:lnTo>
                    <a:lnTo>
                      <a:pt x="115" y="36"/>
                    </a:lnTo>
                    <a:lnTo>
                      <a:pt x="115" y="36"/>
                    </a:lnTo>
                    <a:lnTo>
                      <a:pt x="115" y="36"/>
                    </a:lnTo>
                    <a:lnTo>
                      <a:pt x="115" y="36"/>
                    </a:lnTo>
                    <a:lnTo>
                      <a:pt x="112" y="36"/>
                    </a:lnTo>
                    <a:lnTo>
                      <a:pt x="107" y="36"/>
                    </a:lnTo>
                    <a:lnTo>
                      <a:pt x="102" y="41"/>
                    </a:lnTo>
                    <a:lnTo>
                      <a:pt x="96" y="45"/>
                    </a:lnTo>
                    <a:lnTo>
                      <a:pt x="88" y="52"/>
                    </a:lnTo>
                    <a:lnTo>
                      <a:pt x="82" y="63"/>
                    </a:lnTo>
                    <a:lnTo>
                      <a:pt x="75" y="77"/>
                    </a:lnTo>
                    <a:lnTo>
                      <a:pt x="75" y="77"/>
                    </a:lnTo>
                    <a:lnTo>
                      <a:pt x="72" y="80"/>
                    </a:lnTo>
                    <a:lnTo>
                      <a:pt x="71" y="85"/>
                    </a:lnTo>
                    <a:lnTo>
                      <a:pt x="66" y="87"/>
                    </a:lnTo>
                    <a:lnTo>
                      <a:pt x="66" y="90"/>
                    </a:lnTo>
                    <a:lnTo>
                      <a:pt x="42" y="90"/>
                    </a:lnTo>
                    <a:lnTo>
                      <a:pt x="30" y="107"/>
                    </a:lnTo>
                    <a:lnTo>
                      <a:pt x="30" y="107"/>
                    </a:lnTo>
                    <a:lnTo>
                      <a:pt x="30" y="110"/>
                    </a:lnTo>
                    <a:lnTo>
                      <a:pt x="34" y="112"/>
                    </a:lnTo>
                    <a:lnTo>
                      <a:pt x="42" y="115"/>
                    </a:lnTo>
                    <a:lnTo>
                      <a:pt x="48" y="120"/>
                    </a:lnTo>
                    <a:lnTo>
                      <a:pt x="58" y="126"/>
                    </a:lnTo>
                    <a:lnTo>
                      <a:pt x="63" y="134"/>
                    </a:lnTo>
                    <a:lnTo>
                      <a:pt x="67" y="145"/>
                    </a:lnTo>
                    <a:lnTo>
                      <a:pt x="71" y="156"/>
                    </a:lnTo>
                    <a:lnTo>
                      <a:pt x="71" y="156"/>
                    </a:lnTo>
                    <a:lnTo>
                      <a:pt x="71" y="156"/>
                    </a:lnTo>
                    <a:lnTo>
                      <a:pt x="75" y="159"/>
                    </a:lnTo>
                    <a:lnTo>
                      <a:pt x="77" y="159"/>
                    </a:lnTo>
                    <a:lnTo>
                      <a:pt x="82" y="159"/>
                    </a:lnTo>
                    <a:lnTo>
                      <a:pt x="86" y="159"/>
                    </a:lnTo>
                    <a:lnTo>
                      <a:pt x="91" y="159"/>
                    </a:lnTo>
                    <a:lnTo>
                      <a:pt x="93" y="161"/>
                    </a:lnTo>
                    <a:lnTo>
                      <a:pt x="93" y="161"/>
                    </a:lnTo>
                    <a:lnTo>
                      <a:pt x="97" y="178"/>
                    </a:lnTo>
                    <a:lnTo>
                      <a:pt x="112" y="178"/>
                    </a:lnTo>
                    <a:lnTo>
                      <a:pt x="110" y="183"/>
                    </a:lnTo>
                    <a:lnTo>
                      <a:pt x="110" y="183"/>
                    </a:lnTo>
                    <a:lnTo>
                      <a:pt x="93" y="183"/>
                    </a:lnTo>
                    <a:lnTo>
                      <a:pt x="93" y="183"/>
                    </a:lnTo>
                    <a:lnTo>
                      <a:pt x="86" y="169"/>
                    </a:lnTo>
                    <a:lnTo>
                      <a:pt x="86" y="169"/>
                    </a:lnTo>
                    <a:lnTo>
                      <a:pt x="82" y="174"/>
                    </a:lnTo>
                    <a:lnTo>
                      <a:pt x="93" y="188"/>
                    </a:lnTo>
                    <a:lnTo>
                      <a:pt x="105" y="189"/>
                    </a:lnTo>
                    <a:lnTo>
                      <a:pt x="93" y="199"/>
                    </a:lnTo>
                    <a:lnTo>
                      <a:pt x="63" y="193"/>
                    </a:lnTo>
                    <a:lnTo>
                      <a:pt x="63" y="175"/>
                    </a:lnTo>
                    <a:lnTo>
                      <a:pt x="37" y="183"/>
                    </a:lnTo>
                    <a:lnTo>
                      <a:pt x="37" y="183"/>
                    </a:lnTo>
                    <a:lnTo>
                      <a:pt x="37" y="183"/>
                    </a:lnTo>
                    <a:lnTo>
                      <a:pt x="37" y="185"/>
                    </a:lnTo>
                    <a:lnTo>
                      <a:pt x="37" y="189"/>
                    </a:lnTo>
                    <a:lnTo>
                      <a:pt x="37" y="193"/>
                    </a:lnTo>
                    <a:lnTo>
                      <a:pt x="37" y="194"/>
                    </a:lnTo>
                    <a:lnTo>
                      <a:pt x="34" y="194"/>
                    </a:lnTo>
                    <a:lnTo>
                      <a:pt x="30" y="193"/>
                    </a:lnTo>
                    <a:lnTo>
                      <a:pt x="25" y="188"/>
                    </a:lnTo>
                    <a:lnTo>
                      <a:pt x="25" y="188"/>
                    </a:lnTo>
                    <a:lnTo>
                      <a:pt x="25" y="188"/>
                    </a:lnTo>
                    <a:lnTo>
                      <a:pt x="22" y="189"/>
                    </a:lnTo>
                    <a:lnTo>
                      <a:pt x="17" y="189"/>
                    </a:lnTo>
                    <a:lnTo>
                      <a:pt x="12" y="193"/>
                    </a:lnTo>
                    <a:lnTo>
                      <a:pt x="7" y="197"/>
                    </a:lnTo>
                    <a:lnTo>
                      <a:pt x="3" y="199"/>
                    </a:lnTo>
                    <a:lnTo>
                      <a:pt x="0" y="204"/>
                    </a:lnTo>
                    <a:lnTo>
                      <a:pt x="0" y="208"/>
                    </a:lnTo>
                    <a:lnTo>
                      <a:pt x="0" y="208"/>
                    </a:lnTo>
                    <a:lnTo>
                      <a:pt x="0" y="210"/>
                    </a:lnTo>
                    <a:lnTo>
                      <a:pt x="0" y="213"/>
                    </a:lnTo>
                    <a:lnTo>
                      <a:pt x="3" y="215"/>
                    </a:lnTo>
                    <a:lnTo>
                      <a:pt x="4" y="219"/>
                    </a:lnTo>
                    <a:lnTo>
                      <a:pt x="7" y="223"/>
                    </a:lnTo>
                    <a:lnTo>
                      <a:pt x="9" y="227"/>
                    </a:lnTo>
                    <a:lnTo>
                      <a:pt x="12" y="227"/>
                    </a:lnTo>
                    <a:lnTo>
                      <a:pt x="12" y="229"/>
                    </a:lnTo>
                    <a:lnTo>
                      <a:pt x="18" y="237"/>
                    </a:lnTo>
                    <a:lnTo>
                      <a:pt x="18" y="237"/>
                    </a:lnTo>
                    <a:lnTo>
                      <a:pt x="18" y="238"/>
                    </a:lnTo>
                    <a:lnTo>
                      <a:pt x="18" y="238"/>
                    </a:lnTo>
                    <a:lnTo>
                      <a:pt x="18" y="242"/>
                    </a:lnTo>
                    <a:lnTo>
                      <a:pt x="22" y="246"/>
                    </a:lnTo>
                    <a:lnTo>
                      <a:pt x="23" y="248"/>
                    </a:lnTo>
                    <a:lnTo>
                      <a:pt x="30" y="250"/>
                    </a:lnTo>
                    <a:lnTo>
                      <a:pt x="39" y="253"/>
                    </a:lnTo>
                    <a:lnTo>
                      <a:pt x="53" y="253"/>
                    </a:lnTo>
                    <a:lnTo>
                      <a:pt x="53" y="253"/>
                    </a:lnTo>
                    <a:lnTo>
                      <a:pt x="56" y="253"/>
                    </a:lnTo>
                    <a:lnTo>
                      <a:pt x="61" y="254"/>
                    </a:lnTo>
                    <a:lnTo>
                      <a:pt x="66" y="257"/>
                    </a:lnTo>
                    <a:lnTo>
                      <a:pt x="67" y="257"/>
                    </a:lnTo>
                    <a:lnTo>
                      <a:pt x="82" y="257"/>
                    </a:lnTo>
                    <a:lnTo>
                      <a:pt x="97" y="243"/>
                    </a:lnTo>
                    <a:lnTo>
                      <a:pt x="97" y="243"/>
                    </a:lnTo>
                    <a:lnTo>
                      <a:pt x="97" y="243"/>
                    </a:lnTo>
                    <a:lnTo>
                      <a:pt x="102" y="243"/>
                    </a:lnTo>
                    <a:lnTo>
                      <a:pt x="107" y="242"/>
                    </a:lnTo>
                    <a:lnTo>
                      <a:pt x="112" y="242"/>
                    </a:lnTo>
                    <a:lnTo>
                      <a:pt x="115" y="243"/>
                    </a:lnTo>
                    <a:lnTo>
                      <a:pt x="115" y="246"/>
                    </a:lnTo>
                    <a:lnTo>
                      <a:pt x="112" y="250"/>
                    </a:lnTo>
                    <a:lnTo>
                      <a:pt x="102" y="254"/>
                    </a:lnTo>
                    <a:lnTo>
                      <a:pt x="102" y="254"/>
                    </a:lnTo>
                    <a:lnTo>
                      <a:pt x="102" y="257"/>
                    </a:lnTo>
                    <a:lnTo>
                      <a:pt x="105" y="262"/>
                    </a:lnTo>
                    <a:lnTo>
                      <a:pt x="107" y="268"/>
                    </a:lnTo>
                    <a:lnTo>
                      <a:pt x="110" y="276"/>
                    </a:lnTo>
                    <a:lnTo>
                      <a:pt x="110" y="283"/>
                    </a:lnTo>
                    <a:lnTo>
                      <a:pt x="107" y="287"/>
                    </a:lnTo>
                    <a:lnTo>
                      <a:pt x="97" y="292"/>
                    </a:lnTo>
                    <a:lnTo>
                      <a:pt x="86" y="292"/>
                    </a:lnTo>
                    <a:lnTo>
                      <a:pt x="86" y="292"/>
                    </a:lnTo>
                    <a:lnTo>
                      <a:pt x="83" y="295"/>
                    </a:lnTo>
                    <a:lnTo>
                      <a:pt x="82" y="295"/>
                    </a:lnTo>
                    <a:lnTo>
                      <a:pt x="78" y="300"/>
                    </a:lnTo>
                    <a:lnTo>
                      <a:pt x="77" y="302"/>
                    </a:lnTo>
                    <a:lnTo>
                      <a:pt x="75" y="303"/>
                    </a:lnTo>
                    <a:lnTo>
                      <a:pt x="72" y="308"/>
                    </a:lnTo>
                    <a:lnTo>
                      <a:pt x="71" y="311"/>
                    </a:lnTo>
                    <a:lnTo>
                      <a:pt x="71" y="311"/>
                    </a:lnTo>
                    <a:lnTo>
                      <a:pt x="71" y="311"/>
                    </a:lnTo>
                    <a:lnTo>
                      <a:pt x="71" y="308"/>
                    </a:lnTo>
                    <a:lnTo>
                      <a:pt x="66" y="306"/>
                    </a:lnTo>
                    <a:lnTo>
                      <a:pt x="61" y="303"/>
                    </a:lnTo>
                    <a:lnTo>
                      <a:pt x="56" y="303"/>
                    </a:lnTo>
                    <a:lnTo>
                      <a:pt x="48" y="303"/>
                    </a:lnTo>
                    <a:lnTo>
                      <a:pt x="47" y="303"/>
                    </a:lnTo>
                    <a:lnTo>
                      <a:pt x="42" y="308"/>
                    </a:lnTo>
                    <a:lnTo>
                      <a:pt x="42" y="318"/>
                    </a:lnTo>
                    <a:lnTo>
                      <a:pt x="42" y="318"/>
                    </a:lnTo>
                    <a:lnTo>
                      <a:pt x="42" y="321"/>
                    </a:lnTo>
                    <a:lnTo>
                      <a:pt x="42" y="322"/>
                    </a:lnTo>
                    <a:lnTo>
                      <a:pt x="42" y="325"/>
                    </a:lnTo>
                    <a:lnTo>
                      <a:pt x="39" y="327"/>
                    </a:lnTo>
                    <a:lnTo>
                      <a:pt x="39" y="330"/>
                    </a:lnTo>
                    <a:lnTo>
                      <a:pt x="37" y="335"/>
                    </a:lnTo>
                    <a:lnTo>
                      <a:pt x="34" y="335"/>
                    </a:lnTo>
                    <a:lnTo>
                      <a:pt x="30" y="335"/>
                    </a:lnTo>
                    <a:lnTo>
                      <a:pt x="30" y="335"/>
                    </a:lnTo>
                    <a:lnTo>
                      <a:pt x="30" y="337"/>
                    </a:lnTo>
                    <a:lnTo>
                      <a:pt x="28" y="337"/>
                    </a:lnTo>
                    <a:lnTo>
                      <a:pt x="28" y="341"/>
                    </a:lnTo>
                    <a:lnTo>
                      <a:pt x="25" y="344"/>
                    </a:lnTo>
                    <a:lnTo>
                      <a:pt x="23" y="346"/>
                    </a:lnTo>
                    <a:lnTo>
                      <a:pt x="23" y="351"/>
                    </a:lnTo>
                    <a:lnTo>
                      <a:pt x="23" y="352"/>
                    </a:lnTo>
                    <a:lnTo>
                      <a:pt x="23" y="352"/>
                    </a:lnTo>
                    <a:lnTo>
                      <a:pt x="23" y="352"/>
                    </a:lnTo>
                    <a:lnTo>
                      <a:pt x="22" y="352"/>
                    </a:lnTo>
                    <a:lnTo>
                      <a:pt x="18" y="356"/>
                    </a:lnTo>
                    <a:lnTo>
                      <a:pt x="17" y="360"/>
                    </a:lnTo>
                    <a:lnTo>
                      <a:pt x="14" y="362"/>
                    </a:lnTo>
                    <a:lnTo>
                      <a:pt x="12" y="367"/>
                    </a:lnTo>
                    <a:lnTo>
                      <a:pt x="14" y="367"/>
                    </a:lnTo>
                    <a:lnTo>
                      <a:pt x="17" y="367"/>
                    </a:lnTo>
                    <a:lnTo>
                      <a:pt x="25" y="365"/>
                    </a:lnTo>
                    <a:lnTo>
                      <a:pt x="25" y="365"/>
                    </a:lnTo>
                    <a:lnTo>
                      <a:pt x="25" y="365"/>
                    </a:lnTo>
                    <a:lnTo>
                      <a:pt x="25" y="370"/>
                    </a:lnTo>
                    <a:lnTo>
                      <a:pt x="23" y="375"/>
                    </a:lnTo>
                    <a:lnTo>
                      <a:pt x="23" y="376"/>
                    </a:lnTo>
                    <a:lnTo>
                      <a:pt x="23" y="376"/>
                    </a:lnTo>
                    <a:lnTo>
                      <a:pt x="23" y="376"/>
                    </a:lnTo>
                    <a:lnTo>
                      <a:pt x="25" y="379"/>
                    </a:lnTo>
                    <a:lnTo>
                      <a:pt x="28" y="384"/>
                    </a:lnTo>
                    <a:lnTo>
                      <a:pt x="33" y="386"/>
                    </a:lnTo>
                    <a:lnTo>
                      <a:pt x="37" y="390"/>
                    </a:lnTo>
                    <a:lnTo>
                      <a:pt x="42" y="395"/>
                    </a:lnTo>
                    <a:lnTo>
                      <a:pt x="48" y="398"/>
                    </a:lnTo>
                    <a:lnTo>
                      <a:pt x="56" y="398"/>
                    </a:lnTo>
                    <a:lnTo>
                      <a:pt x="56" y="398"/>
                    </a:lnTo>
                    <a:lnTo>
                      <a:pt x="53" y="400"/>
                    </a:lnTo>
                    <a:lnTo>
                      <a:pt x="52" y="403"/>
                    </a:lnTo>
                    <a:lnTo>
                      <a:pt x="47" y="406"/>
                    </a:lnTo>
                    <a:lnTo>
                      <a:pt x="42" y="414"/>
                    </a:lnTo>
                    <a:lnTo>
                      <a:pt x="39" y="419"/>
                    </a:lnTo>
                    <a:lnTo>
                      <a:pt x="37" y="424"/>
                    </a:lnTo>
                    <a:lnTo>
                      <a:pt x="39" y="425"/>
                    </a:lnTo>
                    <a:lnTo>
                      <a:pt x="44" y="428"/>
                    </a:lnTo>
                    <a:lnTo>
                      <a:pt x="44" y="428"/>
                    </a:lnTo>
                    <a:lnTo>
                      <a:pt x="47" y="428"/>
                    </a:lnTo>
                    <a:lnTo>
                      <a:pt x="48" y="433"/>
                    </a:lnTo>
                    <a:lnTo>
                      <a:pt x="52" y="438"/>
                    </a:lnTo>
                    <a:lnTo>
                      <a:pt x="56" y="439"/>
                    </a:lnTo>
                    <a:lnTo>
                      <a:pt x="61" y="443"/>
                    </a:lnTo>
                    <a:lnTo>
                      <a:pt x="66" y="439"/>
                    </a:lnTo>
                    <a:lnTo>
                      <a:pt x="72" y="433"/>
                    </a:lnTo>
                    <a:lnTo>
                      <a:pt x="77" y="420"/>
                    </a:lnTo>
                    <a:lnTo>
                      <a:pt x="77" y="420"/>
                    </a:lnTo>
                    <a:lnTo>
                      <a:pt x="78" y="419"/>
                    </a:lnTo>
                    <a:lnTo>
                      <a:pt x="82" y="414"/>
                    </a:lnTo>
                    <a:lnTo>
                      <a:pt x="82" y="411"/>
                    </a:lnTo>
                    <a:lnTo>
                      <a:pt x="82" y="411"/>
                    </a:lnTo>
                    <a:lnTo>
                      <a:pt x="82" y="411"/>
                    </a:lnTo>
                    <a:lnTo>
                      <a:pt x="82" y="414"/>
                    </a:lnTo>
                    <a:lnTo>
                      <a:pt x="82" y="416"/>
                    </a:lnTo>
                    <a:lnTo>
                      <a:pt x="82" y="420"/>
                    </a:lnTo>
                    <a:lnTo>
                      <a:pt x="82" y="425"/>
                    </a:lnTo>
                    <a:lnTo>
                      <a:pt x="83" y="430"/>
                    </a:lnTo>
                    <a:lnTo>
                      <a:pt x="86" y="435"/>
                    </a:lnTo>
                    <a:lnTo>
                      <a:pt x="88" y="439"/>
                    </a:lnTo>
                    <a:lnTo>
                      <a:pt x="93" y="444"/>
                    </a:lnTo>
                    <a:lnTo>
                      <a:pt x="93" y="444"/>
                    </a:lnTo>
                    <a:lnTo>
                      <a:pt x="96" y="444"/>
                    </a:lnTo>
                    <a:lnTo>
                      <a:pt x="96" y="447"/>
                    </a:lnTo>
                    <a:lnTo>
                      <a:pt x="96" y="452"/>
                    </a:lnTo>
                    <a:lnTo>
                      <a:pt x="93" y="454"/>
                    </a:lnTo>
                    <a:lnTo>
                      <a:pt x="93" y="458"/>
                    </a:lnTo>
                    <a:lnTo>
                      <a:pt x="91" y="460"/>
                    </a:lnTo>
                    <a:lnTo>
                      <a:pt x="91" y="463"/>
                    </a:lnTo>
                    <a:lnTo>
                      <a:pt x="91" y="463"/>
                    </a:lnTo>
                    <a:lnTo>
                      <a:pt x="88" y="477"/>
                    </a:lnTo>
                    <a:lnTo>
                      <a:pt x="88" y="477"/>
                    </a:lnTo>
                    <a:lnTo>
                      <a:pt x="88" y="477"/>
                    </a:lnTo>
                    <a:lnTo>
                      <a:pt x="88" y="479"/>
                    </a:lnTo>
                    <a:lnTo>
                      <a:pt x="91" y="484"/>
                    </a:lnTo>
                    <a:lnTo>
                      <a:pt x="91" y="487"/>
                    </a:lnTo>
                    <a:lnTo>
                      <a:pt x="93" y="487"/>
                    </a:lnTo>
                    <a:lnTo>
                      <a:pt x="96" y="487"/>
                    </a:lnTo>
                    <a:lnTo>
                      <a:pt x="101" y="482"/>
                    </a:lnTo>
                    <a:lnTo>
                      <a:pt x="107" y="469"/>
                    </a:lnTo>
                    <a:lnTo>
                      <a:pt x="107" y="469"/>
                    </a:lnTo>
                    <a:lnTo>
                      <a:pt x="110" y="469"/>
                    </a:lnTo>
                    <a:lnTo>
                      <a:pt x="110" y="468"/>
                    </a:lnTo>
                    <a:lnTo>
                      <a:pt x="110" y="463"/>
                    </a:lnTo>
                    <a:lnTo>
                      <a:pt x="110" y="463"/>
                    </a:lnTo>
                    <a:lnTo>
                      <a:pt x="112" y="460"/>
                    </a:lnTo>
                    <a:lnTo>
                      <a:pt x="115" y="463"/>
                    </a:lnTo>
                    <a:lnTo>
                      <a:pt x="120" y="465"/>
                    </a:lnTo>
                    <a:lnTo>
                      <a:pt x="124" y="469"/>
                    </a:lnTo>
                    <a:lnTo>
                      <a:pt x="124" y="469"/>
                    </a:lnTo>
                    <a:lnTo>
                      <a:pt x="126" y="469"/>
                    </a:lnTo>
                    <a:lnTo>
                      <a:pt x="126" y="468"/>
                    </a:lnTo>
                    <a:lnTo>
                      <a:pt x="126" y="465"/>
                    </a:lnTo>
                    <a:lnTo>
                      <a:pt x="129" y="463"/>
                    </a:lnTo>
                    <a:lnTo>
                      <a:pt x="129" y="460"/>
                    </a:lnTo>
                    <a:lnTo>
                      <a:pt x="131" y="463"/>
                    </a:lnTo>
                    <a:lnTo>
                      <a:pt x="134" y="465"/>
                    </a:lnTo>
                    <a:lnTo>
                      <a:pt x="135" y="474"/>
                    </a:lnTo>
                    <a:lnTo>
                      <a:pt x="135" y="474"/>
                    </a:lnTo>
                    <a:lnTo>
                      <a:pt x="137" y="477"/>
                    </a:lnTo>
                    <a:lnTo>
                      <a:pt x="137" y="479"/>
                    </a:lnTo>
                    <a:lnTo>
                      <a:pt x="140" y="484"/>
                    </a:lnTo>
                    <a:lnTo>
                      <a:pt x="142" y="487"/>
                    </a:lnTo>
                    <a:lnTo>
                      <a:pt x="145" y="488"/>
                    </a:lnTo>
                    <a:lnTo>
                      <a:pt x="146" y="487"/>
                    </a:lnTo>
                    <a:lnTo>
                      <a:pt x="150" y="484"/>
                    </a:lnTo>
                    <a:lnTo>
                      <a:pt x="150" y="474"/>
                    </a:lnTo>
                    <a:lnTo>
                      <a:pt x="150" y="474"/>
                    </a:lnTo>
                    <a:lnTo>
                      <a:pt x="150" y="474"/>
                    </a:lnTo>
                    <a:lnTo>
                      <a:pt x="151" y="474"/>
                    </a:lnTo>
                    <a:lnTo>
                      <a:pt x="156" y="477"/>
                    </a:lnTo>
                    <a:lnTo>
                      <a:pt x="161" y="477"/>
                    </a:lnTo>
                    <a:lnTo>
                      <a:pt x="169" y="477"/>
                    </a:lnTo>
                    <a:lnTo>
                      <a:pt x="175" y="473"/>
                    </a:lnTo>
                    <a:lnTo>
                      <a:pt x="183" y="465"/>
                    </a:lnTo>
                    <a:lnTo>
                      <a:pt x="191" y="454"/>
                    </a:lnTo>
                    <a:lnTo>
                      <a:pt x="191" y="454"/>
                    </a:lnTo>
                    <a:lnTo>
                      <a:pt x="191" y="454"/>
                    </a:lnTo>
                    <a:lnTo>
                      <a:pt x="189" y="458"/>
                    </a:lnTo>
                    <a:lnTo>
                      <a:pt x="188" y="463"/>
                    </a:lnTo>
                    <a:lnTo>
                      <a:pt x="184" y="469"/>
                    </a:lnTo>
                    <a:lnTo>
                      <a:pt x="180" y="474"/>
                    </a:lnTo>
                    <a:lnTo>
                      <a:pt x="180" y="479"/>
                    </a:lnTo>
                    <a:lnTo>
                      <a:pt x="178" y="484"/>
                    </a:lnTo>
                    <a:lnTo>
                      <a:pt x="175" y="487"/>
                    </a:lnTo>
                    <a:lnTo>
                      <a:pt x="175" y="487"/>
                    </a:lnTo>
                    <a:lnTo>
                      <a:pt x="175" y="487"/>
                    </a:lnTo>
                    <a:lnTo>
                      <a:pt x="175" y="493"/>
                    </a:lnTo>
                    <a:lnTo>
                      <a:pt x="173" y="503"/>
                    </a:lnTo>
                    <a:lnTo>
                      <a:pt x="173" y="512"/>
                    </a:lnTo>
                    <a:lnTo>
                      <a:pt x="169" y="522"/>
                    </a:lnTo>
                    <a:lnTo>
                      <a:pt x="165" y="528"/>
                    </a:lnTo>
                    <a:lnTo>
                      <a:pt x="161" y="536"/>
                    </a:lnTo>
                    <a:lnTo>
                      <a:pt x="154" y="537"/>
                    </a:lnTo>
                    <a:lnTo>
                      <a:pt x="154" y="537"/>
                    </a:lnTo>
                    <a:lnTo>
                      <a:pt x="154" y="537"/>
                    </a:lnTo>
                    <a:lnTo>
                      <a:pt x="154" y="541"/>
                    </a:lnTo>
                    <a:lnTo>
                      <a:pt x="156" y="541"/>
                    </a:lnTo>
                    <a:lnTo>
                      <a:pt x="156" y="542"/>
                    </a:lnTo>
                    <a:lnTo>
                      <a:pt x="154" y="547"/>
                    </a:lnTo>
                    <a:lnTo>
                      <a:pt x="151" y="550"/>
                    </a:lnTo>
                    <a:lnTo>
                      <a:pt x="146" y="555"/>
                    </a:lnTo>
                    <a:lnTo>
                      <a:pt x="137" y="558"/>
                    </a:lnTo>
                    <a:lnTo>
                      <a:pt x="137" y="558"/>
                    </a:lnTo>
                    <a:lnTo>
                      <a:pt x="137" y="558"/>
                    </a:lnTo>
                    <a:lnTo>
                      <a:pt x="134" y="561"/>
                    </a:lnTo>
                    <a:lnTo>
                      <a:pt x="126" y="563"/>
                    </a:lnTo>
                    <a:lnTo>
                      <a:pt x="121" y="568"/>
                    </a:lnTo>
                    <a:lnTo>
                      <a:pt x="116" y="571"/>
                    </a:lnTo>
                    <a:lnTo>
                      <a:pt x="115" y="577"/>
                    </a:lnTo>
                    <a:lnTo>
                      <a:pt x="115" y="582"/>
                    </a:lnTo>
                    <a:lnTo>
                      <a:pt x="116" y="587"/>
                    </a:lnTo>
                    <a:lnTo>
                      <a:pt x="116" y="587"/>
                    </a:lnTo>
                    <a:lnTo>
                      <a:pt x="116" y="590"/>
                    </a:lnTo>
                    <a:lnTo>
                      <a:pt x="116" y="591"/>
                    </a:lnTo>
                    <a:lnTo>
                      <a:pt x="115" y="594"/>
                    </a:lnTo>
                    <a:lnTo>
                      <a:pt x="112" y="594"/>
                    </a:lnTo>
                    <a:lnTo>
                      <a:pt x="110" y="596"/>
                    </a:lnTo>
                    <a:lnTo>
                      <a:pt x="107" y="594"/>
                    </a:lnTo>
                    <a:lnTo>
                      <a:pt x="105" y="591"/>
                    </a:lnTo>
                    <a:lnTo>
                      <a:pt x="105" y="585"/>
                    </a:lnTo>
                    <a:lnTo>
                      <a:pt x="105" y="585"/>
                    </a:lnTo>
                    <a:lnTo>
                      <a:pt x="102" y="585"/>
                    </a:lnTo>
                    <a:lnTo>
                      <a:pt x="102" y="585"/>
                    </a:lnTo>
                    <a:lnTo>
                      <a:pt x="97" y="585"/>
                    </a:lnTo>
                    <a:lnTo>
                      <a:pt x="96" y="585"/>
                    </a:lnTo>
                    <a:lnTo>
                      <a:pt x="93" y="587"/>
                    </a:lnTo>
                    <a:lnTo>
                      <a:pt x="88" y="587"/>
                    </a:lnTo>
                    <a:lnTo>
                      <a:pt x="88" y="587"/>
                    </a:lnTo>
                    <a:lnTo>
                      <a:pt x="86" y="587"/>
                    </a:lnTo>
                    <a:lnTo>
                      <a:pt x="63" y="610"/>
                    </a:lnTo>
                    <a:lnTo>
                      <a:pt x="63" y="610"/>
                    </a:lnTo>
                    <a:lnTo>
                      <a:pt x="61" y="610"/>
                    </a:lnTo>
                    <a:lnTo>
                      <a:pt x="61" y="612"/>
                    </a:lnTo>
                    <a:lnTo>
                      <a:pt x="58" y="617"/>
                    </a:lnTo>
                    <a:lnTo>
                      <a:pt x="56" y="620"/>
                    </a:lnTo>
                    <a:lnTo>
                      <a:pt x="56" y="625"/>
                    </a:lnTo>
                    <a:lnTo>
                      <a:pt x="58" y="625"/>
                    </a:lnTo>
                    <a:lnTo>
                      <a:pt x="61" y="621"/>
                    </a:lnTo>
                    <a:lnTo>
                      <a:pt x="71" y="617"/>
                    </a:lnTo>
                    <a:lnTo>
                      <a:pt x="71" y="617"/>
                    </a:lnTo>
                    <a:lnTo>
                      <a:pt x="72" y="615"/>
                    </a:lnTo>
                    <a:lnTo>
                      <a:pt x="77" y="612"/>
                    </a:lnTo>
                    <a:lnTo>
                      <a:pt x="78" y="609"/>
                    </a:lnTo>
                    <a:lnTo>
                      <a:pt x="83" y="606"/>
                    </a:lnTo>
                    <a:lnTo>
                      <a:pt x="88" y="601"/>
                    </a:lnTo>
                    <a:lnTo>
                      <a:pt x="91" y="599"/>
                    </a:lnTo>
                    <a:lnTo>
                      <a:pt x="93" y="596"/>
                    </a:lnTo>
                    <a:lnTo>
                      <a:pt x="93" y="596"/>
                    </a:lnTo>
                    <a:lnTo>
                      <a:pt x="93" y="596"/>
                    </a:lnTo>
                    <a:lnTo>
                      <a:pt x="93" y="596"/>
                    </a:lnTo>
                    <a:lnTo>
                      <a:pt x="93" y="599"/>
                    </a:lnTo>
                    <a:lnTo>
                      <a:pt x="93" y="604"/>
                    </a:lnTo>
                    <a:lnTo>
                      <a:pt x="93" y="606"/>
                    </a:lnTo>
                    <a:lnTo>
                      <a:pt x="96" y="609"/>
                    </a:lnTo>
                    <a:lnTo>
                      <a:pt x="101" y="609"/>
                    </a:lnTo>
                    <a:lnTo>
                      <a:pt x="107" y="606"/>
                    </a:lnTo>
                    <a:lnTo>
                      <a:pt x="120" y="599"/>
                    </a:lnTo>
                    <a:lnTo>
                      <a:pt x="120" y="599"/>
                    </a:lnTo>
                    <a:lnTo>
                      <a:pt x="121" y="594"/>
                    </a:lnTo>
                    <a:lnTo>
                      <a:pt x="124" y="591"/>
                    </a:lnTo>
                    <a:lnTo>
                      <a:pt x="126" y="591"/>
                    </a:lnTo>
                    <a:lnTo>
                      <a:pt x="131" y="599"/>
                    </a:lnTo>
                    <a:lnTo>
                      <a:pt x="131" y="599"/>
                    </a:lnTo>
                    <a:lnTo>
                      <a:pt x="134" y="599"/>
                    </a:lnTo>
                    <a:lnTo>
                      <a:pt x="134" y="596"/>
                    </a:lnTo>
                    <a:lnTo>
                      <a:pt x="134" y="594"/>
                    </a:lnTo>
                    <a:lnTo>
                      <a:pt x="135" y="590"/>
                    </a:lnTo>
                    <a:lnTo>
                      <a:pt x="140" y="585"/>
                    </a:lnTo>
                    <a:lnTo>
                      <a:pt x="145" y="582"/>
                    </a:lnTo>
                    <a:lnTo>
                      <a:pt x="151" y="580"/>
                    </a:lnTo>
                    <a:lnTo>
                      <a:pt x="161" y="580"/>
                    </a:lnTo>
                    <a:lnTo>
                      <a:pt x="161" y="580"/>
                    </a:lnTo>
                    <a:lnTo>
                      <a:pt x="161" y="577"/>
                    </a:lnTo>
                    <a:lnTo>
                      <a:pt x="159" y="577"/>
                    </a:lnTo>
                    <a:lnTo>
                      <a:pt x="156" y="572"/>
                    </a:lnTo>
                    <a:lnTo>
                      <a:pt x="156" y="571"/>
                    </a:lnTo>
                    <a:lnTo>
                      <a:pt x="159" y="563"/>
                    </a:lnTo>
                    <a:lnTo>
                      <a:pt x="165" y="558"/>
                    </a:lnTo>
                    <a:lnTo>
                      <a:pt x="175" y="550"/>
                    </a:lnTo>
                    <a:lnTo>
                      <a:pt x="191" y="541"/>
                    </a:lnTo>
                    <a:lnTo>
                      <a:pt x="191" y="541"/>
                    </a:lnTo>
                    <a:lnTo>
                      <a:pt x="194" y="541"/>
                    </a:lnTo>
                    <a:lnTo>
                      <a:pt x="191" y="537"/>
                    </a:lnTo>
                    <a:lnTo>
                      <a:pt x="191" y="536"/>
                    </a:lnTo>
                    <a:lnTo>
                      <a:pt x="194" y="531"/>
                    </a:lnTo>
                    <a:lnTo>
                      <a:pt x="199" y="526"/>
                    </a:lnTo>
                    <a:lnTo>
                      <a:pt x="208" y="517"/>
                    </a:lnTo>
                    <a:lnTo>
                      <a:pt x="222" y="506"/>
                    </a:lnTo>
                    <a:lnTo>
                      <a:pt x="241" y="488"/>
                    </a:lnTo>
                    <a:lnTo>
                      <a:pt x="241" y="488"/>
                    </a:lnTo>
                    <a:lnTo>
                      <a:pt x="243" y="487"/>
                    </a:lnTo>
                    <a:lnTo>
                      <a:pt x="246" y="479"/>
                    </a:lnTo>
                    <a:lnTo>
                      <a:pt x="246" y="474"/>
                    </a:lnTo>
                    <a:lnTo>
                      <a:pt x="246" y="474"/>
                    </a:lnTo>
                    <a:lnTo>
                      <a:pt x="246" y="474"/>
                    </a:lnTo>
                    <a:lnTo>
                      <a:pt x="248" y="473"/>
                    </a:lnTo>
                    <a:lnTo>
                      <a:pt x="249" y="469"/>
                    </a:lnTo>
                    <a:lnTo>
                      <a:pt x="252" y="468"/>
                    </a:lnTo>
                    <a:lnTo>
                      <a:pt x="252" y="465"/>
                    </a:lnTo>
                    <a:lnTo>
                      <a:pt x="254" y="463"/>
                    </a:lnTo>
                    <a:lnTo>
                      <a:pt x="252" y="458"/>
                    </a:lnTo>
                    <a:lnTo>
                      <a:pt x="249" y="455"/>
                    </a:lnTo>
                    <a:lnTo>
                      <a:pt x="241" y="455"/>
                    </a:lnTo>
                    <a:lnTo>
                      <a:pt x="241" y="455"/>
                    </a:lnTo>
                    <a:lnTo>
                      <a:pt x="241" y="455"/>
                    </a:lnTo>
                    <a:lnTo>
                      <a:pt x="238" y="455"/>
                    </a:lnTo>
                    <a:lnTo>
                      <a:pt x="238" y="454"/>
                    </a:lnTo>
                    <a:lnTo>
                      <a:pt x="238" y="452"/>
                    </a:lnTo>
                    <a:lnTo>
                      <a:pt x="241" y="444"/>
                    </a:lnTo>
                    <a:lnTo>
                      <a:pt x="246" y="438"/>
                    </a:lnTo>
                    <a:lnTo>
                      <a:pt x="252" y="428"/>
                    </a:lnTo>
                    <a:lnTo>
                      <a:pt x="263" y="416"/>
                    </a:lnTo>
                    <a:lnTo>
                      <a:pt x="263" y="416"/>
                    </a:lnTo>
                    <a:lnTo>
                      <a:pt x="266" y="411"/>
                    </a:lnTo>
                    <a:lnTo>
                      <a:pt x="268" y="405"/>
                    </a:lnTo>
                    <a:lnTo>
                      <a:pt x="271" y="393"/>
                    </a:lnTo>
                    <a:lnTo>
                      <a:pt x="276" y="381"/>
                    </a:lnTo>
                    <a:lnTo>
                      <a:pt x="282" y="370"/>
                    </a:lnTo>
                    <a:lnTo>
                      <a:pt x="292" y="365"/>
                    </a:lnTo>
                    <a:lnTo>
                      <a:pt x="303" y="365"/>
                    </a:lnTo>
                    <a:lnTo>
                      <a:pt x="317" y="375"/>
                    </a:lnTo>
                    <a:lnTo>
                      <a:pt x="317" y="375"/>
                    </a:lnTo>
                    <a:lnTo>
                      <a:pt x="315" y="375"/>
                    </a:lnTo>
                    <a:lnTo>
                      <a:pt x="311" y="375"/>
                    </a:lnTo>
                    <a:lnTo>
                      <a:pt x="303" y="376"/>
                    </a:lnTo>
                    <a:lnTo>
                      <a:pt x="295" y="376"/>
                    </a:lnTo>
                    <a:lnTo>
                      <a:pt x="290" y="381"/>
                    </a:lnTo>
                    <a:lnTo>
                      <a:pt x="285" y="389"/>
                    </a:lnTo>
                    <a:lnTo>
                      <a:pt x="285" y="398"/>
                    </a:lnTo>
                    <a:lnTo>
                      <a:pt x="290" y="409"/>
                    </a:lnTo>
                    <a:lnTo>
                      <a:pt x="290" y="409"/>
                    </a:lnTo>
                    <a:lnTo>
                      <a:pt x="290" y="411"/>
                    </a:lnTo>
                    <a:lnTo>
                      <a:pt x="287" y="416"/>
                    </a:lnTo>
                    <a:lnTo>
                      <a:pt x="282" y="420"/>
                    </a:lnTo>
                    <a:lnTo>
                      <a:pt x="281" y="425"/>
                    </a:lnTo>
                    <a:lnTo>
                      <a:pt x="281" y="428"/>
                    </a:lnTo>
                    <a:lnTo>
                      <a:pt x="282" y="430"/>
                    </a:lnTo>
                    <a:lnTo>
                      <a:pt x="287" y="428"/>
                    </a:lnTo>
                    <a:lnTo>
                      <a:pt x="297" y="424"/>
                    </a:lnTo>
                    <a:lnTo>
                      <a:pt x="297" y="424"/>
                    </a:lnTo>
                    <a:lnTo>
                      <a:pt x="295" y="425"/>
                    </a:lnTo>
                    <a:lnTo>
                      <a:pt x="292" y="430"/>
                    </a:lnTo>
                    <a:lnTo>
                      <a:pt x="290" y="438"/>
                    </a:lnTo>
                    <a:lnTo>
                      <a:pt x="287" y="443"/>
                    </a:lnTo>
                    <a:lnTo>
                      <a:pt x="287" y="447"/>
                    </a:lnTo>
                    <a:lnTo>
                      <a:pt x="290" y="444"/>
                    </a:lnTo>
                    <a:lnTo>
                      <a:pt x="300" y="439"/>
                    </a:lnTo>
                    <a:lnTo>
                      <a:pt x="312" y="425"/>
                    </a:lnTo>
                    <a:lnTo>
                      <a:pt x="312" y="425"/>
                    </a:lnTo>
                    <a:lnTo>
                      <a:pt x="312" y="424"/>
                    </a:lnTo>
                    <a:lnTo>
                      <a:pt x="317" y="420"/>
                    </a:lnTo>
                    <a:lnTo>
                      <a:pt x="320" y="419"/>
                    </a:lnTo>
                    <a:lnTo>
                      <a:pt x="322" y="416"/>
                    </a:lnTo>
                    <a:lnTo>
                      <a:pt x="327" y="414"/>
                    </a:lnTo>
                    <a:lnTo>
                      <a:pt x="330" y="411"/>
                    </a:lnTo>
                    <a:lnTo>
                      <a:pt x="330" y="411"/>
                    </a:lnTo>
                    <a:lnTo>
                      <a:pt x="331" y="409"/>
                    </a:lnTo>
                    <a:lnTo>
                      <a:pt x="331" y="409"/>
                    </a:lnTo>
                    <a:lnTo>
                      <a:pt x="331" y="409"/>
                    </a:lnTo>
                    <a:lnTo>
                      <a:pt x="334" y="409"/>
                    </a:lnTo>
                    <a:lnTo>
                      <a:pt x="336" y="409"/>
                    </a:lnTo>
                    <a:lnTo>
                      <a:pt x="339" y="406"/>
                    </a:lnTo>
                    <a:lnTo>
                      <a:pt x="341" y="405"/>
                    </a:lnTo>
                    <a:lnTo>
                      <a:pt x="344" y="400"/>
                    </a:lnTo>
                    <a:lnTo>
                      <a:pt x="341" y="395"/>
                    </a:lnTo>
                    <a:lnTo>
                      <a:pt x="339" y="389"/>
                    </a:lnTo>
                    <a:lnTo>
                      <a:pt x="339" y="389"/>
                    </a:lnTo>
                    <a:lnTo>
                      <a:pt x="339" y="386"/>
                    </a:lnTo>
                    <a:lnTo>
                      <a:pt x="336" y="381"/>
                    </a:lnTo>
                    <a:lnTo>
                      <a:pt x="334" y="376"/>
                    </a:lnTo>
                    <a:lnTo>
                      <a:pt x="331" y="375"/>
                    </a:lnTo>
                    <a:lnTo>
                      <a:pt x="345" y="365"/>
                    </a:lnTo>
                    <a:lnTo>
                      <a:pt x="353" y="370"/>
                    </a:lnTo>
                    <a:lnTo>
                      <a:pt x="366" y="362"/>
                    </a:lnTo>
                    <a:lnTo>
                      <a:pt x="388" y="375"/>
                    </a:lnTo>
                    <a:lnTo>
                      <a:pt x="394" y="384"/>
                    </a:lnTo>
                    <a:lnTo>
                      <a:pt x="404" y="371"/>
                    </a:lnTo>
                    <a:lnTo>
                      <a:pt x="418" y="395"/>
                    </a:lnTo>
                    <a:lnTo>
                      <a:pt x="418" y="395"/>
                    </a:lnTo>
                    <a:lnTo>
                      <a:pt x="418" y="395"/>
                    </a:lnTo>
                    <a:lnTo>
                      <a:pt x="420" y="393"/>
                    </a:lnTo>
                    <a:lnTo>
                      <a:pt x="428" y="389"/>
                    </a:lnTo>
                    <a:lnTo>
                      <a:pt x="434" y="384"/>
                    </a:lnTo>
                    <a:lnTo>
                      <a:pt x="447" y="381"/>
                    </a:lnTo>
                    <a:lnTo>
                      <a:pt x="461" y="379"/>
                    </a:lnTo>
                    <a:lnTo>
                      <a:pt x="473" y="379"/>
                    </a:lnTo>
                    <a:lnTo>
                      <a:pt x="492" y="381"/>
                    </a:lnTo>
                    <a:lnTo>
                      <a:pt x="492" y="381"/>
                    </a:lnTo>
                    <a:lnTo>
                      <a:pt x="496" y="381"/>
                    </a:lnTo>
                    <a:lnTo>
                      <a:pt x="497" y="379"/>
                    </a:lnTo>
                    <a:lnTo>
                      <a:pt x="500" y="376"/>
                    </a:lnTo>
                    <a:lnTo>
                      <a:pt x="502" y="375"/>
                    </a:lnTo>
                    <a:lnTo>
                      <a:pt x="505" y="375"/>
                    </a:lnTo>
                    <a:lnTo>
                      <a:pt x="510" y="375"/>
                    </a:lnTo>
                    <a:lnTo>
                      <a:pt x="511" y="379"/>
                    </a:lnTo>
                    <a:lnTo>
                      <a:pt x="511" y="384"/>
                    </a:lnTo>
                    <a:lnTo>
                      <a:pt x="511" y="384"/>
                    </a:lnTo>
                    <a:lnTo>
                      <a:pt x="511" y="386"/>
                    </a:lnTo>
                    <a:lnTo>
                      <a:pt x="516" y="386"/>
                    </a:lnTo>
                    <a:lnTo>
                      <a:pt x="521" y="389"/>
                    </a:lnTo>
                    <a:lnTo>
                      <a:pt x="526" y="389"/>
                    </a:lnTo>
                    <a:lnTo>
                      <a:pt x="530" y="389"/>
                    </a:lnTo>
                    <a:lnTo>
                      <a:pt x="535" y="390"/>
                    </a:lnTo>
                    <a:lnTo>
                      <a:pt x="537" y="390"/>
                    </a:lnTo>
                    <a:lnTo>
                      <a:pt x="540" y="390"/>
                    </a:lnTo>
                    <a:lnTo>
                      <a:pt x="568" y="406"/>
                    </a:lnTo>
                    <a:lnTo>
                      <a:pt x="568" y="406"/>
                    </a:lnTo>
                    <a:lnTo>
                      <a:pt x="570" y="406"/>
                    </a:lnTo>
                    <a:lnTo>
                      <a:pt x="573" y="406"/>
                    </a:lnTo>
                    <a:lnTo>
                      <a:pt x="578" y="406"/>
                    </a:lnTo>
                    <a:lnTo>
                      <a:pt x="582" y="406"/>
                    </a:lnTo>
                    <a:lnTo>
                      <a:pt x="586" y="406"/>
                    </a:lnTo>
                    <a:lnTo>
                      <a:pt x="586" y="403"/>
                    </a:lnTo>
                    <a:lnTo>
                      <a:pt x="584" y="398"/>
                    </a:lnTo>
                    <a:lnTo>
                      <a:pt x="575" y="386"/>
                    </a:lnTo>
                    <a:lnTo>
                      <a:pt x="575" y="386"/>
                    </a:lnTo>
                    <a:lnTo>
                      <a:pt x="578" y="386"/>
                    </a:lnTo>
                    <a:lnTo>
                      <a:pt x="579" y="384"/>
                    </a:lnTo>
                    <a:lnTo>
                      <a:pt x="584" y="381"/>
                    </a:lnTo>
                    <a:lnTo>
                      <a:pt x="584" y="381"/>
                    </a:lnTo>
                    <a:lnTo>
                      <a:pt x="584" y="381"/>
                    </a:lnTo>
                    <a:lnTo>
                      <a:pt x="586" y="384"/>
                    </a:lnTo>
                    <a:lnTo>
                      <a:pt x="590" y="386"/>
                    </a:lnTo>
                    <a:lnTo>
                      <a:pt x="595" y="390"/>
                    </a:lnTo>
                    <a:lnTo>
                      <a:pt x="600" y="395"/>
                    </a:lnTo>
                    <a:lnTo>
                      <a:pt x="605" y="398"/>
                    </a:lnTo>
                    <a:lnTo>
                      <a:pt x="605" y="395"/>
                    </a:lnTo>
                    <a:lnTo>
                      <a:pt x="600" y="389"/>
                    </a:lnTo>
                    <a:lnTo>
                      <a:pt x="594" y="375"/>
                    </a:lnTo>
                    <a:lnTo>
                      <a:pt x="594" y="375"/>
                    </a:lnTo>
                    <a:lnTo>
                      <a:pt x="590" y="371"/>
                    </a:lnTo>
                    <a:lnTo>
                      <a:pt x="594" y="367"/>
                    </a:lnTo>
                    <a:lnTo>
                      <a:pt x="594" y="365"/>
                    </a:lnTo>
                    <a:lnTo>
                      <a:pt x="595" y="365"/>
                    </a:lnTo>
                    <a:lnTo>
                      <a:pt x="614" y="390"/>
                    </a:lnTo>
                    <a:lnTo>
                      <a:pt x="628" y="386"/>
                    </a:lnTo>
                    <a:lnTo>
                      <a:pt x="628" y="386"/>
                    </a:lnTo>
                    <a:lnTo>
                      <a:pt x="628" y="389"/>
                    </a:lnTo>
                    <a:lnTo>
                      <a:pt x="631" y="389"/>
                    </a:lnTo>
                    <a:lnTo>
                      <a:pt x="636" y="390"/>
                    </a:lnTo>
                    <a:lnTo>
                      <a:pt x="638" y="395"/>
                    </a:lnTo>
                    <a:lnTo>
                      <a:pt x="642" y="400"/>
                    </a:lnTo>
                    <a:lnTo>
                      <a:pt x="647" y="406"/>
                    </a:lnTo>
                    <a:lnTo>
                      <a:pt x="652" y="414"/>
                    </a:lnTo>
                    <a:lnTo>
                      <a:pt x="657" y="420"/>
                    </a:lnTo>
                    <a:lnTo>
                      <a:pt x="657" y="420"/>
                    </a:lnTo>
                    <a:lnTo>
                      <a:pt x="661" y="430"/>
                    </a:lnTo>
                    <a:lnTo>
                      <a:pt x="666" y="433"/>
                    </a:lnTo>
                    <a:lnTo>
                      <a:pt x="668" y="433"/>
                    </a:lnTo>
                    <a:lnTo>
                      <a:pt x="668" y="433"/>
                    </a:lnTo>
                    <a:lnTo>
                      <a:pt x="671" y="430"/>
                    </a:lnTo>
                    <a:lnTo>
                      <a:pt x="673" y="428"/>
                    </a:lnTo>
                    <a:lnTo>
                      <a:pt x="673" y="425"/>
                    </a:lnTo>
                    <a:lnTo>
                      <a:pt x="673" y="424"/>
                    </a:lnTo>
                    <a:lnTo>
                      <a:pt x="703" y="444"/>
                    </a:lnTo>
                    <a:lnTo>
                      <a:pt x="703" y="444"/>
                    </a:lnTo>
                    <a:lnTo>
                      <a:pt x="703" y="444"/>
                    </a:lnTo>
                    <a:lnTo>
                      <a:pt x="701" y="449"/>
                    </a:lnTo>
                    <a:lnTo>
                      <a:pt x="701" y="452"/>
                    </a:lnTo>
                    <a:lnTo>
                      <a:pt x="701" y="455"/>
                    </a:lnTo>
                    <a:lnTo>
                      <a:pt x="701" y="458"/>
                    </a:lnTo>
                    <a:lnTo>
                      <a:pt x="703" y="458"/>
                    </a:lnTo>
                    <a:lnTo>
                      <a:pt x="710" y="454"/>
                    </a:lnTo>
                    <a:lnTo>
                      <a:pt x="717" y="447"/>
                    </a:lnTo>
                    <a:lnTo>
                      <a:pt x="717" y="447"/>
                    </a:lnTo>
                    <a:lnTo>
                      <a:pt x="720" y="444"/>
                    </a:lnTo>
                    <a:lnTo>
                      <a:pt x="720" y="444"/>
                    </a:lnTo>
                    <a:lnTo>
                      <a:pt x="720" y="444"/>
                    </a:lnTo>
                    <a:lnTo>
                      <a:pt x="721" y="444"/>
                    </a:lnTo>
                    <a:lnTo>
                      <a:pt x="725" y="447"/>
                    </a:lnTo>
                    <a:lnTo>
                      <a:pt x="729" y="449"/>
                    </a:lnTo>
                    <a:lnTo>
                      <a:pt x="734" y="455"/>
                    </a:lnTo>
                    <a:lnTo>
                      <a:pt x="739" y="468"/>
                    </a:lnTo>
                    <a:lnTo>
                      <a:pt x="739" y="468"/>
                    </a:lnTo>
                    <a:lnTo>
                      <a:pt x="740" y="469"/>
                    </a:lnTo>
                    <a:lnTo>
                      <a:pt x="744" y="474"/>
                    </a:lnTo>
                    <a:lnTo>
                      <a:pt x="745" y="479"/>
                    </a:lnTo>
                    <a:lnTo>
                      <a:pt x="748" y="482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1" name="Freeform 156"/>
              <p:cNvSpPr>
                <a:spLocks/>
              </p:cNvSpPr>
              <p:nvPr/>
            </p:nvSpPr>
            <p:spPr bwMode="auto">
              <a:xfrm>
                <a:off x="1939471" y="5679866"/>
                <a:ext cx="70733" cy="53206"/>
              </a:xfrm>
              <a:custGeom>
                <a:avLst/>
                <a:gdLst>
                  <a:gd name="T0" fmla="*/ 0 w 40"/>
                  <a:gd name="T1" fmla="*/ 14 h 31"/>
                  <a:gd name="T2" fmla="*/ 0 w 40"/>
                  <a:gd name="T3" fmla="*/ 9 h 31"/>
                  <a:gd name="T4" fmla="*/ 1 w 40"/>
                  <a:gd name="T5" fmla="*/ 4 h 31"/>
                  <a:gd name="T6" fmla="*/ 19 w 40"/>
                  <a:gd name="T7" fmla="*/ 0 h 31"/>
                  <a:gd name="T8" fmla="*/ 39 w 40"/>
                  <a:gd name="T9" fmla="*/ 18 h 31"/>
                  <a:gd name="T10" fmla="*/ 30 w 40"/>
                  <a:gd name="T11" fmla="*/ 20 h 31"/>
                  <a:gd name="T12" fmla="*/ 30 w 40"/>
                  <a:gd name="T13" fmla="*/ 20 h 31"/>
                  <a:gd name="T14" fmla="*/ 24 w 40"/>
                  <a:gd name="T15" fmla="*/ 14 h 31"/>
                  <a:gd name="T16" fmla="*/ 16 w 40"/>
                  <a:gd name="T17" fmla="*/ 18 h 31"/>
                  <a:gd name="T18" fmla="*/ 24 w 40"/>
                  <a:gd name="T19" fmla="*/ 25 h 31"/>
                  <a:gd name="T20" fmla="*/ 19 w 40"/>
                  <a:gd name="T21" fmla="*/ 30 h 31"/>
                  <a:gd name="T22" fmla="*/ 0 w 40"/>
                  <a:gd name="T23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31">
                    <a:moveTo>
                      <a:pt x="0" y="14"/>
                    </a:moveTo>
                    <a:lnTo>
                      <a:pt x="0" y="9"/>
                    </a:lnTo>
                    <a:lnTo>
                      <a:pt x="1" y="4"/>
                    </a:lnTo>
                    <a:lnTo>
                      <a:pt x="19" y="0"/>
                    </a:lnTo>
                    <a:lnTo>
                      <a:pt x="39" y="18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24" y="14"/>
                    </a:lnTo>
                    <a:lnTo>
                      <a:pt x="16" y="18"/>
                    </a:lnTo>
                    <a:lnTo>
                      <a:pt x="24" y="25"/>
                    </a:lnTo>
                    <a:lnTo>
                      <a:pt x="19" y="30"/>
                    </a:lnTo>
                    <a:lnTo>
                      <a:pt x="0" y="14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2" name="Freeform 157"/>
              <p:cNvSpPr>
                <a:spLocks/>
              </p:cNvSpPr>
              <p:nvPr/>
            </p:nvSpPr>
            <p:spPr bwMode="auto">
              <a:xfrm>
                <a:off x="1939471" y="5679866"/>
                <a:ext cx="70733" cy="53206"/>
              </a:xfrm>
              <a:custGeom>
                <a:avLst/>
                <a:gdLst>
                  <a:gd name="T0" fmla="*/ 0 w 40"/>
                  <a:gd name="T1" fmla="*/ 14 h 31"/>
                  <a:gd name="T2" fmla="*/ 0 w 40"/>
                  <a:gd name="T3" fmla="*/ 9 h 31"/>
                  <a:gd name="T4" fmla="*/ 1 w 40"/>
                  <a:gd name="T5" fmla="*/ 4 h 31"/>
                  <a:gd name="T6" fmla="*/ 19 w 40"/>
                  <a:gd name="T7" fmla="*/ 0 h 31"/>
                  <a:gd name="T8" fmla="*/ 39 w 40"/>
                  <a:gd name="T9" fmla="*/ 18 h 31"/>
                  <a:gd name="T10" fmla="*/ 30 w 40"/>
                  <a:gd name="T11" fmla="*/ 20 h 31"/>
                  <a:gd name="T12" fmla="*/ 30 w 40"/>
                  <a:gd name="T13" fmla="*/ 20 h 31"/>
                  <a:gd name="T14" fmla="*/ 24 w 40"/>
                  <a:gd name="T15" fmla="*/ 14 h 31"/>
                  <a:gd name="T16" fmla="*/ 16 w 40"/>
                  <a:gd name="T17" fmla="*/ 18 h 31"/>
                  <a:gd name="T18" fmla="*/ 24 w 40"/>
                  <a:gd name="T19" fmla="*/ 25 h 31"/>
                  <a:gd name="T20" fmla="*/ 19 w 40"/>
                  <a:gd name="T21" fmla="*/ 30 h 31"/>
                  <a:gd name="T22" fmla="*/ 0 w 40"/>
                  <a:gd name="T23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31">
                    <a:moveTo>
                      <a:pt x="0" y="14"/>
                    </a:moveTo>
                    <a:lnTo>
                      <a:pt x="0" y="9"/>
                    </a:lnTo>
                    <a:lnTo>
                      <a:pt x="1" y="4"/>
                    </a:lnTo>
                    <a:lnTo>
                      <a:pt x="19" y="0"/>
                    </a:lnTo>
                    <a:lnTo>
                      <a:pt x="39" y="18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24" y="14"/>
                    </a:lnTo>
                    <a:lnTo>
                      <a:pt x="16" y="18"/>
                    </a:lnTo>
                    <a:lnTo>
                      <a:pt x="24" y="25"/>
                    </a:lnTo>
                    <a:lnTo>
                      <a:pt x="19" y="30"/>
                    </a:lnTo>
                    <a:lnTo>
                      <a:pt x="0" y="14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3" name="Freeform 158"/>
              <p:cNvSpPr>
                <a:spLocks/>
              </p:cNvSpPr>
              <p:nvPr/>
            </p:nvSpPr>
            <p:spPr bwMode="auto">
              <a:xfrm>
                <a:off x="1992520" y="5729640"/>
                <a:ext cx="53050" cy="54923"/>
              </a:xfrm>
              <a:custGeom>
                <a:avLst/>
                <a:gdLst>
                  <a:gd name="T0" fmla="*/ 8 w 30"/>
                  <a:gd name="T1" fmla="*/ 0 h 32"/>
                  <a:gd name="T2" fmla="*/ 0 w 30"/>
                  <a:gd name="T3" fmla="*/ 4 h 32"/>
                  <a:gd name="T4" fmla="*/ 14 w 30"/>
                  <a:gd name="T5" fmla="*/ 21 h 32"/>
                  <a:gd name="T6" fmla="*/ 29 w 30"/>
                  <a:gd name="T7" fmla="*/ 31 h 32"/>
                  <a:gd name="T8" fmla="*/ 19 w 30"/>
                  <a:gd name="T9" fmla="*/ 9 h 32"/>
                  <a:gd name="T10" fmla="*/ 8 w 30"/>
                  <a:gd name="T11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32">
                    <a:moveTo>
                      <a:pt x="8" y="0"/>
                    </a:moveTo>
                    <a:lnTo>
                      <a:pt x="0" y="4"/>
                    </a:lnTo>
                    <a:lnTo>
                      <a:pt x="14" y="21"/>
                    </a:lnTo>
                    <a:lnTo>
                      <a:pt x="29" y="31"/>
                    </a:lnTo>
                    <a:lnTo>
                      <a:pt x="19" y="9"/>
                    </a:lnTo>
                    <a:lnTo>
                      <a:pt x="8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4" name="Freeform 159"/>
              <p:cNvSpPr>
                <a:spLocks/>
              </p:cNvSpPr>
              <p:nvPr/>
            </p:nvSpPr>
            <p:spPr bwMode="auto">
              <a:xfrm>
                <a:off x="1992520" y="5729640"/>
                <a:ext cx="53050" cy="54923"/>
              </a:xfrm>
              <a:custGeom>
                <a:avLst/>
                <a:gdLst>
                  <a:gd name="T0" fmla="*/ 8 w 30"/>
                  <a:gd name="T1" fmla="*/ 0 h 32"/>
                  <a:gd name="T2" fmla="*/ 0 w 30"/>
                  <a:gd name="T3" fmla="*/ 4 h 32"/>
                  <a:gd name="T4" fmla="*/ 14 w 30"/>
                  <a:gd name="T5" fmla="*/ 21 h 32"/>
                  <a:gd name="T6" fmla="*/ 29 w 30"/>
                  <a:gd name="T7" fmla="*/ 31 h 32"/>
                  <a:gd name="T8" fmla="*/ 19 w 30"/>
                  <a:gd name="T9" fmla="*/ 9 h 32"/>
                  <a:gd name="T10" fmla="*/ 8 w 30"/>
                  <a:gd name="T11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32">
                    <a:moveTo>
                      <a:pt x="8" y="0"/>
                    </a:moveTo>
                    <a:lnTo>
                      <a:pt x="0" y="4"/>
                    </a:lnTo>
                    <a:lnTo>
                      <a:pt x="14" y="21"/>
                    </a:lnTo>
                    <a:lnTo>
                      <a:pt x="29" y="31"/>
                    </a:lnTo>
                    <a:lnTo>
                      <a:pt x="19" y="9"/>
                    </a:lnTo>
                    <a:lnTo>
                      <a:pt x="8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5" name="Freeform 160"/>
              <p:cNvSpPr>
                <a:spLocks/>
              </p:cNvSpPr>
              <p:nvPr/>
            </p:nvSpPr>
            <p:spPr bwMode="auto">
              <a:xfrm>
                <a:off x="1992520" y="5669568"/>
                <a:ext cx="45976" cy="56639"/>
              </a:xfrm>
              <a:custGeom>
                <a:avLst/>
                <a:gdLst>
                  <a:gd name="T0" fmla="*/ 4 w 26"/>
                  <a:gd name="T1" fmla="*/ 0 h 33"/>
                  <a:gd name="T2" fmla="*/ 25 w 26"/>
                  <a:gd name="T3" fmla="*/ 20 h 33"/>
                  <a:gd name="T4" fmla="*/ 23 w 26"/>
                  <a:gd name="T5" fmla="*/ 32 h 33"/>
                  <a:gd name="T6" fmla="*/ 14 w 26"/>
                  <a:gd name="T7" fmla="*/ 30 h 33"/>
                  <a:gd name="T8" fmla="*/ 14 w 26"/>
                  <a:gd name="T9" fmla="*/ 20 h 33"/>
                  <a:gd name="T10" fmla="*/ 0 w 26"/>
                  <a:gd name="T11" fmla="*/ 1 h 33"/>
                  <a:gd name="T12" fmla="*/ 4 w 26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3">
                    <a:moveTo>
                      <a:pt x="4" y="0"/>
                    </a:moveTo>
                    <a:lnTo>
                      <a:pt x="25" y="20"/>
                    </a:lnTo>
                    <a:lnTo>
                      <a:pt x="23" y="32"/>
                    </a:lnTo>
                    <a:lnTo>
                      <a:pt x="14" y="30"/>
                    </a:lnTo>
                    <a:lnTo>
                      <a:pt x="14" y="20"/>
                    </a:lnTo>
                    <a:lnTo>
                      <a:pt x="0" y="1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6" name="Freeform 161"/>
              <p:cNvSpPr>
                <a:spLocks/>
              </p:cNvSpPr>
              <p:nvPr/>
            </p:nvSpPr>
            <p:spPr bwMode="auto">
              <a:xfrm>
                <a:off x="1992520" y="5669568"/>
                <a:ext cx="45976" cy="56639"/>
              </a:xfrm>
              <a:custGeom>
                <a:avLst/>
                <a:gdLst>
                  <a:gd name="T0" fmla="*/ 4 w 26"/>
                  <a:gd name="T1" fmla="*/ 0 h 33"/>
                  <a:gd name="T2" fmla="*/ 25 w 26"/>
                  <a:gd name="T3" fmla="*/ 20 h 33"/>
                  <a:gd name="T4" fmla="*/ 23 w 26"/>
                  <a:gd name="T5" fmla="*/ 32 h 33"/>
                  <a:gd name="T6" fmla="*/ 14 w 26"/>
                  <a:gd name="T7" fmla="*/ 30 h 33"/>
                  <a:gd name="T8" fmla="*/ 14 w 26"/>
                  <a:gd name="T9" fmla="*/ 20 h 33"/>
                  <a:gd name="T10" fmla="*/ 0 w 26"/>
                  <a:gd name="T11" fmla="*/ 1 h 33"/>
                  <a:gd name="T12" fmla="*/ 4 w 26"/>
                  <a:gd name="T1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33">
                    <a:moveTo>
                      <a:pt x="4" y="0"/>
                    </a:moveTo>
                    <a:lnTo>
                      <a:pt x="25" y="20"/>
                    </a:lnTo>
                    <a:lnTo>
                      <a:pt x="23" y="32"/>
                    </a:lnTo>
                    <a:lnTo>
                      <a:pt x="14" y="30"/>
                    </a:lnTo>
                    <a:lnTo>
                      <a:pt x="14" y="20"/>
                    </a:lnTo>
                    <a:lnTo>
                      <a:pt x="0" y="1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7" name="Freeform 162"/>
              <p:cNvSpPr>
                <a:spLocks/>
              </p:cNvSpPr>
              <p:nvPr/>
            </p:nvSpPr>
            <p:spPr bwMode="auto">
              <a:xfrm>
                <a:off x="2105693" y="5781130"/>
                <a:ext cx="68964" cy="61788"/>
              </a:xfrm>
              <a:custGeom>
                <a:avLst/>
                <a:gdLst>
                  <a:gd name="T0" fmla="*/ 3 w 39"/>
                  <a:gd name="T1" fmla="*/ 0 h 36"/>
                  <a:gd name="T2" fmla="*/ 14 w 39"/>
                  <a:gd name="T3" fmla="*/ 1 h 36"/>
                  <a:gd name="T4" fmla="*/ 38 w 39"/>
                  <a:gd name="T5" fmla="*/ 28 h 36"/>
                  <a:gd name="T6" fmla="*/ 33 w 39"/>
                  <a:gd name="T7" fmla="*/ 35 h 36"/>
                  <a:gd name="T8" fmla="*/ 19 w 39"/>
                  <a:gd name="T9" fmla="*/ 23 h 36"/>
                  <a:gd name="T10" fmla="*/ 9 w 39"/>
                  <a:gd name="T11" fmla="*/ 20 h 36"/>
                  <a:gd name="T12" fmla="*/ 0 w 39"/>
                  <a:gd name="T13" fmla="*/ 9 h 36"/>
                  <a:gd name="T14" fmla="*/ 3 w 39"/>
                  <a:gd name="T15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36">
                    <a:moveTo>
                      <a:pt x="3" y="0"/>
                    </a:moveTo>
                    <a:lnTo>
                      <a:pt x="14" y="1"/>
                    </a:lnTo>
                    <a:lnTo>
                      <a:pt x="38" y="28"/>
                    </a:lnTo>
                    <a:lnTo>
                      <a:pt x="33" y="35"/>
                    </a:lnTo>
                    <a:lnTo>
                      <a:pt x="19" y="23"/>
                    </a:lnTo>
                    <a:lnTo>
                      <a:pt x="9" y="20"/>
                    </a:lnTo>
                    <a:lnTo>
                      <a:pt x="0" y="9"/>
                    </a:lnTo>
                    <a:lnTo>
                      <a:pt x="3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8" name="Freeform 163"/>
              <p:cNvSpPr>
                <a:spLocks/>
              </p:cNvSpPr>
              <p:nvPr/>
            </p:nvSpPr>
            <p:spPr bwMode="auto">
              <a:xfrm>
                <a:off x="2105693" y="5781130"/>
                <a:ext cx="68964" cy="61788"/>
              </a:xfrm>
              <a:custGeom>
                <a:avLst/>
                <a:gdLst>
                  <a:gd name="T0" fmla="*/ 3 w 39"/>
                  <a:gd name="T1" fmla="*/ 0 h 36"/>
                  <a:gd name="T2" fmla="*/ 14 w 39"/>
                  <a:gd name="T3" fmla="*/ 1 h 36"/>
                  <a:gd name="T4" fmla="*/ 38 w 39"/>
                  <a:gd name="T5" fmla="*/ 28 h 36"/>
                  <a:gd name="T6" fmla="*/ 33 w 39"/>
                  <a:gd name="T7" fmla="*/ 35 h 36"/>
                  <a:gd name="T8" fmla="*/ 19 w 39"/>
                  <a:gd name="T9" fmla="*/ 23 h 36"/>
                  <a:gd name="T10" fmla="*/ 9 w 39"/>
                  <a:gd name="T11" fmla="*/ 20 h 36"/>
                  <a:gd name="T12" fmla="*/ 0 w 39"/>
                  <a:gd name="T13" fmla="*/ 9 h 36"/>
                  <a:gd name="T14" fmla="*/ 3 w 39"/>
                  <a:gd name="T15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36">
                    <a:moveTo>
                      <a:pt x="3" y="0"/>
                    </a:moveTo>
                    <a:lnTo>
                      <a:pt x="14" y="1"/>
                    </a:lnTo>
                    <a:lnTo>
                      <a:pt x="38" y="28"/>
                    </a:lnTo>
                    <a:lnTo>
                      <a:pt x="33" y="35"/>
                    </a:lnTo>
                    <a:lnTo>
                      <a:pt x="19" y="23"/>
                    </a:lnTo>
                    <a:lnTo>
                      <a:pt x="9" y="20"/>
                    </a:lnTo>
                    <a:lnTo>
                      <a:pt x="0" y="9"/>
                    </a:lnTo>
                    <a:lnTo>
                      <a:pt x="3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9" name="Freeform 164"/>
              <p:cNvSpPr>
                <a:spLocks/>
              </p:cNvSpPr>
              <p:nvPr/>
            </p:nvSpPr>
            <p:spPr bwMode="auto">
              <a:xfrm>
                <a:off x="2158742" y="5880677"/>
                <a:ext cx="65428" cy="51490"/>
              </a:xfrm>
              <a:custGeom>
                <a:avLst/>
                <a:gdLst>
                  <a:gd name="T0" fmla="*/ 0 w 37"/>
                  <a:gd name="T1" fmla="*/ 1 h 30"/>
                  <a:gd name="T2" fmla="*/ 17 w 37"/>
                  <a:gd name="T3" fmla="*/ 1 h 30"/>
                  <a:gd name="T4" fmla="*/ 17 w 37"/>
                  <a:gd name="T5" fmla="*/ 16 h 30"/>
                  <a:gd name="T6" fmla="*/ 26 w 37"/>
                  <a:gd name="T7" fmla="*/ 14 h 30"/>
                  <a:gd name="T8" fmla="*/ 23 w 37"/>
                  <a:gd name="T9" fmla="*/ 0 h 30"/>
                  <a:gd name="T10" fmla="*/ 26 w 37"/>
                  <a:gd name="T11" fmla="*/ 0 h 30"/>
                  <a:gd name="T12" fmla="*/ 28 w 37"/>
                  <a:gd name="T13" fmla="*/ 1 h 30"/>
                  <a:gd name="T14" fmla="*/ 31 w 37"/>
                  <a:gd name="T15" fmla="*/ 4 h 30"/>
                  <a:gd name="T16" fmla="*/ 32 w 37"/>
                  <a:gd name="T17" fmla="*/ 6 h 30"/>
                  <a:gd name="T18" fmla="*/ 36 w 37"/>
                  <a:gd name="T19" fmla="*/ 11 h 30"/>
                  <a:gd name="T20" fmla="*/ 36 w 37"/>
                  <a:gd name="T21" fmla="*/ 16 h 30"/>
                  <a:gd name="T22" fmla="*/ 32 w 37"/>
                  <a:gd name="T23" fmla="*/ 20 h 30"/>
                  <a:gd name="T24" fmla="*/ 31 w 37"/>
                  <a:gd name="T25" fmla="*/ 29 h 30"/>
                  <a:gd name="T26" fmla="*/ 28 w 37"/>
                  <a:gd name="T27" fmla="*/ 29 h 30"/>
                  <a:gd name="T28" fmla="*/ 26 w 37"/>
                  <a:gd name="T29" fmla="*/ 29 h 30"/>
                  <a:gd name="T30" fmla="*/ 23 w 37"/>
                  <a:gd name="T31" fmla="*/ 29 h 30"/>
                  <a:gd name="T32" fmla="*/ 18 w 37"/>
                  <a:gd name="T33" fmla="*/ 25 h 30"/>
                  <a:gd name="T34" fmla="*/ 17 w 37"/>
                  <a:gd name="T35" fmla="*/ 25 h 30"/>
                  <a:gd name="T36" fmla="*/ 14 w 37"/>
                  <a:gd name="T37" fmla="*/ 25 h 30"/>
                  <a:gd name="T38" fmla="*/ 12 w 37"/>
                  <a:gd name="T39" fmla="*/ 25 h 30"/>
                  <a:gd name="T40" fmla="*/ 12 w 37"/>
                  <a:gd name="T41" fmla="*/ 25 h 30"/>
                  <a:gd name="T42" fmla="*/ 3 w 37"/>
                  <a:gd name="T43" fmla="*/ 14 h 30"/>
                  <a:gd name="T44" fmla="*/ 0 w 37"/>
                  <a:gd name="T45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" h="30">
                    <a:moveTo>
                      <a:pt x="0" y="1"/>
                    </a:moveTo>
                    <a:lnTo>
                      <a:pt x="17" y="1"/>
                    </a:lnTo>
                    <a:lnTo>
                      <a:pt x="17" y="16"/>
                    </a:lnTo>
                    <a:lnTo>
                      <a:pt x="26" y="14"/>
                    </a:lnTo>
                    <a:lnTo>
                      <a:pt x="23" y="0"/>
                    </a:lnTo>
                    <a:lnTo>
                      <a:pt x="26" y="0"/>
                    </a:lnTo>
                    <a:lnTo>
                      <a:pt x="28" y="1"/>
                    </a:lnTo>
                    <a:lnTo>
                      <a:pt x="31" y="4"/>
                    </a:lnTo>
                    <a:lnTo>
                      <a:pt x="32" y="6"/>
                    </a:lnTo>
                    <a:lnTo>
                      <a:pt x="36" y="11"/>
                    </a:lnTo>
                    <a:lnTo>
                      <a:pt x="36" y="16"/>
                    </a:lnTo>
                    <a:lnTo>
                      <a:pt x="32" y="20"/>
                    </a:lnTo>
                    <a:lnTo>
                      <a:pt x="31" y="29"/>
                    </a:lnTo>
                    <a:lnTo>
                      <a:pt x="28" y="29"/>
                    </a:lnTo>
                    <a:lnTo>
                      <a:pt x="26" y="29"/>
                    </a:lnTo>
                    <a:lnTo>
                      <a:pt x="23" y="29"/>
                    </a:lnTo>
                    <a:lnTo>
                      <a:pt x="18" y="25"/>
                    </a:lnTo>
                    <a:lnTo>
                      <a:pt x="17" y="25"/>
                    </a:lnTo>
                    <a:lnTo>
                      <a:pt x="14" y="25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3" y="14"/>
                    </a:lnTo>
                    <a:lnTo>
                      <a:pt x="0" y="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0" name="Freeform 165"/>
              <p:cNvSpPr>
                <a:spLocks/>
              </p:cNvSpPr>
              <p:nvPr/>
            </p:nvSpPr>
            <p:spPr bwMode="auto">
              <a:xfrm>
                <a:off x="2158742" y="5880677"/>
                <a:ext cx="65428" cy="51490"/>
              </a:xfrm>
              <a:custGeom>
                <a:avLst/>
                <a:gdLst>
                  <a:gd name="T0" fmla="*/ 0 w 37"/>
                  <a:gd name="T1" fmla="*/ 1 h 30"/>
                  <a:gd name="T2" fmla="*/ 17 w 37"/>
                  <a:gd name="T3" fmla="*/ 1 h 30"/>
                  <a:gd name="T4" fmla="*/ 17 w 37"/>
                  <a:gd name="T5" fmla="*/ 16 h 30"/>
                  <a:gd name="T6" fmla="*/ 26 w 37"/>
                  <a:gd name="T7" fmla="*/ 14 h 30"/>
                  <a:gd name="T8" fmla="*/ 23 w 37"/>
                  <a:gd name="T9" fmla="*/ 0 h 30"/>
                  <a:gd name="T10" fmla="*/ 23 w 37"/>
                  <a:gd name="T11" fmla="*/ 0 h 30"/>
                  <a:gd name="T12" fmla="*/ 26 w 37"/>
                  <a:gd name="T13" fmla="*/ 0 h 30"/>
                  <a:gd name="T14" fmla="*/ 28 w 37"/>
                  <a:gd name="T15" fmla="*/ 1 h 30"/>
                  <a:gd name="T16" fmla="*/ 31 w 37"/>
                  <a:gd name="T17" fmla="*/ 4 h 30"/>
                  <a:gd name="T18" fmla="*/ 32 w 37"/>
                  <a:gd name="T19" fmla="*/ 6 h 30"/>
                  <a:gd name="T20" fmla="*/ 36 w 37"/>
                  <a:gd name="T21" fmla="*/ 11 h 30"/>
                  <a:gd name="T22" fmla="*/ 36 w 37"/>
                  <a:gd name="T23" fmla="*/ 16 h 30"/>
                  <a:gd name="T24" fmla="*/ 32 w 37"/>
                  <a:gd name="T25" fmla="*/ 20 h 30"/>
                  <a:gd name="T26" fmla="*/ 31 w 37"/>
                  <a:gd name="T27" fmla="*/ 29 h 30"/>
                  <a:gd name="T28" fmla="*/ 31 w 37"/>
                  <a:gd name="T29" fmla="*/ 29 h 30"/>
                  <a:gd name="T30" fmla="*/ 28 w 37"/>
                  <a:gd name="T31" fmla="*/ 29 h 30"/>
                  <a:gd name="T32" fmla="*/ 26 w 37"/>
                  <a:gd name="T33" fmla="*/ 29 h 30"/>
                  <a:gd name="T34" fmla="*/ 23 w 37"/>
                  <a:gd name="T35" fmla="*/ 29 h 30"/>
                  <a:gd name="T36" fmla="*/ 18 w 37"/>
                  <a:gd name="T37" fmla="*/ 25 h 30"/>
                  <a:gd name="T38" fmla="*/ 17 w 37"/>
                  <a:gd name="T39" fmla="*/ 25 h 30"/>
                  <a:gd name="T40" fmla="*/ 14 w 37"/>
                  <a:gd name="T41" fmla="*/ 25 h 30"/>
                  <a:gd name="T42" fmla="*/ 12 w 37"/>
                  <a:gd name="T43" fmla="*/ 25 h 30"/>
                  <a:gd name="T44" fmla="*/ 12 w 37"/>
                  <a:gd name="T45" fmla="*/ 25 h 30"/>
                  <a:gd name="T46" fmla="*/ 3 w 37"/>
                  <a:gd name="T47" fmla="*/ 14 h 30"/>
                  <a:gd name="T48" fmla="*/ 0 w 37"/>
                  <a:gd name="T49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7" h="30">
                    <a:moveTo>
                      <a:pt x="0" y="1"/>
                    </a:moveTo>
                    <a:lnTo>
                      <a:pt x="17" y="1"/>
                    </a:lnTo>
                    <a:lnTo>
                      <a:pt x="17" y="16"/>
                    </a:lnTo>
                    <a:lnTo>
                      <a:pt x="26" y="1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6" y="0"/>
                    </a:lnTo>
                    <a:lnTo>
                      <a:pt x="28" y="1"/>
                    </a:lnTo>
                    <a:lnTo>
                      <a:pt x="31" y="4"/>
                    </a:lnTo>
                    <a:lnTo>
                      <a:pt x="32" y="6"/>
                    </a:lnTo>
                    <a:lnTo>
                      <a:pt x="36" y="11"/>
                    </a:lnTo>
                    <a:lnTo>
                      <a:pt x="36" y="16"/>
                    </a:lnTo>
                    <a:lnTo>
                      <a:pt x="32" y="20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28" y="29"/>
                    </a:lnTo>
                    <a:lnTo>
                      <a:pt x="26" y="29"/>
                    </a:lnTo>
                    <a:lnTo>
                      <a:pt x="23" y="29"/>
                    </a:lnTo>
                    <a:lnTo>
                      <a:pt x="18" y="25"/>
                    </a:lnTo>
                    <a:lnTo>
                      <a:pt x="17" y="25"/>
                    </a:lnTo>
                    <a:lnTo>
                      <a:pt x="14" y="25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3" y="14"/>
                    </a:lnTo>
                    <a:lnTo>
                      <a:pt x="0" y="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1" name="Freeform 166"/>
              <p:cNvSpPr>
                <a:spLocks/>
              </p:cNvSpPr>
              <p:nvPr/>
            </p:nvSpPr>
            <p:spPr bwMode="auto">
              <a:xfrm>
                <a:off x="2036728" y="5738222"/>
                <a:ext cx="49513" cy="44625"/>
              </a:xfrm>
              <a:custGeom>
                <a:avLst/>
                <a:gdLst>
                  <a:gd name="T0" fmla="*/ 0 w 28"/>
                  <a:gd name="T1" fmla="*/ 11 h 26"/>
                  <a:gd name="T2" fmla="*/ 0 w 28"/>
                  <a:gd name="T3" fmla="*/ 8 h 26"/>
                  <a:gd name="T4" fmla="*/ 0 w 28"/>
                  <a:gd name="T5" fmla="*/ 2 h 26"/>
                  <a:gd name="T6" fmla="*/ 6 w 28"/>
                  <a:gd name="T7" fmla="*/ 0 h 26"/>
                  <a:gd name="T8" fmla="*/ 10 w 28"/>
                  <a:gd name="T9" fmla="*/ 0 h 26"/>
                  <a:gd name="T10" fmla="*/ 16 w 28"/>
                  <a:gd name="T11" fmla="*/ 0 h 26"/>
                  <a:gd name="T12" fmla="*/ 20 w 28"/>
                  <a:gd name="T13" fmla="*/ 2 h 26"/>
                  <a:gd name="T14" fmla="*/ 20 w 28"/>
                  <a:gd name="T15" fmla="*/ 8 h 26"/>
                  <a:gd name="T16" fmla="*/ 27 w 28"/>
                  <a:gd name="T17" fmla="*/ 11 h 26"/>
                  <a:gd name="T18" fmla="*/ 20 w 28"/>
                  <a:gd name="T19" fmla="*/ 16 h 26"/>
                  <a:gd name="T20" fmla="*/ 20 w 28"/>
                  <a:gd name="T21" fmla="*/ 19 h 26"/>
                  <a:gd name="T22" fmla="*/ 16 w 28"/>
                  <a:gd name="T23" fmla="*/ 25 h 26"/>
                  <a:gd name="T24" fmla="*/ 10 w 28"/>
                  <a:gd name="T25" fmla="*/ 25 h 26"/>
                  <a:gd name="T26" fmla="*/ 6 w 28"/>
                  <a:gd name="T27" fmla="*/ 25 h 26"/>
                  <a:gd name="T28" fmla="*/ 0 w 28"/>
                  <a:gd name="T29" fmla="*/ 19 h 26"/>
                  <a:gd name="T30" fmla="*/ 0 w 28"/>
                  <a:gd name="T31" fmla="*/ 16 h 26"/>
                  <a:gd name="T32" fmla="*/ 0 w 28"/>
                  <a:gd name="T33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26">
                    <a:moveTo>
                      <a:pt x="0" y="11"/>
                    </a:moveTo>
                    <a:lnTo>
                      <a:pt x="0" y="8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20" y="2"/>
                    </a:lnTo>
                    <a:lnTo>
                      <a:pt x="20" y="8"/>
                    </a:lnTo>
                    <a:lnTo>
                      <a:pt x="27" y="11"/>
                    </a:lnTo>
                    <a:lnTo>
                      <a:pt x="20" y="16"/>
                    </a:lnTo>
                    <a:lnTo>
                      <a:pt x="20" y="19"/>
                    </a:lnTo>
                    <a:lnTo>
                      <a:pt x="16" y="25"/>
                    </a:lnTo>
                    <a:lnTo>
                      <a:pt x="10" y="25"/>
                    </a:lnTo>
                    <a:lnTo>
                      <a:pt x="6" y="25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1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2" name="Freeform 167"/>
              <p:cNvSpPr>
                <a:spLocks/>
              </p:cNvSpPr>
              <p:nvPr/>
            </p:nvSpPr>
            <p:spPr bwMode="auto">
              <a:xfrm>
                <a:off x="2036728" y="5738222"/>
                <a:ext cx="49513" cy="44625"/>
              </a:xfrm>
              <a:custGeom>
                <a:avLst/>
                <a:gdLst>
                  <a:gd name="T0" fmla="*/ 0 w 28"/>
                  <a:gd name="T1" fmla="*/ 11 h 26"/>
                  <a:gd name="T2" fmla="*/ 0 w 28"/>
                  <a:gd name="T3" fmla="*/ 11 h 26"/>
                  <a:gd name="T4" fmla="*/ 0 w 28"/>
                  <a:gd name="T5" fmla="*/ 8 h 26"/>
                  <a:gd name="T6" fmla="*/ 0 w 28"/>
                  <a:gd name="T7" fmla="*/ 2 h 26"/>
                  <a:gd name="T8" fmla="*/ 6 w 28"/>
                  <a:gd name="T9" fmla="*/ 0 h 26"/>
                  <a:gd name="T10" fmla="*/ 10 w 28"/>
                  <a:gd name="T11" fmla="*/ 0 h 26"/>
                  <a:gd name="T12" fmla="*/ 10 w 28"/>
                  <a:gd name="T13" fmla="*/ 0 h 26"/>
                  <a:gd name="T14" fmla="*/ 16 w 28"/>
                  <a:gd name="T15" fmla="*/ 0 h 26"/>
                  <a:gd name="T16" fmla="*/ 20 w 28"/>
                  <a:gd name="T17" fmla="*/ 2 h 26"/>
                  <a:gd name="T18" fmla="*/ 20 w 28"/>
                  <a:gd name="T19" fmla="*/ 8 h 26"/>
                  <a:gd name="T20" fmla="*/ 27 w 28"/>
                  <a:gd name="T21" fmla="*/ 11 h 26"/>
                  <a:gd name="T22" fmla="*/ 27 w 28"/>
                  <a:gd name="T23" fmla="*/ 11 h 26"/>
                  <a:gd name="T24" fmla="*/ 20 w 28"/>
                  <a:gd name="T25" fmla="*/ 16 h 26"/>
                  <a:gd name="T26" fmla="*/ 20 w 28"/>
                  <a:gd name="T27" fmla="*/ 19 h 26"/>
                  <a:gd name="T28" fmla="*/ 16 w 28"/>
                  <a:gd name="T29" fmla="*/ 25 h 26"/>
                  <a:gd name="T30" fmla="*/ 10 w 28"/>
                  <a:gd name="T31" fmla="*/ 25 h 26"/>
                  <a:gd name="T32" fmla="*/ 10 w 28"/>
                  <a:gd name="T33" fmla="*/ 25 h 26"/>
                  <a:gd name="T34" fmla="*/ 6 w 28"/>
                  <a:gd name="T35" fmla="*/ 25 h 26"/>
                  <a:gd name="T36" fmla="*/ 0 w 28"/>
                  <a:gd name="T37" fmla="*/ 19 h 26"/>
                  <a:gd name="T38" fmla="*/ 0 w 28"/>
                  <a:gd name="T39" fmla="*/ 16 h 26"/>
                  <a:gd name="T40" fmla="*/ 0 w 28"/>
                  <a:gd name="T41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26">
                    <a:moveTo>
                      <a:pt x="0" y="11"/>
                    </a:moveTo>
                    <a:lnTo>
                      <a:pt x="0" y="11"/>
                    </a:lnTo>
                    <a:lnTo>
                      <a:pt x="0" y="8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20" y="2"/>
                    </a:lnTo>
                    <a:lnTo>
                      <a:pt x="20" y="8"/>
                    </a:lnTo>
                    <a:lnTo>
                      <a:pt x="27" y="11"/>
                    </a:lnTo>
                    <a:lnTo>
                      <a:pt x="27" y="11"/>
                    </a:lnTo>
                    <a:lnTo>
                      <a:pt x="20" y="16"/>
                    </a:lnTo>
                    <a:lnTo>
                      <a:pt x="20" y="19"/>
                    </a:lnTo>
                    <a:lnTo>
                      <a:pt x="16" y="25"/>
                    </a:lnTo>
                    <a:lnTo>
                      <a:pt x="10" y="25"/>
                    </a:lnTo>
                    <a:lnTo>
                      <a:pt x="10" y="25"/>
                    </a:lnTo>
                    <a:lnTo>
                      <a:pt x="6" y="25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1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3" name="Freeform 168"/>
              <p:cNvSpPr>
                <a:spLocks/>
              </p:cNvSpPr>
              <p:nvPr/>
            </p:nvSpPr>
            <p:spPr bwMode="auto">
              <a:xfrm>
                <a:off x="2068558" y="5738222"/>
                <a:ext cx="47745" cy="44625"/>
              </a:xfrm>
              <a:custGeom>
                <a:avLst/>
                <a:gdLst>
                  <a:gd name="T0" fmla="*/ 0 w 27"/>
                  <a:gd name="T1" fmla="*/ 11 h 26"/>
                  <a:gd name="T2" fmla="*/ 0 w 27"/>
                  <a:gd name="T3" fmla="*/ 2 h 26"/>
                  <a:gd name="T4" fmla="*/ 2 w 27"/>
                  <a:gd name="T5" fmla="*/ 0 h 26"/>
                  <a:gd name="T6" fmla="*/ 8 w 27"/>
                  <a:gd name="T7" fmla="*/ 0 h 26"/>
                  <a:gd name="T8" fmla="*/ 11 w 27"/>
                  <a:gd name="T9" fmla="*/ 0 h 26"/>
                  <a:gd name="T10" fmla="*/ 17 w 27"/>
                  <a:gd name="T11" fmla="*/ 0 h 26"/>
                  <a:gd name="T12" fmla="*/ 20 w 27"/>
                  <a:gd name="T13" fmla="*/ 0 h 26"/>
                  <a:gd name="T14" fmla="*/ 20 w 27"/>
                  <a:gd name="T15" fmla="*/ 2 h 26"/>
                  <a:gd name="T16" fmla="*/ 26 w 27"/>
                  <a:gd name="T17" fmla="*/ 11 h 26"/>
                  <a:gd name="T18" fmla="*/ 20 w 27"/>
                  <a:gd name="T19" fmla="*/ 16 h 26"/>
                  <a:gd name="T20" fmla="*/ 20 w 27"/>
                  <a:gd name="T21" fmla="*/ 19 h 26"/>
                  <a:gd name="T22" fmla="*/ 17 w 27"/>
                  <a:gd name="T23" fmla="*/ 25 h 26"/>
                  <a:gd name="T24" fmla="*/ 11 w 27"/>
                  <a:gd name="T25" fmla="*/ 25 h 26"/>
                  <a:gd name="T26" fmla="*/ 8 w 27"/>
                  <a:gd name="T27" fmla="*/ 25 h 26"/>
                  <a:gd name="T28" fmla="*/ 2 w 27"/>
                  <a:gd name="T29" fmla="*/ 19 h 26"/>
                  <a:gd name="T30" fmla="*/ 0 w 27"/>
                  <a:gd name="T31" fmla="*/ 16 h 26"/>
                  <a:gd name="T32" fmla="*/ 0 w 27"/>
                  <a:gd name="T33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26">
                    <a:moveTo>
                      <a:pt x="0" y="11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26" y="11"/>
                    </a:lnTo>
                    <a:lnTo>
                      <a:pt x="20" y="16"/>
                    </a:lnTo>
                    <a:lnTo>
                      <a:pt x="20" y="19"/>
                    </a:lnTo>
                    <a:lnTo>
                      <a:pt x="17" y="25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2" y="19"/>
                    </a:lnTo>
                    <a:lnTo>
                      <a:pt x="0" y="16"/>
                    </a:lnTo>
                    <a:lnTo>
                      <a:pt x="0" y="1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4" name="Freeform 169"/>
              <p:cNvSpPr>
                <a:spLocks/>
              </p:cNvSpPr>
              <p:nvPr/>
            </p:nvSpPr>
            <p:spPr bwMode="auto">
              <a:xfrm>
                <a:off x="2068558" y="5738222"/>
                <a:ext cx="47745" cy="44625"/>
              </a:xfrm>
              <a:custGeom>
                <a:avLst/>
                <a:gdLst>
                  <a:gd name="T0" fmla="*/ 0 w 27"/>
                  <a:gd name="T1" fmla="*/ 11 h 26"/>
                  <a:gd name="T2" fmla="*/ 0 w 27"/>
                  <a:gd name="T3" fmla="*/ 11 h 26"/>
                  <a:gd name="T4" fmla="*/ 0 w 27"/>
                  <a:gd name="T5" fmla="*/ 2 h 26"/>
                  <a:gd name="T6" fmla="*/ 2 w 27"/>
                  <a:gd name="T7" fmla="*/ 0 h 26"/>
                  <a:gd name="T8" fmla="*/ 8 w 27"/>
                  <a:gd name="T9" fmla="*/ 0 h 26"/>
                  <a:gd name="T10" fmla="*/ 11 w 27"/>
                  <a:gd name="T11" fmla="*/ 0 h 26"/>
                  <a:gd name="T12" fmla="*/ 11 w 27"/>
                  <a:gd name="T13" fmla="*/ 0 h 26"/>
                  <a:gd name="T14" fmla="*/ 17 w 27"/>
                  <a:gd name="T15" fmla="*/ 0 h 26"/>
                  <a:gd name="T16" fmla="*/ 20 w 27"/>
                  <a:gd name="T17" fmla="*/ 0 h 26"/>
                  <a:gd name="T18" fmla="*/ 20 w 27"/>
                  <a:gd name="T19" fmla="*/ 2 h 26"/>
                  <a:gd name="T20" fmla="*/ 26 w 27"/>
                  <a:gd name="T21" fmla="*/ 11 h 26"/>
                  <a:gd name="T22" fmla="*/ 26 w 27"/>
                  <a:gd name="T23" fmla="*/ 11 h 26"/>
                  <a:gd name="T24" fmla="*/ 20 w 27"/>
                  <a:gd name="T25" fmla="*/ 16 h 26"/>
                  <a:gd name="T26" fmla="*/ 20 w 27"/>
                  <a:gd name="T27" fmla="*/ 19 h 26"/>
                  <a:gd name="T28" fmla="*/ 17 w 27"/>
                  <a:gd name="T29" fmla="*/ 25 h 26"/>
                  <a:gd name="T30" fmla="*/ 11 w 27"/>
                  <a:gd name="T31" fmla="*/ 25 h 26"/>
                  <a:gd name="T32" fmla="*/ 11 w 27"/>
                  <a:gd name="T33" fmla="*/ 25 h 26"/>
                  <a:gd name="T34" fmla="*/ 8 w 27"/>
                  <a:gd name="T35" fmla="*/ 25 h 26"/>
                  <a:gd name="T36" fmla="*/ 2 w 27"/>
                  <a:gd name="T37" fmla="*/ 19 h 26"/>
                  <a:gd name="T38" fmla="*/ 0 w 27"/>
                  <a:gd name="T39" fmla="*/ 16 h 26"/>
                  <a:gd name="T40" fmla="*/ 0 w 27"/>
                  <a:gd name="T41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26">
                    <a:moveTo>
                      <a:pt x="0" y="11"/>
                    </a:moveTo>
                    <a:lnTo>
                      <a:pt x="0" y="11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26" y="11"/>
                    </a:lnTo>
                    <a:lnTo>
                      <a:pt x="26" y="11"/>
                    </a:lnTo>
                    <a:lnTo>
                      <a:pt x="20" y="16"/>
                    </a:lnTo>
                    <a:lnTo>
                      <a:pt x="20" y="19"/>
                    </a:lnTo>
                    <a:lnTo>
                      <a:pt x="17" y="25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2" y="19"/>
                    </a:lnTo>
                    <a:lnTo>
                      <a:pt x="0" y="16"/>
                    </a:lnTo>
                    <a:lnTo>
                      <a:pt x="0" y="1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5" name="Freeform 170"/>
              <p:cNvSpPr>
                <a:spLocks/>
              </p:cNvSpPr>
              <p:nvPr/>
            </p:nvSpPr>
            <p:spPr bwMode="auto">
              <a:xfrm>
                <a:off x="1309950" y="5841202"/>
                <a:ext cx="90184" cy="68653"/>
              </a:xfrm>
              <a:custGeom>
                <a:avLst/>
                <a:gdLst>
                  <a:gd name="T0" fmla="*/ 45 w 51"/>
                  <a:gd name="T1" fmla="*/ 0 h 40"/>
                  <a:gd name="T2" fmla="*/ 30 w 51"/>
                  <a:gd name="T3" fmla="*/ 3 h 40"/>
                  <a:gd name="T4" fmla="*/ 20 w 51"/>
                  <a:gd name="T5" fmla="*/ 7 h 40"/>
                  <a:gd name="T6" fmla="*/ 24 w 51"/>
                  <a:gd name="T7" fmla="*/ 15 h 40"/>
                  <a:gd name="T8" fmla="*/ 16 w 51"/>
                  <a:gd name="T9" fmla="*/ 23 h 40"/>
                  <a:gd name="T10" fmla="*/ 8 w 51"/>
                  <a:gd name="T11" fmla="*/ 10 h 40"/>
                  <a:gd name="T12" fmla="*/ 0 w 51"/>
                  <a:gd name="T13" fmla="*/ 24 h 40"/>
                  <a:gd name="T14" fmla="*/ 8 w 51"/>
                  <a:gd name="T15" fmla="*/ 39 h 40"/>
                  <a:gd name="T16" fmla="*/ 25 w 51"/>
                  <a:gd name="T17" fmla="*/ 29 h 40"/>
                  <a:gd name="T18" fmla="*/ 38 w 51"/>
                  <a:gd name="T19" fmla="*/ 15 h 40"/>
                  <a:gd name="T20" fmla="*/ 50 w 51"/>
                  <a:gd name="T21" fmla="*/ 15 h 40"/>
                  <a:gd name="T22" fmla="*/ 48 w 51"/>
                  <a:gd name="T23" fmla="*/ 7 h 40"/>
                  <a:gd name="T24" fmla="*/ 45 w 51"/>
                  <a:gd name="T25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40">
                    <a:moveTo>
                      <a:pt x="45" y="0"/>
                    </a:moveTo>
                    <a:lnTo>
                      <a:pt x="30" y="3"/>
                    </a:lnTo>
                    <a:lnTo>
                      <a:pt x="20" y="7"/>
                    </a:lnTo>
                    <a:lnTo>
                      <a:pt x="24" y="15"/>
                    </a:lnTo>
                    <a:lnTo>
                      <a:pt x="16" y="23"/>
                    </a:lnTo>
                    <a:lnTo>
                      <a:pt x="8" y="10"/>
                    </a:lnTo>
                    <a:lnTo>
                      <a:pt x="0" y="24"/>
                    </a:lnTo>
                    <a:lnTo>
                      <a:pt x="8" y="39"/>
                    </a:lnTo>
                    <a:lnTo>
                      <a:pt x="25" y="29"/>
                    </a:lnTo>
                    <a:lnTo>
                      <a:pt x="38" y="15"/>
                    </a:lnTo>
                    <a:lnTo>
                      <a:pt x="50" y="15"/>
                    </a:lnTo>
                    <a:lnTo>
                      <a:pt x="48" y="7"/>
                    </a:lnTo>
                    <a:lnTo>
                      <a:pt x="45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6" name="Freeform 171"/>
              <p:cNvSpPr>
                <a:spLocks/>
              </p:cNvSpPr>
              <p:nvPr/>
            </p:nvSpPr>
            <p:spPr bwMode="auto">
              <a:xfrm>
                <a:off x="1309950" y="5841202"/>
                <a:ext cx="90184" cy="68653"/>
              </a:xfrm>
              <a:custGeom>
                <a:avLst/>
                <a:gdLst>
                  <a:gd name="T0" fmla="*/ 45 w 51"/>
                  <a:gd name="T1" fmla="*/ 0 h 40"/>
                  <a:gd name="T2" fmla="*/ 30 w 51"/>
                  <a:gd name="T3" fmla="*/ 3 h 40"/>
                  <a:gd name="T4" fmla="*/ 20 w 51"/>
                  <a:gd name="T5" fmla="*/ 7 h 40"/>
                  <a:gd name="T6" fmla="*/ 24 w 51"/>
                  <a:gd name="T7" fmla="*/ 15 h 40"/>
                  <a:gd name="T8" fmla="*/ 16 w 51"/>
                  <a:gd name="T9" fmla="*/ 23 h 40"/>
                  <a:gd name="T10" fmla="*/ 8 w 51"/>
                  <a:gd name="T11" fmla="*/ 10 h 40"/>
                  <a:gd name="T12" fmla="*/ 0 w 51"/>
                  <a:gd name="T13" fmla="*/ 24 h 40"/>
                  <a:gd name="T14" fmla="*/ 8 w 51"/>
                  <a:gd name="T15" fmla="*/ 39 h 40"/>
                  <a:gd name="T16" fmla="*/ 25 w 51"/>
                  <a:gd name="T17" fmla="*/ 29 h 40"/>
                  <a:gd name="T18" fmla="*/ 38 w 51"/>
                  <a:gd name="T19" fmla="*/ 15 h 40"/>
                  <a:gd name="T20" fmla="*/ 50 w 51"/>
                  <a:gd name="T21" fmla="*/ 15 h 40"/>
                  <a:gd name="T22" fmla="*/ 48 w 51"/>
                  <a:gd name="T23" fmla="*/ 7 h 40"/>
                  <a:gd name="T24" fmla="*/ 45 w 51"/>
                  <a:gd name="T25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40">
                    <a:moveTo>
                      <a:pt x="45" y="0"/>
                    </a:moveTo>
                    <a:lnTo>
                      <a:pt x="30" y="3"/>
                    </a:lnTo>
                    <a:lnTo>
                      <a:pt x="20" y="7"/>
                    </a:lnTo>
                    <a:lnTo>
                      <a:pt x="24" y="15"/>
                    </a:lnTo>
                    <a:lnTo>
                      <a:pt x="16" y="23"/>
                    </a:lnTo>
                    <a:lnTo>
                      <a:pt x="8" y="10"/>
                    </a:lnTo>
                    <a:lnTo>
                      <a:pt x="0" y="24"/>
                    </a:lnTo>
                    <a:lnTo>
                      <a:pt x="8" y="39"/>
                    </a:lnTo>
                    <a:lnTo>
                      <a:pt x="25" y="29"/>
                    </a:lnTo>
                    <a:lnTo>
                      <a:pt x="38" y="15"/>
                    </a:lnTo>
                    <a:lnTo>
                      <a:pt x="50" y="15"/>
                    </a:lnTo>
                    <a:lnTo>
                      <a:pt x="48" y="7"/>
                    </a:lnTo>
                    <a:lnTo>
                      <a:pt x="45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7" name="Freeform 172"/>
              <p:cNvSpPr>
                <a:spLocks/>
              </p:cNvSpPr>
              <p:nvPr/>
            </p:nvSpPr>
            <p:spPr bwMode="auto">
              <a:xfrm>
                <a:off x="818357" y="6107234"/>
                <a:ext cx="53050" cy="44625"/>
              </a:xfrm>
              <a:custGeom>
                <a:avLst/>
                <a:gdLst>
                  <a:gd name="T0" fmla="*/ 12 w 30"/>
                  <a:gd name="T1" fmla="*/ 5 h 26"/>
                  <a:gd name="T2" fmla="*/ 20 w 30"/>
                  <a:gd name="T3" fmla="*/ 0 h 26"/>
                  <a:gd name="T4" fmla="*/ 29 w 30"/>
                  <a:gd name="T5" fmla="*/ 13 h 26"/>
                  <a:gd name="T6" fmla="*/ 9 w 30"/>
                  <a:gd name="T7" fmla="*/ 25 h 26"/>
                  <a:gd name="T8" fmla="*/ 0 w 30"/>
                  <a:gd name="T9" fmla="*/ 25 h 26"/>
                  <a:gd name="T10" fmla="*/ 8 w 30"/>
                  <a:gd name="T11" fmla="*/ 15 h 26"/>
                  <a:gd name="T12" fmla="*/ 19 w 30"/>
                  <a:gd name="T13" fmla="*/ 13 h 26"/>
                  <a:gd name="T14" fmla="*/ 12 w 30"/>
                  <a:gd name="T15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6">
                    <a:moveTo>
                      <a:pt x="12" y="5"/>
                    </a:moveTo>
                    <a:lnTo>
                      <a:pt x="20" y="0"/>
                    </a:lnTo>
                    <a:lnTo>
                      <a:pt x="29" y="13"/>
                    </a:lnTo>
                    <a:lnTo>
                      <a:pt x="9" y="25"/>
                    </a:lnTo>
                    <a:lnTo>
                      <a:pt x="0" y="25"/>
                    </a:lnTo>
                    <a:lnTo>
                      <a:pt x="8" y="15"/>
                    </a:lnTo>
                    <a:lnTo>
                      <a:pt x="19" y="13"/>
                    </a:lnTo>
                    <a:lnTo>
                      <a:pt x="12" y="5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8" name="Freeform 173"/>
              <p:cNvSpPr>
                <a:spLocks/>
              </p:cNvSpPr>
              <p:nvPr/>
            </p:nvSpPr>
            <p:spPr bwMode="auto">
              <a:xfrm>
                <a:off x="818357" y="6107234"/>
                <a:ext cx="53050" cy="44625"/>
              </a:xfrm>
              <a:custGeom>
                <a:avLst/>
                <a:gdLst>
                  <a:gd name="T0" fmla="*/ 12 w 30"/>
                  <a:gd name="T1" fmla="*/ 5 h 26"/>
                  <a:gd name="T2" fmla="*/ 20 w 30"/>
                  <a:gd name="T3" fmla="*/ 0 h 26"/>
                  <a:gd name="T4" fmla="*/ 29 w 30"/>
                  <a:gd name="T5" fmla="*/ 13 h 26"/>
                  <a:gd name="T6" fmla="*/ 9 w 30"/>
                  <a:gd name="T7" fmla="*/ 25 h 26"/>
                  <a:gd name="T8" fmla="*/ 0 w 30"/>
                  <a:gd name="T9" fmla="*/ 25 h 26"/>
                  <a:gd name="T10" fmla="*/ 8 w 30"/>
                  <a:gd name="T11" fmla="*/ 15 h 26"/>
                  <a:gd name="T12" fmla="*/ 19 w 30"/>
                  <a:gd name="T13" fmla="*/ 13 h 26"/>
                  <a:gd name="T14" fmla="*/ 12 w 30"/>
                  <a:gd name="T15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6">
                    <a:moveTo>
                      <a:pt x="12" y="5"/>
                    </a:moveTo>
                    <a:lnTo>
                      <a:pt x="20" y="0"/>
                    </a:lnTo>
                    <a:lnTo>
                      <a:pt x="29" y="13"/>
                    </a:lnTo>
                    <a:lnTo>
                      <a:pt x="9" y="25"/>
                    </a:lnTo>
                    <a:lnTo>
                      <a:pt x="0" y="25"/>
                    </a:lnTo>
                    <a:lnTo>
                      <a:pt x="8" y="15"/>
                    </a:lnTo>
                    <a:lnTo>
                      <a:pt x="19" y="13"/>
                    </a:lnTo>
                    <a:lnTo>
                      <a:pt x="12" y="5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9" name="Freeform 174"/>
              <p:cNvSpPr>
                <a:spLocks/>
              </p:cNvSpPr>
              <p:nvPr/>
            </p:nvSpPr>
            <p:spPr bwMode="auto">
              <a:xfrm>
                <a:off x="751161" y="6119248"/>
                <a:ext cx="61891" cy="46341"/>
              </a:xfrm>
              <a:custGeom>
                <a:avLst/>
                <a:gdLst>
                  <a:gd name="T0" fmla="*/ 0 w 35"/>
                  <a:gd name="T1" fmla="*/ 26 h 27"/>
                  <a:gd name="T2" fmla="*/ 0 w 35"/>
                  <a:gd name="T3" fmla="*/ 22 h 27"/>
                  <a:gd name="T4" fmla="*/ 0 w 35"/>
                  <a:gd name="T5" fmla="*/ 22 h 27"/>
                  <a:gd name="T6" fmla="*/ 3 w 35"/>
                  <a:gd name="T7" fmla="*/ 21 h 27"/>
                  <a:gd name="T8" fmla="*/ 3 w 35"/>
                  <a:gd name="T9" fmla="*/ 18 h 27"/>
                  <a:gd name="T10" fmla="*/ 4 w 35"/>
                  <a:gd name="T11" fmla="*/ 16 h 27"/>
                  <a:gd name="T12" fmla="*/ 8 w 35"/>
                  <a:gd name="T13" fmla="*/ 13 h 27"/>
                  <a:gd name="T14" fmla="*/ 9 w 35"/>
                  <a:gd name="T15" fmla="*/ 12 h 27"/>
                  <a:gd name="T16" fmla="*/ 12 w 35"/>
                  <a:gd name="T17" fmla="*/ 7 h 27"/>
                  <a:gd name="T18" fmla="*/ 17 w 35"/>
                  <a:gd name="T19" fmla="*/ 4 h 27"/>
                  <a:gd name="T20" fmla="*/ 19 w 35"/>
                  <a:gd name="T21" fmla="*/ 4 h 27"/>
                  <a:gd name="T22" fmla="*/ 22 w 35"/>
                  <a:gd name="T23" fmla="*/ 3 h 27"/>
                  <a:gd name="T24" fmla="*/ 27 w 35"/>
                  <a:gd name="T25" fmla="*/ 0 h 27"/>
                  <a:gd name="T26" fmla="*/ 27 w 35"/>
                  <a:gd name="T27" fmla="*/ 0 h 27"/>
                  <a:gd name="T28" fmla="*/ 29 w 35"/>
                  <a:gd name="T29" fmla="*/ 0 h 27"/>
                  <a:gd name="T30" fmla="*/ 32 w 35"/>
                  <a:gd name="T31" fmla="*/ 0 h 27"/>
                  <a:gd name="T32" fmla="*/ 32 w 35"/>
                  <a:gd name="T33" fmla="*/ 0 h 27"/>
                  <a:gd name="T34" fmla="*/ 34 w 35"/>
                  <a:gd name="T35" fmla="*/ 3 h 27"/>
                  <a:gd name="T36" fmla="*/ 32 w 35"/>
                  <a:gd name="T37" fmla="*/ 4 h 27"/>
                  <a:gd name="T38" fmla="*/ 32 w 35"/>
                  <a:gd name="T39" fmla="*/ 4 h 27"/>
                  <a:gd name="T40" fmla="*/ 29 w 35"/>
                  <a:gd name="T41" fmla="*/ 7 h 27"/>
                  <a:gd name="T42" fmla="*/ 29 w 35"/>
                  <a:gd name="T43" fmla="*/ 9 h 27"/>
                  <a:gd name="T44" fmla="*/ 27 w 35"/>
                  <a:gd name="T45" fmla="*/ 12 h 27"/>
                  <a:gd name="T46" fmla="*/ 24 w 35"/>
                  <a:gd name="T47" fmla="*/ 13 h 27"/>
                  <a:gd name="T48" fmla="*/ 19 w 35"/>
                  <a:gd name="T49" fmla="*/ 16 h 27"/>
                  <a:gd name="T50" fmla="*/ 17 w 35"/>
                  <a:gd name="T51" fmla="*/ 18 h 27"/>
                  <a:gd name="T52" fmla="*/ 14 w 35"/>
                  <a:gd name="T53" fmla="*/ 21 h 27"/>
                  <a:gd name="T54" fmla="*/ 9 w 35"/>
                  <a:gd name="T55" fmla="*/ 22 h 27"/>
                  <a:gd name="T56" fmla="*/ 8 w 35"/>
                  <a:gd name="T57" fmla="*/ 22 h 27"/>
                  <a:gd name="T58" fmla="*/ 4 w 35"/>
                  <a:gd name="T59" fmla="*/ 26 h 27"/>
                  <a:gd name="T60" fmla="*/ 3 w 35"/>
                  <a:gd name="T61" fmla="*/ 26 h 27"/>
                  <a:gd name="T62" fmla="*/ 3 w 35"/>
                  <a:gd name="T63" fmla="*/ 26 h 27"/>
                  <a:gd name="T64" fmla="*/ 0 w 35"/>
                  <a:gd name="T65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5" h="27">
                    <a:moveTo>
                      <a:pt x="0" y="26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3" y="21"/>
                    </a:lnTo>
                    <a:lnTo>
                      <a:pt x="3" y="18"/>
                    </a:lnTo>
                    <a:lnTo>
                      <a:pt x="4" y="16"/>
                    </a:lnTo>
                    <a:lnTo>
                      <a:pt x="8" y="13"/>
                    </a:lnTo>
                    <a:lnTo>
                      <a:pt x="9" y="12"/>
                    </a:lnTo>
                    <a:lnTo>
                      <a:pt x="12" y="7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22" y="3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4" y="3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9" y="7"/>
                    </a:lnTo>
                    <a:lnTo>
                      <a:pt x="29" y="9"/>
                    </a:lnTo>
                    <a:lnTo>
                      <a:pt x="27" y="12"/>
                    </a:lnTo>
                    <a:lnTo>
                      <a:pt x="24" y="13"/>
                    </a:lnTo>
                    <a:lnTo>
                      <a:pt x="19" y="16"/>
                    </a:lnTo>
                    <a:lnTo>
                      <a:pt x="17" y="18"/>
                    </a:lnTo>
                    <a:lnTo>
                      <a:pt x="14" y="21"/>
                    </a:lnTo>
                    <a:lnTo>
                      <a:pt x="9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0" y="26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0" name="Freeform 175"/>
              <p:cNvSpPr>
                <a:spLocks/>
              </p:cNvSpPr>
              <p:nvPr/>
            </p:nvSpPr>
            <p:spPr bwMode="auto">
              <a:xfrm>
                <a:off x="751161" y="6122681"/>
                <a:ext cx="61891" cy="46341"/>
              </a:xfrm>
              <a:custGeom>
                <a:avLst/>
                <a:gdLst>
                  <a:gd name="T0" fmla="*/ 0 w 35"/>
                  <a:gd name="T1" fmla="*/ 26 h 27"/>
                  <a:gd name="T2" fmla="*/ 0 w 35"/>
                  <a:gd name="T3" fmla="*/ 26 h 27"/>
                  <a:gd name="T4" fmla="*/ 0 w 35"/>
                  <a:gd name="T5" fmla="*/ 22 h 27"/>
                  <a:gd name="T6" fmla="*/ 0 w 35"/>
                  <a:gd name="T7" fmla="*/ 22 h 27"/>
                  <a:gd name="T8" fmla="*/ 3 w 35"/>
                  <a:gd name="T9" fmla="*/ 21 h 27"/>
                  <a:gd name="T10" fmla="*/ 3 w 35"/>
                  <a:gd name="T11" fmla="*/ 18 h 27"/>
                  <a:gd name="T12" fmla="*/ 4 w 35"/>
                  <a:gd name="T13" fmla="*/ 16 h 27"/>
                  <a:gd name="T14" fmla="*/ 8 w 35"/>
                  <a:gd name="T15" fmla="*/ 13 h 27"/>
                  <a:gd name="T16" fmla="*/ 9 w 35"/>
                  <a:gd name="T17" fmla="*/ 12 h 27"/>
                  <a:gd name="T18" fmla="*/ 12 w 35"/>
                  <a:gd name="T19" fmla="*/ 7 h 27"/>
                  <a:gd name="T20" fmla="*/ 12 w 35"/>
                  <a:gd name="T21" fmla="*/ 7 h 27"/>
                  <a:gd name="T22" fmla="*/ 17 w 35"/>
                  <a:gd name="T23" fmla="*/ 4 h 27"/>
                  <a:gd name="T24" fmla="*/ 19 w 35"/>
                  <a:gd name="T25" fmla="*/ 4 h 27"/>
                  <a:gd name="T26" fmla="*/ 22 w 35"/>
                  <a:gd name="T27" fmla="*/ 3 h 27"/>
                  <a:gd name="T28" fmla="*/ 27 w 35"/>
                  <a:gd name="T29" fmla="*/ 0 h 27"/>
                  <a:gd name="T30" fmla="*/ 27 w 35"/>
                  <a:gd name="T31" fmla="*/ 0 h 27"/>
                  <a:gd name="T32" fmla="*/ 29 w 35"/>
                  <a:gd name="T33" fmla="*/ 0 h 27"/>
                  <a:gd name="T34" fmla="*/ 32 w 35"/>
                  <a:gd name="T35" fmla="*/ 0 h 27"/>
                  <a:gd name="T36" fmla="*/ 32 w 35"/>
                  <a:gd name="T37" fmla="*/ 0 h 27"/>
                  <a:gd name="T38" fmla="*/ 32 w 35"/>
                  <a:gd name="T39" fmla="*/ 0 h 27"/>
                  <a:gd name="T40" fmla="*/ 34 w 35"/>
                  <a:gd name="T41" fmla="*/ 3 h 27"/>
                  <a:gd name="T42" fmla="*/ 32 w 35"/>
                  <a:gd name="T43" fmla="*/ 4 h 27"/>
                  <a:gd name="T44" fmla="*/ 32 w 35"/>
                  <a:gd name="T45" fmla="*/ 4 h 27"/>
                  <a:gd name="T46" fmla="*/ 29 w 35"/>
                  <a:gd name="T47" fmla="*/ 7 h 27"/>
                  <a:gd name="T48" fmla="*/ 29 w 35"/>
                  <a:gd name="T49" fmla="*/ 9 h 27"/>
                  <a:gd name="T50" fmla="*/ 27 w 35"/>
                  <a:gd name="T51" fmla="*/ 12 h 27"/>
                  <a:gd name="T52" fmla="*/ 24 w 35"/>
                  <a:gd name="T53" fmla="*/ 13 h 27"/>
                  <a:gd name="T54" fmla="*/ 19 w 35"/>
                  <a:gd name="T55" fmla="*/ 16 h 27"/>
                  <a:gd name="T56" fmla="*/ 19 w 35"/>
                  <a:gd name="T57" fmla="*/ 16 h 27"/>
                  <a:gd name="T58" fmla="*/ 17 w 35"/>
                  <a:gd name="T59" fmla="*/ 18 h 27"/>
                  <a:gd name="T60" fmla="*/ 14 w 35"/>
                  <a:gd name="T61" fmla="*/ 21 h 27"/>
                  <a:gd name="T62" fmla="*/ 9 w 35"/>
                  <a:gd name="T63" fmla="*/ 22 h 27"/>
                  <a:gd name="T64" fmla="*/ 8 w 35"/>
                  <a:gd name="T65" fmla="*/ 22 h 27"/>
                  <a:gd name="T66" fmla="*/ 4 w 35"/>
                  <a:gd name="T67" fmla="*/ 26 h 27"/>
                  <a:gd name="T68" fmla="*/ 3 w 35"/>
                  <a:gd name="T69" fmla="*/ 26 h 27"/>
                  <a:gd name="T70" fmla="*/ 3 w 35"/>
                  <a:gd name="T71" fmla="*/ 26 h 27"/>
                  <a:gd name="T72" fmla="*/ 0 w 35"/>
                  <a:gd name="T73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5" h="27">
                    <a:moveTo>
                      <a:pt x="0" y="26"/>
                    </a:move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3" y="21"/>
                    </a:lnTo>
                    <a:lnTo>
                      <a:pt x="3" y="18"/>
                    </a:lnTo>
                    <a:lnTo>
                      <a:pt x="4" y="16"/>
                    </a:lnTo>
                    <a:lnTo>
                      <a:pt x="8" y="13"/>
                    </a:lnTo>
                    <a:lnTo>
                      <a:pt x="9" y="12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22" y="3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4" y="3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9" y="7"/>
                    </a:lnTo>
                    <a:lnTo>
                      <a:pt x="29" y="9"/>
                    </a:lnTo>
                    <a:lnTo>
                      <a:pt x="27" y="12"/>
                    </a:lnTo>
                    <a:lnTo>
                      <a:pt x="24" y="13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7" y="18"/>
                    </a:lnTo>
                    <a:lnTo>
                      <a:pt x="14" y="21"/>
                    </a:lnTo>
                    <a:lnTo>
                      <a:pt x="9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0" y="26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1" name="Freeform 176"/>
              <p:cNvSpPr>
                <a:spLocks/>
              </p:cNvSpPr>
              <p:nvPr/>
            </p:nvSpPr>
            <p:spPr bwMode="auto">
              <a:xfrm>
                <a:off x="936835" y="6059176"/>
                <a:ext cx="45976" cy="44625"/>
              </a:xfrm>
              <a:custGeom>
                <a:avLst/>
                <a:gdLst>
                  <a:gd name="T0" fmla="*/ 0 w 26"/>
                  <a:gd name="T1" fmla="*/ 10 h 26"/>
                  <a:gd name="T2" fmla="*/ 0 w 26"/>
                  <a:gd name="T3" fmla="*/ 7 h 26"/>
                  <a:gd name="T4" fmla="*/ 2 w 26"/>
                  <a:gd name="T5" fmla="*/ 2 h 26"/>
                  <a:gd name="T6" fmla="*/ 5 w 26"/>
                  <a:gd name="T7" fmla="*/ 0 h 26"/>
                  <a:gd name="T8" fmla="*/ 12 w 26"/>
                  <a:gd name="T9" fmla="*/ 0 h 26"/>
                  <a:gd name="T10" fmla="*/ 17 w 26"/>
                  <a:gd name="T11" fmla="*/ 0 h 26"/>
                  <a:gd name="T12" fmla="*/ 20 w 26"/>
                  <a:gd name="T13" fmla="*/ 2 h 26"/>
                  <a:gd name="T14" fmla="*/ 25 w 26"/>
                  <a:gd name="T15" fmla="*/ 7 h 26"/>
                  <a:gd name="T16" fmla="*/ 25 w 26"/>
                  <a:gd name="T17" fmla="*/ 10 h 26"/>
                  <a:gd name="T18" fmla="*/ 25 w 26"/>
                  <a:gd name="T19" fmla="*/ 17 h 26"/>
                  <a:gd name="T20" fmla="*/ 20 w 26"/>
                  <a:gd name="T21" fmla="*/ 22 h 26"/>
                  <a:gd name="T22" fmla="*/ 17 w 26"/>
                  <a:gd name="T23" fmla="*/ 22 h 26"/>
                  <a:gd name="T24" fmla="*/ 12 w 26"/>
                  <a:gd name="T25" fmla="*/ 25 h 26"/>
                  <a:gd name="T26" fmla="*/ 5 w 26"/>
                  <a:gd name="T27" fmla="*/ 22 h 26"/>
                  <a:gd name="T28" fmla="*/ 2 w 26"/>
                  <a:gd name="T29" fmla="*/ 22 h 26"/>
                  <a:gd name="T30" fmla="*/ 0 w 26"/>
                  <a:gd name="T31" fmla="*/ 17 h 26"/>
                  <a:gd name="T32" fmla="*/ 0 w 26"/>
                  <a:gd name="T33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26">
                    <a:moveTo>
                      <a:pt x="0" y="10"/>
                    </a:move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5" y="7"/>
                    </a:lnTo>
                    <a:lnTo>
                      <a:pt x="25" y="10"/>
                    </a:lnTo>
                    <a:lnTo>
                      <a:pt x="25" y="17"/>
                    </a:lnTo>
                    <a:lnTo>
                      <a:pt x="20" y="22"/>
                    </a:lnTo>
                    <a:lnTo>
                      <a:pt x="17" y="22"/>
                    </a:lnTo>
                    <a:lnTo>
                      <a:pt x="12" y="25"/>
                    </a:lnTo>
                    <a:lnTo>
                      <a:pt x="5" y="22"/>
                    </a:lnTo>
                    <a:lnTo>
                      <a:pt x="2" y="22"/>
                    </a:lnTo>
                    <a:lnTo>
                      <a:pt x="0" y="17"/>
                    </a:lnTo>
                    <a:lnTo>
                      <a:pt x="0" y="1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2" name="Freeform 177"/>
              <p:cNvSpPr>
                <a:spLocks/>
              </p:cNvSpPr>
              <p:nvPr/>
            </p:nvSpPr>
            <p:spPr bwMode="auto">
              <a:xfrm>
                <a:off x="936835" y="6059176"/>
                <a:ext cx="45976" cy="44625"/>
              </a:xfrm>
              <a:custGeom>
                <a:avLst/>
                <a:gdLst>
                  <a:gd name="T0" fmla="*/ 0 w 26"/>
                  <a:gd name="T1" fmla="*/ 10 h 26"/>
                  <a:gd name="T2" fmla="*/ 0 w 26"/>
                  <a:gd name="T3" fmla="*/ 10 h 26"/>
                  <a:gd name="T4" fmla="*/ 0 w 26"/>
                  <a:gd name="T5" fmla="*/ 7 h 26"/>
                  <a:gd name="T6" fmla="*/ 2 w 26"/>
                  <a:gd name="T7" fmla="*/ 2 h 26"/>
                  <a:gd name="T8" fmla="*/ 5 w 26"/>
                  <a:gd name="T9" fmla="*/ 0 h 26"/>
                  <a:gd name="T10" fmla="*/ 12 w 26"/>
                  <a:gd name="T11" fmla="*/ 0 h 26"/>
                  <a:gd name="T12" fmla="*/ 12 w 26"/>
                  <a:gd name="T13" fmla="*/ 0 h 26"/>
                  <a:gd name="T14" fmla="*/ 17 w 26"/>
                  <a:gd name="T15" fmla="*/ 0 h 26"/>
                  <a:gd name="T16" fmla="*/ 20 w 26"/>
                  <a:gd name="T17" fmla="*/ 2 h 26"/>
                  <a:gd name="T18" fmla="*/ 25 w 26"/>
                  <a:gd name="T19" fmla="*/ 7 h 26"/>
                  <a:gd name="T20" fmla="*/ 25 w 26"/>
                  <a:gd name="T21" fmla="*/ 10 h 26"/>
                  <a:gd name="T22" fmla="*/ 25 w 26"/>
                  <a:gd name="T23" fmla="*/ 10 h 26"/>
                  <a:gd name="T24" fmla="*/ 25 w 26"/>
                  <a:gd name="T25" fmla="*/ 17 h 26"/>
                  <a:gd name="T26" fmla="*/ 20 w 26"/>
                  <a:gd name="T27" fmla="*/ 22 h 26"/>
                  <a:gd name="T28" fmla="*/ 17 w 26"/>
                  <a:gd name="T29" fmla="*/ 22 h 26"/>
                  <a:gd name="T30" fmla="*/ 12 w 26"/>
                  <a:gd name="T31" fmla="*/ 25 h 26"/>
                  <a:gd name="T32" fmla="*/ 12 w 26"/>
                  <a:gd name="T33" fmla="*/ 25 h 26"/>
                  <a:gd name="T34" fmla="*/ 5 w 26"/>
                  <a:gd name="T35" fmla="*/ 22 h 26"/>
                  <a:gd name="T36" fmla="*/ 2 w 26"/>
                  <a:gd name="T37" fmla="*/ 22 h 26"/>
                  <a:gd name="T38" fmla="*/ 0 w 26"/>
                  <a:gd name="T39" fmla="*/ 17 h 26"/>
                  <a:gd name="T40" fmla="*/ 0 w 26"/>
                  <a:gd name="T4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7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5" y="7"/>
                    </a:lnTo>
                    <a:lnTo>
                      <a:pt x="25" y="10"/>
                    </a:lnTo>
                    <a:lnTo>
                      <a:pt x="25" y="10"/>
                    </a:lnTo>
                    <a:lnTo>
                      <a:pt x="25" y="17"/>
                    </a:lnTo>
                    <a:lnTo>
                      <a:pt x="20" y="22"/>
                    </a:lnTo>
                    <a:lnTo>
                      <a:pt x="17" y="22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5" y="22"/>
                    </a:lnTo>
                    <a:lnTo>
                      <a:pt x="2" y="22"/>
                    </a:lnTo>
                    <a:lnTo>
                      <a:pt x="0" y="17"/>
                    </a:lnTo>
                    <a:lnTo>
                      <a:pt x="0" y="1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3" name="Freeform 178"/>
              <p:cNvSpPr>
                <a:spLocks/>
              </p:cNvSpPr>
              <p:nvPr/>
            </p:nvSpPr>
            <p:spPr bwMode="auto">
              <a:xfrm>
                <a:off x="418717" y="6177603"/>
                <a:ext cx="45976" cy="44625"/>
              </a:xfrm>
              <a:custGeom>
                <a:avLst/>
                <a:gdLst>
                  <a:gd name="T0" fmla="*/ 0 w 26"/>
                  <a:gd name="T1" fmla="*/ 14 h 26"/>
                  <a:gd name="T2" fmla="*/ 0 w 26"/>
                  <a:gd name="T3" fmla="*/ 10 h 26"/>
                  <a:gd name="T4" fmla="*/ 2 w 26"/>
                  <a:gd name="T5" fmla="*/ 3 h 26"/>
                  <a:gd name="T6" fmla="*/ 8 w 26"/>
                  <a:gd name="T7" fmla="*/ 0 h 26"/>
                  <a:gd name="T8" fmla="*/ 11 w 26"/>
                  <a:gd name="T9" fmla="*/ 0 h 26"/>
                  <a:gd name="T10" fmla="*/ 16 w 26"/>
                  <a:gd name="T11" fmla="*/ 0 h 26"/>
                  <a:gd name="T12" fmla="*/ 19 w 26"/>
                  <a:gd name="T13" fmla="*/ 3 h 26"/>
                  <a:gd name="T14" fmla="*/ 25 w 26"/>
                  <a:gd name="T15" fmla="*/ 10 h 26"/>
                  <a:gd name="T16" fmla="*/ 25 w 26"/>
                  <a:gd name="T17" fmla="*/ 14 h 26"/>
                  <a:gd name="T18" fmla="*/ 25 w 26"/>
                  <a:gd name="T19" fmla="*/ 21 h 26"/>
                  <a:gd name="T20" fmla="*/ 19 w 26"/>
                  <a:gd name="T21" fmla="*/ 25 h 26"/>
                  <a:gd name="T22" fmla="*/ 16 w 26"/>
                  <a:gd name="T23" fmla="*/ 25 h 26"/>
                  <a:gd name="T24" fmla="*/ 11 w 26"/>
                  <a:gd name="T25" fmla="*/ 25 h 26"/>
                  <a:gd name="T26" fmla="*/ 8 w 26"/>
                  <a:gd name="T27" fmla="*/ 25 h 26"/>
                  <a:gd name="T28" fmla="*/ 2 w 26"/>
                  <a:gd name="T29" fmla="*/ 25 h 26"/>
                  <a:gd name="T30" fmla="*/ 0 w 26"/>
                  <a:gd name="T31" fmla="*/ 21 h 26"/>
                  <a:gd name="T32" fmla="*/ 0 w 26"/>
                  <a:gd name="T33" fmla="*/ 1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26">
                    <a:moveTo>
                      <a:pt x="0" y="14"/>
                    </a:moveTo>
                    <a:lnTo>
                      <a:pt x="0" y="10"/>
                    </a:lnTo>
                    <a:lnTo>
                      <a:pt x="2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19" y="3"/>
                    </a:lnTo>
                    <a:lnTo>
                      <a:pt x="25" y="10"/>
                    </a:lnTo>
                    <a:lnTo>
                      <a:pt x="25" y="14"/>
                    </a:lnTo>
                    <a:lnTo>
                      <a:pt x="25" y="21"/>
                    </a:lnTo>
                    <a:lnTo>
                      <a:pt x="19" y="25"/>
                    </a:lnTo>
                    <a:lnTo>
                      <a:pt x="16" y="25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2" y="25"/>
                    </a:lnTo>
                    <a:lnTo>
                      <a:pt x="0" y="21"/>
                    </a:lnTo>
                    <a:lnTo>
                      <a:pt x="0" y="14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4" name="Freeform 179"/>
              <p:cNvSpPr>
                <a:spLocks/>
              </p:cNvSpPr>
              <p:nvPr/>
            </p:nvSpPr>
            <p:spPr bwMode="auto">
              <a:xfrm>
                <a:off x="418717" y="6182752"/>
                <a:ext cx="45976" cy="44625"/>
              </a:xfrm>
              <a:custGeom>
                <a:avLst/>
                <a:gdLst>
                  <a:gd name="T0" fmla="*/ 0 w 26"/>
                  <a:gd name="T1" fmla="*/ 14 h 26"/>
                  <a:gd name="T2" fmla="*/ 0 w 26"/>
                  <a:gd name="T3" fmla="*/ 14 h 26"/>
                  <a:gd name="T4" fmla="*/ 0 w 26"/>
                  <a:gd name="T5" fmla="*/ 10 h 26"/>
                  <a:gd name="T6" fmla="*/ 2 w 26"/>
                  <a:gd name="T7" fmla="*/ 3 h 26"/>
                  <a:gd name="T8" fmla="*/ 8 w 26"/>
                  <a:gd name="T9" fmla="*/ 0 h 26"/>
                  <a:gd name="T10" fmla="*/ 11 w 26"/>
                  <a:gd name="T11" fmla="*/ 0 h 26"/>
                  <a:gd name="T12" fmla="*/ 11 w 26"/>
                  <a:gd name="T13" fmla="*/ 0 h 26"/>
                  <a:gd name="T14" fmla="*/ 16 w 26"/>
                  <a:gd name="T15" fmla="*/ 0 h 26"/>
                  <a:gd name="T16" fmla="*/ 19 w 26"/>
                  <a:gd name="T17" fmla="*/ 3 h 26"/>
                  <a:gd name="T18" fmla="*/ 25 w 26"/>
                  <a:gd name="T19" fmla="*/ 10 h 26"/>
                  <a:gd name="T20" fmla="*/ 25 w 26"/>
                  <a:gd name="T21" fmla="*/ 14 h 26"/>
                  <a:gd name="T22" fmla="*/ 25 w 26"/>
                  <a:gd name="T23" fmla="*/ 14 h 26"/>
                  <a:gd name="T24" fmla="*/ 25 w 26"/>
                  <a:gd name="T25" fmla="*/ 21 h 26"/>
                  <a:gd name="T26" fmla="*/ 19 w 26"/>
                  <a:gd name="T27" fmla="*/ 25 h 26"/>
                  <a:gd name="T28" fmla="*/ 16 w 26"/>
                  <a:gd name="T29" fmla="*/ 25 h 26"/>
                  <a:gd name="T30" fmla="*/ 11 w 26"/>
                  <a:gd name="T31" fmla="*/ 25 h 26"/>
                  <a:gd name="T32" fmla="*/ 11 w 26"/>
                  <a:gd name="T33" fmla="*/ 25 h 26"/>
                  <a:gd name="T34" fmla="*/ 8 w 26"/>
                  <a:gd name="T35" fmla="*/ 25 h 26"/>
                  <a:gd name="T36" fmla="*/ 2 w 26"/>
                  <a:gd name="T37" fmla="*/ 25 h 26"/>
                  <a:gd name="T38" fmla="*/ 0 w 26"/>
                  <a:gd name="T39" fmla="*/ 21 h 26"/>
                  <a:gd name="T40" fmla="*/ 0 w 26"/>
                  <a:gd name="T41" fmla="*/ 1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26">
                    <a:moveTo>
                      <a:pt x="0" y="14"/>
                    </a:moveTo>
                    <a:lnTo>
                      <a:pt x="0" y="14"/>
                    </a:lnTo>
                    <a:lnTo>
                      <a:pt x="0" y="10"/>
                    </a:lnTo>
                    <a:lnTo>
                      <a:pt x="2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19" y="3"/>
                    </a:lnTo>
                    <a:lnTo>
                      <a:pt x="25" y="10"/>
                    </a:lnTo>
                    <a:lnTo>
                      <a:pt x="25" y="14"/>
                    </a:lnTo>
                    <a:lnTo>
                      <a:pt x="25" y="14"/>
                    </a:lnTo>
                    <a:lnTo>
                      <a:pt x="25" y="21"/>
                    </a:lnTo>
                    <a:lnTo>
                      <a:pt x="19" y="25"/>
                    </a:lnTo>
                    <a:lnTo>
                      <a:pt x="16" y="25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2" y="25"/>
                    </a:lnTo>
                    <a:lnTo>
                      <a:pt x="0" y="21"/>
                    </a:lnTo>
                    <a:lnTo>
                      <a:pt x="0" y="14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5" name="Freeform 180"/>
              <p:cNvSpPr>
                <a:spLocks/>
              </p:cNvSpPr>
              <p:nvPr/>
            </p:nvSpPr>
            <p:spPr bwMode="auto">
              <a:xfrm>
                <a:off x="546036" y="6187901"/>
                <a:ext cx="45976" cy="44625"/>
              </a:xfrm>
              <a:custGeom>
                <a:avLst/>
                <a:gdLst>
                  <a:gd name="T0" fmla="*/ 0 w 26"/>
                  <a:gd name="T1" fmla="*/ 15 h 26"/>
                  <a:gd name="T2" fmla="*/ 0 w 26"/>
                  <a:gd name="T3" fmla="*/ 9 h 26"/>
                  <a:gd name="T4" fmla="*/ 3 w 26"/>
                  <a:gd name="T5" fmla="*/ 6 h 26"/>
                  <a:gd name="T6" fmla="*/ 8 w 26"/>
                  <a:gd name="T7" fmla="*/ 0 h 26"/>
                  <a:gd name="T8" fmla="*/ 10 w 26"/>
                  <a:gd name="T9" fmla="*/ 0 h 26"/>
                  <a:gd name="T10" fmla="*/ 16 w 26"/>
                  <a:gd name="T11" fmla="*/ 0 h 26"/>
                  <a:gd name="T12" fmla="*/ 19 w 26"/>
                  <a:gd name="T13" fmla="*/ 6 h 26"/>
                  <a:gd name="T14" fmla="*/ 21 w 26"/>
                  <a:gd name="T15" fmla="*/ 9 h 26"/>
                  <a:gd name="T16" fmla="*/ 25 w 26"/>
                  <a:gd name="T17" fmla="*/ 15 h 26"/>
                  <a:gd name="T18" fmla="*/ 21 w 26"/>
                  <a:gd name="T19" fmla="*/ 18 h 26"/>
                  <a:gd name="T20" fmla="*/ 19 w 26"/>
                  <a:gd name="T21" fmla="*/ 18 h 26"/>
                  <a:gd name="T22" fmla="*/ 16 w 26"/>
                  <a:gd name="T23" fmla="*/ 25 h 26"/>
                  <a:gd name="T24" fmla="*/ 10 w 26"/>
                  <a:gd name="T25" fmla="*/ 25 h 26"/>
                  <a:gd name="T26" fmla="*/ 8 w 26"/>
                  <a:gd name="T27" fmla="*/ 25 h 26"/>
                  <a:gd name="T28" fmla="*/ 3 w 26"/>
                  <a:gd name="T29" fmla="*/ 18 h 26"/>
                  <a:gd name="T30" fmla="*/ 0 w 26"/>
                  <a:gd name="T31" fmla="*/ 18 h 26"/>
                  <a:gd name="T32" fmla="*/ 0 w 26"/>
                  <a:gd name="T33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26">
                    <a:moveTo>
                      <a:pt x="0" y="15"/>
                    </a:moveTo>
                    <a:lnTo>
                      <a:pt x="0" y="9"/>
                    </a:lnTo>
                    <a:lnTo>
                      <a:pt x="3" y="6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19" y="6"/>
                    </a:lnTo>
                    <a:lnTo>
                      <a:pt x="21" y="9"/>
                    </a:lnTo>
                    <a:lnTo>
                      <a:pt x="25" y="15"/>
                    </a:lnTo>
                    <a:lnTo>
                      <a:pt x="21" y="18"/>
                    </a:lnTo>
                    <a:lnTo>
                      <a:pt x="19" y="18"/>
                    </a:lnTo>
                    <a:lnTo>
                      <a:pt x="16" y="25"/>
                    </a:lnTo>
                    <a:lnTo>
                      <a:pt x="10" y="25"/>
                    </a:lnTo>
                    <a:lnTo>
                      <a:pt x="8" y="25"/>
                    </a:lnTo>
                    <a:lnTo>
                      <a:pt x="3" y="18"/>
                    </a:lnTo>
                    <a:lnTo>
                      <a:pt x="0" y="18"/>
                    </a:lnTo>
                    <a:lnTo>
                      <a:pt x="0" y="15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6" name="Freeform 181"/>
              <p:cNvSpPr>
                <a:spLocks/>
              </p:cNvSpPr>
              <p:nvPr/>
            </p:nvSpPr>
            <p:spPr bwMode="auto">
              <a:xfrm>
                <a:off x="546036" y="6186185"/>
                <a:ext cx="45976" cy="44625"/>
              </a:xfrm>
              <a:custGeom>
                <a:avLst/>
                <a:gdLst>
                  <a:gd name="T0" fmla="*/ 0 w 26"/>
                  <a:gd name="T1" fmla="*/ 15 h 26"/>
                  <a:gd name="T2" fmla="*/ 0 w 26"/>
                  <a:gd name="T3" fmla="*/ 15 h 26"/>
                  <a:gd name="T4" fmla="*/ 0 w 26"/>
                  <a:gd name="T5" fmla="*/ 9 h 26"/>
                  <a:gd name="T6" fmla="*/ 3 w 26"/>
                  <a:gd name="T7" fmla="*/ 6 h 26"/>
                  <a:gd name="T8" fmla="*/ 8 w 26"/>
                  <a:gd name="T9" fmla="*/ 0 h 26"/>
                  <a:gd name="T10" fmla="*/ 10 w 26"/>
                  <a:gd name="T11" fmla="*/ 0 h 26"/>
                  <a:gd name="T12" fmla="*/ 10 w 26"/>
                  <a:gd name="T13" fmla="*/ 0 h 26"/>
                  <a:gd name="T14" fmla="*/ 16 w 26"/>
                  <a:gd name="T15" fmla="*/ 0 h 26"/>
                  <a:gd name="T16" fmla="*/ 19 w 26"/>
                  <a:gd name="T17" fmla="*/ 6 h 26"/>
                  <a:gd name="T18" fmla="*/ 21 w 26"/>
                  <a:gd name="T19" fmla="*/ 9 h 26"/>
                  <a:gd name="T20" fmla="*/ 25 w 26"/>
                  <a:gd name="T21" fmla="*/ 15 h 26"/>
                  <a:gd name="T22" fmla="*/ 25 w 26"/>
                  <a:gd name="T23" fmla="*/ 15 h 26"/>
                  <a:gd name="T24" fmla="*/ 21 w 26"/>
                  <a:gd name="T25" fmla="*/ 18 h 26"/>
                  <a:gd name="T26" fmla="*/ 19 w 26"/>
                  <a:gd name="T27" fmla="*/ 18 h 26"/>
                  <a:gd name="T28" fmla="*/ 16 w 26"/>
                  <a:gd name="T29" fmla="*/ 25 h 26"/>
                  <a:gd name="T30" fmla="*/ 10 w 26"/>
                  <a:gd name="T31" fmla="*/ 25 h 26"/>
                  <a:gd name="T32" fmla="*/ 10 w 26"/>
                  <a:gd name="T33" fmla="*/ 25 h 26"/>
                  <a:gd name="T34" fmla="*/ 8 w 26"/>
                  <a:gd name="T35" fmla="*/ 25 h 26"/>
                  <a:gd name="T36" fmla="*/ 3 w 26"/>
                  <a:gd name="T37" fmla="*/ 18 h 26"/>
                  <a:gd name="T38" fmla="*/ 0 w 26"/>
                  <a:gd name="T39" fmla="*/ 18 h 26"/>
                  <a:gd name="T40" fmla="*/ 0 w 26"/>
                  <a:gd name="T41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26">
                    <a:moveTo>
                      <a:pt x="0" y="15"/>
                    </a:moveTo>
                    <a:lnTo>
                      <a:pt x="0" y="15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19" y="6"/>
                    </a:lnTo>
                    <a:lnTo>
                      <a:pt x="21" y="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1" y="18"/>
                    </a:lnTo>
                    <a:lnTo>
                      <a:pt x="19" y="18"/>
                    </a:lnTo>
                    <a:lnTo>
                      <a:pt x="16" y="25"/>
                    </a:lnTo>
                    <a:lnTo>
                      <a:pt x="10" y="25"/>
                    </a:lnTo>
                    <a:lnTo>
                      <a:pt x="10" y="25"/>
                    </a:lnTo>
                    <a:lnTo>
                      <a:pt x="8" y="25"/>
                    </a:lnTo>
                    <a:lnTo>
                      <a:pt x="3" y="18"/>
                    </a:lnTo>
                    <a:lnTo>
                      <a:pt x="0" y="18"/>
                    </a:lnTo>
                    <a:lnTo>
                      <a:pt x="0" y="15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7" name="Freeform 182"/>
              <p:cNvSpPr>
                <a:spLocks/>
              </p:cNvSpPr>
              <p:nvPr/>
            </p:nvSpPr>
            <p:spPr bwMode="auto">
              <a:xfrm>
                <a:off x="360363" y="6165589"/>
                <a:ext cx="45976" cy="46341"/>
              </a:xfrm>
              <a:custGeom>
                <a:avLst/>
                <a:gdLst>
                  <a:gd name="T0" fmla="*/ 0 w 26"/>
                  <a:gd name="T1" fmla="*/ 11 h 27"/>
                  <a:gd name="T2" fmla="*/ 0 w 26"/>
                  <a:gd name="T3" fmla="*/ 2 h 27"/>
                  <a:gd name="T4" fmla="*/ 3 w 26"/>
                  <a:gd name="T5" fmla="*/ 2 h 27"/>
                  <a:gd name="T6" fmla="*/ 3 w 26"/>
                  <a:gd name="T7" fmla="*/ 0 h 27"/>
                  <a:gd name="T8" fmla="*/ 10 w 26"/>
                  <a:gd name="T9" fmla="*/ 0 h 27"/>
                  <a:gd name="T10" fmla="*/ 14 w 26"/>
                  <a:gd name="T11" fmla="*/ 0 h 27"/>
                  <a:gd name="T12" fmla="*/ 21 w 26"/>
                  <a:gd name="T13" fmla="*/ 2 h 27"/>
                  <a:gd name="T14" fmla="*/ 25 w 26"/>
                  <a:gd name="T15" fmla="*/ 2 h 27"/>
                  <a:gd name="T16" fmla="*/ 25 w 26"/>
                  <a:gd name="T17" fmla="*/ 11 h 27"/>
                  <a:gd name="T18" fmla="*/ 25 w 26"/>
                  <a:gd name="T19" fmla="*/ 17 h 27"/>
                  <a:gd name="T20" fmla="*/ 21 w 26"/>
                  <a:gd name="T21" fmla="*/ 20 h 27"/>
                  <a:gd name="T22" fmla="*/ 14 w 26"/>
                  <a:gd name="T23" fmla="*/ 26 h 27"/>
                  <a:gd name="T24" fmla="*/ 10 w 26"/>
                  <a:gd name="T25" fmla="*/ 26 h 27"/>
                  <a:gd name="T26" fmla="*/ 3 w 26"/>
                  <a:gd name="T27" fmla="*/ 26 h 27"/>
                  <a:gd name="T28" fmla="*/ 3 w 26"/>
                  <a:gd name="T29" fmla="*/ 20 h 27"/>
                  <a:gd name="T30" fmla="*/ 0 w 26"/>
                  <a:gd name="T31" fmla="*/ 17 h 27"/>
                  <a:gd name="T32" fmla="*/ 0 w 26"/>
                  <a:gd name="T33" fmla="*/ 1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27">
                    <a:moveTo>
                      <a:pt x="0" y="11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1" y="2"/>
                    </a:lnTo>
                    <a:lnTo>
                      <a:pt x="25" y="2"/>
                    </a:lnTo>
                    <a:lnTo>
                      <a:pt x="25" y="11"/>
                    </a:lnTo>
                    <a:lnTo>
                      <a:pt x="25" y="17"/>
                    </a:lnTo>
                    <a:lnTo>
                      <a:pt x="21" y="2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8" name="Freeform 183"/>
              <p:cNvSpPr>
                <a:spLocks/>
              </p:cNvSpPr>
              <p:nvPr/>
            </p:nvSpPr>
            <p:spPr bwMode="auto">
              <a:xfrm>
                <a:off x="360363" y="6165589"/>
                <a:ext cx="45976" cy="46341"/>
              </a:xfrm>
              <a:custGeom>
                <a:avLst/>
                <a:gdLst>
                  <a:gd name="T0" fmla="*/ 0 w 26"/>
                  <a:gd name="T1" fmla="*/ 11 h 27"/>
                  <a:gd name="T2" fmla="*/ 0 w 26"/>
                  <a:gd name="T3" fmla="*/ 11 h 27"/>
                  <a:gd name="T4" fmla="*/ 0 w 26"/>
                  <a:gd name="T5" fmla="*/ 2 h 27"/>
                  <a:gd name="T6" fmla="*/ 3 w 26"/>
                  <a:gd name="T7" fmla="*/ 2 h 27"/>
                  <a:gd name="T8" fmla="*/ 3 w 26"/>
                  <a:gd name="T9" fmla="*/ 0 h 27"/>
                  <a:gd name="T10" fmla="*/ 10 w 26"/>
                  <a:gd name="T11" fmla="*/ 0 h 27"/>
                  <a:gd name="T12" fmla="*/ 10 w 26"/>
                  <a:gd name="T13" fmla="*/ 0 h 27"/>
                  <a:gd name="T14" fmla="*/ 14 w 26"/>
                  <a:gd name="T15" fmla="*/ 0 h 27"/>
                  <a:gd name="T16" fmla="*/ 21 w 26"/>
                  <a:gd name="T17" fmla="*/ 2 h 27"/>
                  <a:gd name="T18" fmla="*/ 25 w 26"/>
                  <a:gd name="T19" fmla="*/ 2 h 27"/>
                  <a:gd name="T20" fmla="*/ 25 w 26"/>
                  <a:gd name="T21" fmla="*/ 11 h 27"/>
                  <a:gd name="T22" fmla="*/ 25 w 26"/>
                  <a:gd name="T23" fmla="*/ 11 h 27"/>
                  <a:gd name="T24" fmla="*/ 25 w 26"/>
                  <a:gd name="T25" fmla="*/ 17 h 27"/>
                  <a:gd name="T26" fmla="*/ 21 w 26"/>
                  <a:gd name="T27" fmla="*/ 20 h 27"/>
                  <a:gd name="T28" fmla="*/ 14 w 26"/>
                  <a:gd name="T29" fmla="*/ 26 h 27"/>
                  <a:gd name="T30" fmla="*/ 10 w 26"/>
                  <a:gd name="T31" fmla="*/ 26 h 27"/>
                  <a:gd name="T32" fmla="*/ 10 w 26"/>
                  <a:gd name="T33" fmla="*/ 26 h 27"/>
                  <a:gd name="T34" fmla="*/ 3 w 26"/>
                  <a:gd name="T35" fmla="*/ 26 h 27"/>
                  <a:gd name="T36" fmla="*/ 3 w 26"/>
                  <a:gd name="T37" fmla="*/ 20 h 27"/>
                  <a:gd name="T38" fmla="*/ 0 w 26"/>
                  <a:gd name="T39" fmla="*/ 17 h 27"/>
                  <a:gd name="T40" fmla="*/ 0 w 26"/>
                  <a:gd name="T41" fmla="*/ 1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27">
                    <a:moveTo>
                      <a:pt x="0" y="11"/>
                    </a:moveTo>
                    <a:lnTo>
                      <a:pt x="0" y="11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1" y="2"/>
                    </a:lnTo>
                    <a:lnTo>
                      <a:pt x="25" y="2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5" y="17"/>
                    </a:lnTo>
                    <a:lnTo>
                      <a:pt x="21" y="2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9" name="Freeform 184"/>
              <p:cNvSpPr>
                <a:spLocks/>
              </p:cNvSpPr>
              <p:nvPr/>
            </p:nvSpPr>
            <p:spPr bwMode="auto">
              <a:xfrm>
                <a:off x="1092447" y="6038580"/>
                <a:ext cx="45976" cy="46341"/>
              </a:xfrm>
              <a:custGeom>
                <a:avLst/>
                <a:gdLst>
                  <a:gd name="T0" fmla="*/ 0 w 26"/>
                  <a:gd name="T1" fmla="*/ 13 h 27"/>
                  <a:gd name="T2" fmla="*/ 0 w 26"/>
                  <a:gd name="T3" fmla="*/ 6 h 27"/>
                  <a:gd name="T4" fmla="*/ 4 w 26"/>
                  <a:gd name="T5" fmla="*/ 3 h 27"/>
                  <a:gd name="T6" fmla="*/ 4 w 26"/>
                  <a:gd name="T7" fmla="*/ 0 h 27"/>
                  <a:gd name="T8" fmla="*/ 12 w 26"/>
                  <a:gd name="T9" fmla="*/ 0 h 27"/>
                  <a:gd name="T10" fmla="*/ 16 w 26"/>
                  <a:gd name="T11" fmla="*/ 0 h 27"/>
                  <a:gd name="T12" fmla="*/ 25 w 26"/>
                  <a:gd name="T13" fmla="*/ 3 h 27"/>
                  <a:gd name="T14" fmla="*/ 25 w 26"/>
                  <a:gd name="T15" fmla="*/ 6 h 27"/>
                  <a:gd name="T16" fmla="*/ 25 w 26"/>
                  <a:gd name="T17" fmla="*/ 13 h 27"/>
                  <a:gd name="T18" fmla="*/ 25 w 26"/>
                  <a:gd name="T19" fmla="*/ 16 h 27"/>
                  <a:gd name="T20" fmla="*/ 25 w 26"/>
                  <a:gd name="T21" fmla="*/ 22 h 27"/>
                  <a:gd name="T22" fmla="*/ 16 w 26"/>
                  <a:gd name="T23" fmla="*/ 22 h 27"/>
                  <a:gd name="T24" fmla="*/ 12 w 26"/>
                  <a:gd name="T25" fmla="*/ 26 h 27"/>
                  <a:gd name="T26" fmla="*/ 4 w 26"/>
                  <a:gd name="T27" fmla="*/ 22 h 27"/>
                  <a:gd name="T28" fmla="*/ 4 w 26"/>
                  <a:gd name="T29" fmla="*/ 22 h 27"/>
                  <a:gd name="T30" fmla="*/ 0 w 26"/>
                  <a:gd name="T31" fmla="*/ 16 h 27"/>
                  <a:gd name="T32" fmla="*/ 0 w 26"/>
                  <a:gd name="T33" fmla="*/ 1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27">
                    <a:moveTo>
                      <a:pt x="0" y="13"/>
                    </a:moveTo>
                    <a:lnTo>
                      <a:pt x="0" y="6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25" y="3"/>
                    </a:lnTo>
                    <a:lnTo>
                      <a:pt x="25" y="6"/>
                    </a:lnTo>
                    <a:lnTo>
                      <a:pt x="25" y="13"/>
                    </a:lnTo>
                    <a:lnTo>
                      <a:pt x="25" y="16"/>
                    </a:lnTo>
                    <a:lnTo>
                      <a:pt x="25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16"/>
                    </a:lnTo>
                    <a:lnTo>
                      <a:pt x="0" y="13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0" name="Freeform 185"/>
              <p:cNvSpPr>
                <a:spLocks/>
              </p:cNvSpPr>
              <p:nvPr/>
            </p:nvSpPr>
            <p:spPr bwMode="auto">
              <a:xfrm>
                <a:off x="1092447" y="6038580"/>
                <a:ext cx="45976" cy="46341"/>
              </a:xfrm>
              <a:custGeom>
                <a:avLst/>
                <a:gdLst>
                  <a:gd name="T0" fmla="*/ 0 w 26"/>
                  <a:gd name="T1" fmla="*/ 13 h 27"/>
                  <a:gd name="T2" fmla="*/ 0 w 26"/>
                  <a:gd name="T3" fmla="*/ 13 h 27"/>
                  <a:gd name="T4" fmla="*/ 0 w 26"/>
                  <a:gd name="T5" fmla="*/ 6 h 27"/>
                  <a:gd name="T6" fmla="*/ 4 w 26"/>
                  <a:gd name="T7" fmla="*/ 3 h 27"/>
                  <a:gd name="T8" fmla="*/ 4 w 26"/>
                  <a:gd name="T9" fmla="*/ 0 h 27"/>
                  <a:gd name="T10" fmla="*/ 12 w 26"/>
                  <a:gd name="T11" fmla="*/ 0 h 27"/>
                  <a:gd name="T12" fmla="*/ 12 w 26"/>
                  <a:gd name="T13" fmla="*/ 0 h 27"/>
                  <a:gd name="T14" fmla="*/ 16 w 26"/>
                  <a:gd name="T15" fmla="*/ 0 h 27"/>
                  <a:gd name="T16" fmla="*/ 25 w 26"/>
                  <a:gd name="T17" fmla="*/ 3 h 27"/>
                  <a:gd name="T18" fmla="*/ 25 w 26"/>
                  <a:gd name="T19" fmla="*/ 6 h 27"/>
                  <a:gd name="T20" fmla="*/ 25 w 26"/>
                  <a:gd name="T21" fmla="*/ 13 h 27"/>
                  <a:gd name="T22" fmla="*/ 25 w 26"/>
                  <a:gd name="T23" fmla="*/ 13 h 27"/>
                  <a:gd name="T24" fmla="*/ 25 w 26"/>
                  <a:gd name="T25" fmla="*/ 16 h 27"/>
                  <a:gd name="T26" fmla="*/ 25 w 26"/>
                  <a:gd name="T27" fmla="*/ 22 h 27"/>
                  <a:gd name="T28" fmla="*/ 16 w 26"/>
                  <a:gd name="T29" fmla="*/ 22 h 27"/>
                  <a:gd name="T30" fmla="*/ 12 w 26"/>
                  <a:gd name="T31" fmla="*/ 26 h 27"/>
                  <a:gd name="T32" fmla="*/ 12 w 26"/>
                  <a:gd name="T33" fmla="*/ 26 h 27"/>
                  <a:gd name="T34" fmla="*/ 4 w 26"/>
                  <a:gd name="T35" fmla="*/ 22 h 27"/>
                  <a:gd name="T36" fmla="*/ 4 w 26"/>
                  <a:gd name="T37" fmla="*/ 22 h 27"/>
                  <a:gd name="T38" fmla="*/ 0 w 26"/>
                  <a:gd name="T39" fmla="*/ 16 h 27"/>
                  <a:gd name="T40" fmla="*/ 0 w 26"/>
                  <a:gd name="T41" fmla="*/ 1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27">
                    <a:moveTo>
                      <a:pt x="0" y="13"/>
                    </a:moveTo>
                    <a:lnTo>
                      <a:pt x="0" y="13"/>
                    </a:lnTo>
                    <a:lnTo>
                      <a:pt x="0" y="6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25" y="3"/>
                    </a:lnTo>
                    <a:lnTo>
                      <a:pt x="25" y="6"/>
                    </a:lnTo>
                    <a:lnTo>
                      <a:pt x="25" y="13"/>
                    </a:lnTo>
                    <a:lnTo>
                      <a:pt x="25" y="13"/>
                    </a:lnTo>
                    <a:lnTo>
                      <a:pt x="25" y="16"/>
                    </a:lnTo>
                    <a:lnTo>
                      <a:pt x="25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16"/>
                    </a:lnTo>
                    <a:lnTo>
                      <a:pt x="0" y="13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1" name="Freeform 186"/>
              <p:cNvSpPr>
                <a:spLocks/>
              </p:cNvSpPr>
              <p:nvPr/>
            </p:nvSpPr>
            <p:spPr bwMode="auto">
              <a:xfrm>
                <a:off x="878480" y="5697030"/>
                <a:ext cx="51281" cy="44625"/>
              </a:xfrm>
              <a:custGeom>
                <a:avLst/>
                <a:gdLst>
                  <a:gd name="T0" fmla="*/ 1 w 29"/>
                  <a:gd name="T1" fmla="*/ 1 h 26"/>
                  <a:gd name="T2" fmla="*/ 24 w 29"/>
                  <a:gd name="T3" fmla="*/ 0 h 26"/>
                  <a:gd name="T4" fmla="*/ 24 w 29"/>
                  <a:gd name="T5" fmla="*/ 1 h 26"/>
                  <a:gd name="T6" fmla="*/ 24 w 29"/>
                  <a:gd name="T7" fmla="*/ 5 h 26"/>
                  <a:gd name="T8" fmla="*/ 28 w 29"/>
                  <a:gd name="T9" fmla="*/ 7 h 26"/>
                  <a:gd name="T10" fmla="*/ 28 w 29"/>
                  <a:gd name="T11" fmla="*/ 13 h 26"/>
                  <a:gd name="T12" fmla="*/ 28 w 29"/>
                  <a:gd name="T13" fmla="*/ 17 h 26"/>
                  <a:gd name="T14" fmla="*/ 28 w 29"/>
                  <a:gd name="T15" fmla="*/ 23 h 26"/>
                  <a:gd name="T16" fmla="*/ 23 w 29"/>
                  <a:gd name="T17" fmla="*/ 25 h 26"/>
                  <a:gd name="T18" fmla="*/ 15 w 29"/>
                  <a:gd name="T19" fmla="*/ 25 h 26"/>
                  <a:gd name="T20" fmla="*/ 15 w 29"/>
                  <a:gd name="T21" fmla="*/ 25 h 26"/>
                  <a:gd name="T22" fmla="*/ 14 w 29"/>
                  <a:gd name="T23" fmla="*/ 23 h 26"/>
                  <a:gd name="T24" fmla="*/ 9 w 29"/>
                  <a:gd name="T25" fmla="*/ 19 h 26"/>
                  <a:gd name="T26" fmla="*/ 6 w 29"/>
                  <a:gd name="T27" fmla="*/ 17 h 26"/>
                  <a:gd name="T28" fmla="*/ 4 w 29"/>
                  <a:gd name="T29" fmla="*/ 13 h 26"/>
                  <a:gd name="T30" fmla="*/ 1 w 29"/>
                  <a:gd name="T31" fmla="*/ 11 h 26"/>
                  <a:gd name="T32" fmla="*/ 0 w 29"/>
                  <a:gd name="T33" fmla="*/ 11 h 26"/>
                  <a:gd name="T34" fmla="*/ 0 w 29"/>
                  <a:gd name="T35" fmla="*/ 11 h 26"/>
                  <a:gd name="T36" fmla="*/ 1 w 29"/>
                  <a:gd name="T37" fmla="*/ 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9" h="26">
                    <a:moveTo>
                      <a:pt x="1" y="1"/>
                    </a:moveTo>
                    <a:lnTo>
                      <a:pt x="24" y="0"/>
                    </a:lnTo>
                    <a:lnTo>
                      <a:pt x="24" y="1"/>
                    </a:lnTo>
                    <a:lnTo>
                      <a:pt x="24" y="5"/>
                    </a:lnTo>
                    <a:lnTo>
                      <a:pt x="28" y="7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8" y="23"/>
                    </a:lnTo>
                    <a:lnTo>
                      <a:pt x="23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4" y="23"/>
                    </a:lnTo>
                    <a:lnTo>
                      <a:pt x="9" y="19"/>
                    </a:lnTo>
                    <a:lnTo>
                      <a:pt x="6" y="17"/>
                    </a:lnTo>
                    <a:lnTo>
                      <a:pt x="4" y="13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2" name="Freeform 187"/>
              <p:cNvSpPr>
                <a:spLocks/>
              </p:cNvSpPr>
              <p:nvPr/>
            </p:nvSpPr>
            <p:spPr bwMode="auto">
              <a:xfrm>
                <a:off x="878480" y="5697030"/>
                <a:ext cx="51281" cy="44625"/>
              </a:xfrm>
              <a:custGeom>
                <a:avLst/>
                <a:gdLst>
                  <a:gd name="T0" fmla="*/ 1 w 29"/>
                  <a:gd name="T1" fmla="*/ 1 h 26"/>
                  <a:gd name="T2" fmla="*/ 24 w 29"/>
                  <a:gd name="T3" fmla="*/ 0 h 26"/>
                  <a:gd name="T4" fmla="*/ 24 w 29"/>
                  <a:gd name="T5" fmla="*/ 0 h 26"/>
                  <a:gd name="T6" fmla="*/ 24 w 29"/>
                  <a:gd name="T7" fmla="*/ 1 h 26"/>
                  <a:gd name="T8" fmla="*/ 24 w 29"/>
                  <a:gd name="T9" fmla="*/ 5 h 26"/>
                  <a:gd name="T10" fmla="*/ 28 w 29"/>
                  <a:gd name="T11" fmla="*/ 7 h 26"/>
                  <a:gd name="T12" fmla="*/ 28 w 29"/>
                  <a:gd name="T13" fmla="*/ 13 h 26"/>
                  <a:gd name="T14" fmla="*/ 28 w 29"/>
                  <a:gd name="T15" fmla="*/ 17 h 26"/>
                  <a:gd name="T16" fmla="*/ 28 w 29"/>
                  <a:gd name="T17" fmla="*/ 23 h 26"/>
                  <a:gd name="T18" fmla="*/ 23 w 29"/>
                  <a:gd name="T19" fmla="*/ 25 h 26"/>
                  <a:gd name="T20" fmla="*/ 15 w 29"/>
                  <a:gd name="T21" fmla="*/ 25 h 26"/>
                  <a:gd name="T22" fmla="*/ 15 w 29"/>
                  <a:gd name="T23" fmla="*/ 25 h 26"/>
                  <a:gd name="T24" fmla="*/ 15 w 29"/>
                  <a:gd name="T25" fmla="*/ 25 h 26"/>
                  <a:gd name="T26" fmla="*/ 14 w 29"/>
                  <a:gd name="T27" fmla="*/ 23 h 26"/>
                  <a:gd name="T28" fmla="*/ 9 w 29"/>
                  <a:gd name="T29" fmla="*/ 19 h 26"/>
                  <a:gd name="T30" fmla="*/ 6 w 29"/>
                  <a:gd name="T31" fmla="*/ 17 h 26"/>
                  <a:gd name="T32" fmla="*/ 4 w 29"/>
                  <a:gd name="T33" fmla="*/ 13 h 26"/>
                  <a:gd name="T34" fmla="*/ 1 w 29"/>
                  <a:gd name="T35" fmla="*/ 11 h 26"/>
                  <a:gd name="T36" fmla="*/ 0 w 29"/>
                  <a:gd name="T37" fmla="*/ 11 h 26"/>
                  <a:gd name="T38" fmla="*/ 0 w 29"/>
                  <a:gd name="T39" fmla="*/ 11 h 26"/>
                  <a:gd name="T40" fmla="*/ 1 w 29"/>
                  <a:gd name="T41" fmla="*/ 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" h="26">
                    <a:moveTo>
                      <a:pt x="1" y="1"/>
                    </a:moveTo>
                    <a:lnTo>
                      <a:pt x="24" y="0"/>
                    </a:lnTo>
                    <a:lnTo>
                      <a:pt x="24" y="0"/>
                    </a:lnTo>
                    <a:lnTo>
                      <a:pt x="24" y="1"/>
                    </a:lnTo>
                    <a:lnTo>
                      <a:pt x="24" y="5"/>
                    </a:lnTo>
                    <a:lnTo>
                      <a:pt x="28" y="7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8" y="23"/>
                    </a:lnTo>
                    <a:lnTo>
                      <a:pt x="23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4" y="23"/>
                    </a:lnTo>
                    <a:lnTo>
                      <a:pt x="9" y="19"/>
                    </a:lnTo>
                    <a:lnTo>
                      <a:pt x="6" y="17"/>
                    </a:lnTo>
                    <a:lnTo>
                      <a:pt x="4" y="13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3" name="Freeform 188"/>
              <p:cNvSpPr>
                <a:spLocks/>
              </p:cNvSpPr>
              <p:nvPr/>
            </p:nvSpPr>
            <p:spPr bwMode="auto">
              <a:xfrm>
                <a:off x="498292" y="6169022"/>
                <a:ext cx="45976" cy="44625"/>
              </a:xfrm>
              <a:custGeom>
                <a:avLst/>
                <a:gdLst>
                  <a:gd name="T0" fmla="*/ 15 w 26"/>
                  <a:gd name="T1" fmla="*/ 6 h 26"/>
                  <a:gd name="T2" fmla="*/ 0 w 26"/>
                  <a:gd name="T3" fmla="*/ 15 h 26"/>
                  <a:gd name="T4" fmla="*/ 18 w 26"/>
                  <a:gd name="T5" fmla="*/ 25 h 26"/>
                  <a:gd name="T6" fmla="*/ 25 w 26"/>
                  <a:gd name="T7" fmla="*/ 0 h 26"/>
                  <a:gd name="T8" fmla="*/ 15 w 26"/>
                  <a:gd name="T9" fmla="*/ 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6">
                    <a:moveTo>
                      <a:pt x="15" y="6"/>
                    </a:moveTo>
                    <a:lnTo>
                      <a:pt x="0" y="15"/>
                    </a:lnTo>
                    <a:lnTo>
                      <a:pt x="18" y="25"/>
                    </a:lnTo>
                    <a:lnTo>
                      <a:pt x="25" y="0"/>
                    </a:lnTo>
                    <a:lnTo>
                      <a:pt x="15" y="6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4" name="Freeform 189"/>
              <p:cNvSpPr>
                <a:spLocks/>
              </p:cNvSpPr>
              <p:nvPr/>
            </p:nvSpPr>
            <p:spPr bwMode="auto">
              <a:xfrm>
                <a:off x="498292" y="6169022"/>
                <a:ext cx="45976" cy="44625"/>
              </a:xfrm>
              <a:custGeom>
                <a:avLst/>
                <a:gdLst>
                  <a:gd name="T0" fmla="*/ 15 w 26"/>
                  <a:gd name="T1" fmla="*/ 6 h 26"/>
                  <a:gd name="T2" fmla="*/ 0 w 26"/>
                  <a:gd name="T3" fmla="*/ 15 h 26"/>
                  <a:gd name="T4" fmla="*/ 18 w 26"/>
                  <a:gd name="T5" fmla="*/ 25 h 26"/>
                  <a:gd name="T6" fmla="*/ 25 w 26"/>
                  <a:gd name="T7" fmla="*/ 0 h 26"/>
                  <a:gd name="T8" fmla="*/ 15 w 26"/>
                  <a:gd name="T9" fmla="*/ 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6">
                    <a:moveTo>
                      <a:pt x="15" y="6"/>
                    </a:moveTo>
                    <a:lnTo>
                      <a:pt x="0" y="15"/>
                    </a:lnTo>
                    <a:lnTo>
                      <a:pt x="18" y="25"/>
                    </a:lnTo>
                    <a:lnTo>
                      <a:pt x="25" y="0"/>
                    </a:lnTo>
                    <a:lnTo>
                      <a:pt x="15" y="6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5" name="Freeform 190"/>
              <p:cNvSpPr>
                <a:spLocks/>
              </p:cNvSpPr>
              <p:nvPr/>
            </p:nvSpPr>
            <p:spPr bwMode="auto">
              <a:xfrm>
                <a:off x="768844" y="5455027"/>
                <a:ext cx="84879" cy="61788"/>
              </a:xfrm>
              <a:custGeom>
                <a:avLst/>
                <a:gdLst>
                  <a:gd name="T0" fmla="*/ 4 w 48"/>
                  <a:gd name="T1" fmla="*/ 0 h 36"/>
                  <a:gd name="T2" fmla="*/ 4 w 48"/>
                  <a:gd name="T3" fmla="*/ 0 h 36"/>
                  <a:gd name="T4" fmla="*/ 4 w 48"/>
                  <a:gd name="T5" fmla="*/ 3 h 36"/>
                  <a:gd name="T6" fmla="*/ 7 w 48"/>
                  <a:gd name="T7" fmla="*/ 4 h 36"/>
                  <a:gd name="T8" fmla="*/ 12 w 48"/>
                  <a:gd name="T9" fmla="*/ 7 h 36"/>
                  <a:gd name="T10" fmla="*/ 14 w 48"/>
                  <a:gd name="T11" fmla="*/ 9 h 36"/>
                  <a:gd name="T12" fmla="*/ 18 w 48"/>
                  <a:gd name="T13" fmla="*/ 9 h 36"/>
                  <a:gd name="T14" fmla="*/ 23 w 48"/>
                  <a:gd name="T15" fmla="*/ 7 h 36"/>
                  <a:gd name="T16" fmla="*/ 28 w 48"/>
                  <a:gd name="T17" fmla="*/ 4 h 36"/>
                  <a:gd name="T18" fmla="*/ 28 w 48"/>
                  <a:gd name="T19" fmla="*/ 4 h 36"/>
                  <a:gd name="T20" fmla="*/ 28 w 48"/>
                  <a:gd name="T21" fmla="*/ 7 h 36"/>
                  <a:gd name="T22" fmla="*/ 31 w 48"/>
                  <a:gd name="T23" fmla="*/ 9 h 36"/>
                  <a:gd name="T24" fmla="*/ 31 w 48"/>
                  <a:gd name="T25" fmla="*/ 14 h 36"/>
                  <a:gd name="T26" fmla="*/ 36 w 48"/>
                  <a:gd name="T27" fmla="*/ 19 h 36"/>
                  <a:gd name="T28" fmla="*/ 37 w 48"/>
                  <a:gd name="T29" fmla="*/ 22 h 36"/>
                  <a:gd name="T30" fmla="*/ 42 w 48"/>
                  <a:gd name="T31" fmla="*/ 23 h 36"/>
                  <a:gd name="T32" fmla="*/ 47 w 48"/>
                  <a:gd name="T33" fmla="*/ 23 h 36"/>
                  <a:gd name="T34" fmla="*/ 47 w 48"/>
                  <a:gd name="T35" fmla="*/ 27 h 36"/>
                  <a:gd name="T36" fmla="*/ 43 w 48"/>
                  <a:gd name="T37" fmla="*/ 27 h 36"/>
                  <a:gd name="T38" fmla="*/ 42 w 48"/>
                  <a:gd name="T39" fmla="*/ 28 h 36"/>
                  <a:gd name="T40" fmla="*/ 37 w 48"/>
                  <a:gd name="T41" fmla="*/ 31 h 36"/>
                  <a:gd name="T42" fmla="*/ 36 w 48"/>
                  <a:gd name="T43" fmla="*/ 33 h 36"/>
                  <a:gd name="T44" fmla="*/ 32 w 48"/>
                  <a:gd name="T45" fmla="*/ 35 h 36"/>
                  <a:gd name="T46" fmla="*/ 31 w 48"/>
                  <a:gd name="T47" fmla="*/ 35 h 36"/>
                  <a:gd name="T48" fmla="*/ 31 w 48"/>
                  <a:gd name="T49" fmla="*/ 35 h 36"/>
                  <a:gd name="T50" fmla="*/ 31 w 48"/>
                  <a:gd name="T51" fmla="*/ 35 h 36"/>
                  <a:gd name="T52" fmla="*/ 31 w 48"/>
                  <a:gd name="T53" fmla="*/ 33 h 36"/>
                  <a:gd name="T54" fmla="*/ 28 w 48"/>
                  <a:gd name="T55" fmla="*/ 28 h 36"/>
                  <a:gd name="T56" fmla="*/ 26 w 48"/>
                  <a:gd name="T57" fmla="*/ 27 h 36"/>
                  <a:gd name="T58" fmla="*/ 23 w 48"/>
                  <a:gd name="T59" fmla="*/ 22 h 36"/>
                  <a:gd name="T60" fmla="*/ 17 w 48"/>
                  <a:gd name="T61" fmla="*/ 19 h 36"/>
                  <a:gd name="T62" fmla="*/ 9 w 48"/>
                  <a:gd name="T63" fmla="*/ 14 h 36"/>
                  <a:gd name="T64" fmla="*/ 0 w 48"/>
                  <a:gd name="T65" fmla="*/ 14 h 36"/>
                  <a:gd name="T66" fmla="*/ 0 w 48"/>
                  <a:gd name="T67" fmla="*/ 12 h 36"/>
                  <a:gd name="T68" fmla="*/ 0 w 48"/>
                  <a:gd name="T69" fmla="*/ 7 h 36"/>
                  <a:gd name="T70" fmla="*/ 3 w 48"/>
                  <a:gd name="T71" fmla="*/ 3 h 36"/>
                  <a:gd name="T72" fmla="*/ 4 w 48"/>
                  <a:gd name="T7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8" h="36">
                    <a:moveTo>
                      <a:pt x="4" y="0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7" y="4"/>
                    </a:lnTo>
                    <a:lnTo>
                      <a:pt x="12" y="7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23" y="7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7"/>
                    </a:lnTo>
                    <a:lnTo>
                      <a:pt x="31" y="9"/>
                    </a:lnTo>
                    <a:lnTo>
                      <a:pt x="31" y="14"/>
                    </a:lnTo>
                    <a:lnTo>
                      <a:pt x="36" y="19"/>
                    </a:lnTo>
                    <a:lnTo>
                      <a:pt x="37" y="22"/>
                    </a:lnTo>
                    <a:lnTo>
                      <a:pt x="42" y="23"/>
                    </a:lnTo>
                    <a:lnTo>
                      <a:pt x="47" y="23"/>
                    </a:lnTo>
                    <a:lnTo>
                      <a:pt x="47" y="27"/>
                    </a:lnTo>
                    <a:lnTo>
                      <a:pt x="43" y="27"/>
                    </a:lnTo>
                    <a:lnTo>
                      <a:pt x="42" y="28"/>
                    </a:lnTo>
                    <a:lnTo>
                      <a:pt x="37" y="31"/>
                    </a:lnTo>
                    <a:lnTo>
                      <a:pt x="36" y="33"/>
                    </a:lnTo>
                    <a:lnTo>
                      <a:pt x="32" y="35"/>
                    </a:lnTo>
                    <a:lnTo>
                      <a:pt x="31" y="35"/>
                    </a:lnTo>
                    <a:lnTo>
                      <a:pt x="31" y="35"/>
                    </a:lnTo>
                    <a:lnTo>
                      <a:pt x="31" y="35"/>
                    </a:lnTo>
                    <a:lnTo>
                      <a:pt x="31" y="33"/>
                    </a:lnTo>
                    <a:lnTo>
                      <a:pt x="28" y="28"/>
                    </a:lnTo>
                    <a:lnTo>
                      <a:pt x="26" y="27"/>
                    </a:lnTo>
                    <a:lnTo>
                      <a:pt x="23" y="22"/>
                    </a:lnTo>
                    <a:lnTo>
                      <a:pt x="17" y="19"/>
                    </a:lnTo>
                    <a:lnTo>
                      <a:pt x="9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6" name="Freeform 191"/>
              <p:cNvSpPr>
                <a:spLocks/>
              </p:cNvSpPr>
              <p:nvPr/>
            </p:nvSpPr>
            <p:spPr bwMode="auto">
              <a:xfrm>
                <a:off x="768844" y="5455027"/>
                <a:ext cx="84879" cy="61788"/>
              </a:xfrm>
              <a:custGeom>
                <a:avLst/>
                <a:gdLst>
                  <a:gd name="T0" fmla="*/ 4 w 48"/>
                  <a:gd name="T1" fmla="*/ 0 h 36"/>
                  <a:gd name="T2" fmla="*/ 4 w 48"/>
                  <a:gd name="T3" fmla="*/ 0 h 36"/>
                  <a:gd name="T4" fmla="*/ 4 w 48"/>
                  <a:gd name="T5" fmla="*/ 0 h 36"/>
                  <a:gd name="T6" fmla="*/ 4 w 48"/>
                  <a:gd name="T7" fmla="*/ 3 h 36"/>
                  <a:gd name="T8" fmla="*/ 7 w 48"/>
                  <a:gd name="T9" fmla="*/ 4 h 36"/>
                  <a:gd name="T10" fmla="*/ 12 w 48"/>
                  <a:gd name="T11" fmla="*/ 7 h 36"/>
                  <a:gd name="T12" fmla="*/ 14 w 48"/>
                  <a:gd name="T13" fmla="*/ 9 h 36"/>
                  <a:gd name="T14" fmla="*/ 18 w 48"/>
                  <a:gd name="T15" fmla="*/ 9 h 36"/>
                  <a:gd name="T16" fmla="*/ 23 w 48"/>
                  <a:gd name="T17" fmla="*/ 7 h 36"/>
                  <a:gd name="T18" fmla="*/ 28 w 48"/>
                  <a:gd name="T19" fmla="*/ 4 h 36"/>
                  <a:gd name="T20" fmla="*/ 28 w 48"/>
                  <a:gd name="T21" fmla="*/ 4 h 36"/>
                  <a:gd name="T22" fmla="*/ 28 w 48"/>
                  <a:gd name="T23" fmla="*/ 4 h 36"/>
                  <a:gd name="T24" fmla="*/ 28 w 48"/>
                  <a:gd name="T25" fmla="*/ 7 h 36"/>
                  <a:gd name="T26" fmla="*/ 31 w 48"/>
                  <a:gd name="T27" fmla="*/ 9 h 36"/>
                  <a:gd name="T28" fmla="*/ 31 w 48"/>
                  <a:gd name="T29" fmla="*/ 14 h 36"/>
                  <a:gd name="T30" fmla="*/ 36 w 48"/>
                  <a:gd name="T31" fmla="*/ 19 h 36"/>
                  <a:gd name="T32" fmla="*/ 37 w 48"/>
                  <a:gd name="T33" fmla="*/ 22 h 36"/>
                  <a:gd name="T34" fmla="*/ 42 w 48"/>
                  <a:gd name="T35" fmla="*/ 23 h 36"/>
                  <a:gd name="T36" fmla="*/ 47 w 48"/>
                  <a:gd name="T37" fmla="*/ 23 h 36"/>
                  <a:gd name="T38" fmla="*/ 47 w 48"/>
                  <a:gd name="T39" fmla="*/ 23 h 36"/>
                  <a:gd name="T40" fmla="*/ 47 w 48"/>
                  <a:gd name="T41" fmla="*/ 27 h 36"/>
                  <a:gd name="T42" fmla="*/ 43 w 48"/>
                  <a:gd name="T43" fmla="*/ 27 h 36"/>
                  <a:gd name="T44" fmla="*/ 42 w 48"/>
                  <a:gd name="T45" fmla="*/ 28 h 36"/>
                  <a:gd name="T46" fmla="*/ 37 w 48"/>
                  <a:gd name="T47" fmla="*/ 31 h 36"/>
                  <a:gd name="T48" fmla="*/ 36 w 48"/>
                  <a:gd name="T49" fmla="*/ 33 h 36"/>
                  <a:gd name="T50" fmla="*/ 32 w 48"/>
                  <a:gd name="T51" fmla="*/ 35 h 36"/>
                  <a:gd name="T52" fmla="*/ 31 w 48"/>
                  <a:gd name="T53" fmla="*/ 35 h 36"/>
                  <a:gd name="T54" fmla="*/ 31 w 48"/>
                  <a:gd name="T55" fmla="*/ 35 h 36"/>
                  <a:gd name="T56" fmla="*/ 31 w 48"/>
                  <a:gd name="T57" fmla="*/ 35 h 36"/>
                  <a:gd name="T58" fmla="*/ 31 w 48"/>
                  <a:gd name="T59" fmla="*/ 35 h 36"/>
                  <a:gd name="T60" fmla="*/ 31 w 48"/>
                  <a:gd name="T61" fmla="*/ 33 h 36"/>
                  <a:gd name="T62" fmla="*/ 28 w 48"/>
                  <a:gd name="T63" fmla="*/ 28 h 36"/>
                  <a:gd name="T64" fmla="*/ 26 w 48"/>
                  <a:gd name="T65" fmla="*/ 27 h 36"/>
                  <a:gd name="T66" fmla="*/ 23 w 48"/>
                  <a:gd name="T67" fmla="*/ 22 h 36"/>
                  <a:gd name="T68" fmla="*/ 17 w 48"/>
                  <a:gd name="T69" fmla="*/ 19 h 36"/>
                  <a:gd name="T70" fmla="*/ 9 w 48"/>
                  <a:gd name="T71" fmla="*/ 14 h 36"/>
                  <a:gd name="T72" fmla="*/ 0 w 48"/>
                  <a:gd name="T73" fmla="*/ 14 h 36"/>
                  <a:gd name="T74" fmla="*/ 0 w 48"/>
                  <a:gd name="T75" fmla="*/ 14 h 36"/>
                  <a:gd name="T76" fmla="*/ 0 w 48"/>
                  <a:gd name="T77" fmla="*/ 12 h 36"/>
                  <a:gd name="T78" fmla="*/ 0 w 48"/>
                  <a:gd name="T79" fmla="*/ 7 h 36"/>
                  <a:gd name="T80" fmla="*/ 3 w 48"/>
                  <a:gd name="T81" fmla="*/ 3 h 36"/>
                  <a:gd name="T82" fmla="*/ 4 w 48"/>
                  <a:gd name="T83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8" h="36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7" y="4"/>
                    </a:lnTo>
                    <a:lnTo>
                      <a:pt x="12" y="7"/>
                    </a:lnTo>
                    <a:lnTo>
                      <a:pt x="14" y="9"/>
                    </a:lnTo>
                    <a:lnTo>
                      <a:pt x="18" y="9"/>
                    </a:lnTo>
                    <a:lnTo>
                      <a:pt x="23" y="7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7"/>
                    </a:lnTo>
                    <a:lnTo>
                      <a:pt x="31" y="9"/>
                    </a:lnTo>
                    <a:lnTo>
                      <a:pt x="31" y="14"/>
                    </a:lnTo>
                    <a:lnTo>
                      <a:pt x="36" y="19"/>
                    </a:lnTo>
                    <a:lnTo>
                      <a:pt x="37" y="22"/>
                    </a:lnTo>
                    <a:lnTo>
                      <a:pt x="42" y="23"/>
                    </a:lnTo>
                    <a:lnTo>
                      <a:pt x="47" y="23"/>
                    </a:lnTo>
                    <a:lnTo>
                      <a:pt x="47" y="23"/>
                    </a:lnTo>
                    <a:lnTo>
                      <a:pt x="47" y="27"/>
                    </a:lnTo>
                    <a:lnTo>
                      <a:pt x="43" y="27"/>
                    </a:lnTo>
                    <a:lnTo>
                      <a:pt x="42" y="28"/>
                    </a:lnTo>
                    <a:lnTo>
                      <a:pt x="37" y="31"/>
                    </a:lnTo>
                    <a:lnTo>
                      <a:pt x="36" y="33"/>
                    </a:lnTo>
                    <a:lnTo>
                      <a:pt x="32" y="35"/>
                    </a:lnTo>
                    <a:lnTo>
                      <a:pt x="31" y="35"/>
                    </a:lnTo>
                    <a:lnTo>
                      <a:pt x="31" y="35"/>
                    </a:lnTo>
                    <a:lnTo>
                      <a:pt x="31" y="35"/>
                    </a:lnTo>
                    <a:lnTo>
                      <a:pt x="31" y="35"/>
                    </a:lnTo>
                    <a:lnTo>
                      <a:pt x="31" y="33"/>
                    </a:lnTo>
                    <a:lnTo>
                      <a:pt x="28" y="28"/>
                    </a:lnTo>
                    <a:lnTo>
                      <a:pt x="26" y="27"/>
                    </a:lnTo>
                    <a:lnTo>
                      <a:pt x="23" y="22"/>
                    </a:lnTo>
                    <a:lnTo>
                      <a:pt x="17" y="19"/>
                    </a:lnTo>
                    <a:lnTo>
                      <a:pt x="9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7"/>
                    </a:lnTo>
                    <a:lnTo>
                      <a:pt x="3" y="3"/>
                    </a:lnTo>
                    <a:lnTo>
                      <a:pt x="4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12" name="Group 411"/>
            <p:cNvGrpSpPr/>
            <p:nvPr/>
          </p:nvGrpSpPr>
          <p:grpSpPr>
            <a:xfrm>
              <a:off x="1501425" y="5701410"/>
              <a:ext cx="263218" cy="168510"/>
              <a:chOff x="2554845" y="5800010"/>
              <a:chExt cx="693181" cy="430799"/>
            </a:xfrm>
          </p:grpSpPr>
          <p:sp>
            <p:nvSpPr>
              <p:cNvPr id="413" name="Freeform 192"/>
              <p:cNvSpPr>
                <a:spLocks/>
              </p:cNvSpPr>
              <p:nvPr/>
            </p:nvSpPr>
            <p:spPr bwMode="auto">
              <a:xfrm>
                <a:off x="2613200" y="5800010"/>
                <a:ext cx="63659" cy="48057"/>
              </a:xfrm>
              <a:custGeom>
                <a:avLst/>
                <a:gdLst>
                  <a:gd name="T0" fmla="*/ 0 w 36"/>
                  <a:gd name="T1" fmla="*/ 12 h 28"/>
                  <a:gd name="T2" fmla="*/ 0 w 36"/>
                  <a:gd name="T3" fmla="*/ 12 h 28"/>
                  <a:gd name="T4" fmla="*/ 3 w 36"/>
                  <a:gd name="T5" fmla="*/ 9 h 28"/>
                  <a:gd name="T6" fmla="*/ 3 w 36"/>
                  <a:gd name="T7" fmla="*/ 9 h 28"/>
                  <a:gd name="T8" fmla="*/ 6 w 36"/>
                  <a:gd name="T9" fmla="*/ 4 h 28"/>
                  <a:gd name="T10" fmla="*/ 11 w 36"/>
                  <a:gd name="T11" fmla="*/ 4 h 28"/>
                  <a:gd name="T12" fmla="*/ 15 w 36"/>
                  <a:gd name="T13" fmla="*/ 3 h 28"/>
                  <a:gd name="T14" fmla="*/ 23 w 36"/>
                  <a:gd name="T15" fmla="*/ 0 h 28"/>
                  <a:gd name="T16" fmla="*/ 30 w 36"/>
                  <a:gd name="T17" fmla="*/ 0 h 28"/>
                  <a:gd name="T18" fmla="*/ 33 w 36"/>
                  <a:gd name="T19" fmla="*/ 0 h 28"/>
                  <a:gd name="T20" fmla="*/ 33 w 36"/>
                  <a:gd name="T21" fmla="*/ 4 h 28"/>
                  <a:gd name="T22" fmla="*/ 33 w 36"/>
                  <a:gd name="T23" fmla="*/ 9 h 28"/>
                  <a:gd name="T24" fmla="*/ 35 w 36"/>
                  <a:gd name="T25" fmla="*/ 9 h 28"/>
                  <a:gd name="T26" fmla="*/ 28 w 36"/>
                  <a:gd name="T27" fmla="*/ 27 h 28"/>
                  <a:gd name="T28" fmla="*/ 4 w 36"/>
                  <a:gd name="T29" fmla="*/ 19 h 28"/>
                  <a:gd name="T30" fmla="*/ 0 w 36"/>
                  <a:gd name="T31" fmla="*/ 1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28">
                    <a:moveTo>
                      <a:pt x="0" y="12"/>
                    </a:moveTo>
                    <a:lnTo>
                      <a:pt x="0" y="12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6" y="4"/>
                    </a:lnTo>
                    <a:lnTo>
                      <a:pt x="11" y="4"/>
                    </a:lnTo>
                    <a:lnTo>
                      <a:pt x="15" y="3"/>
                    </a:lnTo>
                    <a:lnTo>
                      <a:pt x="23" y="0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3" y="4"/>
                    </a:lnTo>
                    <a:lnTo>
                      <a:pt x="33" y="9"/>
                    </a:lnTo>
                    <a:lnTo>
                      <a:pt x="35" y="9"/>
                    </a:lnTo>
                    <a:lnTo>
                      <a:pt x="28" y="27"/>
                    </a:lnTo>
                    <a:lnTo>
                      <a:pt x="4" y="19"/>
                    </a:lnTo>
                    <a:lnTo>
                      <a:pt x="0" y="12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4" name="Freeform 193"/>
              <p:cNvSpPr>
                <a:spLocks/>
              </p:cNvSpPr>
              <p:nvPr/>
            </p:nvSpPr>
            <p:spPr bwMode="auto">
              <a:xfrm>
                <a:off x="2613200" y="5800010"/>
                <a:ext cx="63659" cy="48057"/>
              </a:xfrm>
              <a:custGeom>
                <a:avLst/>
                <a:gdLst>
                  <a:gd name="T0" fmla="*/ 0 w 36"/>
                  <a:gd name="T1" fmla="*/ 12 h 28"/>
                  <a:gd name="T2" fmla="*/ 0 w 36"/>
                  <a:gd name="T3" fmla="*/ 12 h 28"/>
                  <a:gd name="T4" fmla="*/ 0 w 36"/>
                  <a:gd name="T5" fmla="*/ 12 h 28"/>
                  <a:gd name="T6" fmla="*/ 3 w 36"/>
                  <a:gd name="T7" fmla="*/ 9 h 28"/>
                  <a:gd name="T8" fmla="*/ 3 w 36"/>
                  <a:gd name="T9" fmla="*/ 9 h 28"/>
                  <a:gd name="T10" fmla="*/ 6 w 36"/>
                  <a:gd name="T11" fmla="*/ 4 h 28"/>
                  <a:gd name="T12" fmla="*/ 11 w 36"/>
                  <a:gd name="T13" fmla="*/ 4 h 28"/>
                  <a:gd name="T14" fmla="*/ 15 w 36"/>
                  <a:gd name="T15" fmla="*/ 3 h 28"/>
                  <a:gd name="T16" fmla="*/ 23 w 36"/>
                  <a:gd name="T17" fmla="*/ 0 h 28"/>
                  <a:gd name="T18" fmla="*/ 30 w 36"/>
                  <a:gd name="T19" fmla="*/ 0 h 28"/>
                  <a:gd name="T20" fmla="*/ 30 w 36"/>
                  <a:gd name="T21" fmla="*/ 0 h 28"/>
                  <a:gd name="T22" fmla="*/ 33 w 36"/>
                  <a:gd name="T23" fmla="*/ 0 h 28"/>
                  <a:gd name="T24" fmla="*/ 33 w 36"/>
                  <a:gd name="T25" fmla="*/ 4 h 28"/>
                  <a:gd name="T26" fmla="*/ 33 w 36"/>
                  <a:gd name="T27" fmla="*/ 9 h 28"/>
                  <a:gd name="T28" fmla="*/ 35 w 36"/>
                  <a:gd name="T29" fmla="*/ 9 h 28"/>
                  <a:gd name="T30" fmla="*/ 28 w 36"/>
                  <a:gd name="T31" fmla="*/ 27 h 28"/>
                  <a:gd name="T32" fmla="*/ 4 w 36"/>
                  <a:gd name="T33" fmla="*/ 19 h 28"/>
                  <a:gd name="T34" fmla="*/ 0 w 36"/>
                  <a:gd name="T35" fmla="*/ 1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6" h="28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6" y="4"/>
                    </a:lnTo>
                    <a:lnTo>
                      <a:pt x="11" y="4"/>
                    </a:lnTo>
                    <a:lnTo>
                      <a:pt x="15" y="3"/>
                    </a:lnTo>
                    <a:lnTo>
                      <a:pt x="23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3" y="4"/>
                    </a:lnTo>
                    <a:lnTo>
                      <a:pt x="33" y="9"/>
                    </a:lnTo>
                    <a:lnTo>
                      <a:pt x="35" y="9"/>
                    </a:lnTo>
                    <a:lnTo>
                      <a:pt x="28" y="27"/>
                    </a:lnTo>
                    <a:lnTo>
                      <a:pt x="4" y="19"/>
                    </a:lnTo>
                    <a:lnTo>
                      <a:pt x="0" y="12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5" name="Freeform 194"/>
              <p:cNvSpPr>
                <a:spLocks/>
              </p:cNvSpPr>
              <p:nvPr/>
            </p:nvSpPr>
            <p:spPr bwMode="auto">
              <a:xfrm>
                <a:off x="2811251" y="5868663"/>
                <a:ext cx="72501" cy="58355"/>
              </a:xfrm>
              <a:custGeom>
                <a:avLst/>
                <a:gdLst>
                  <a:gd name="T0" fmla="*/ 0 w 41"/>
                  <a:gd name="T1" fmla="*/ 7 h 34"/>
                  <a:gd name="T2" fmla="*/ 10 w 41"/>
                  <a:gd name="T3" fmla="*/ 7 h 34"/>
                  <a:gd name="T4" fmla="*/ 10 w 41"/>
                  <a:gd name="T5" fmla="*/ 7 h 34"/>
                  <a:gd name="T6" fmla="*/ 10 w 41"/>
                  <a:gd name="T7" fmla="*/ 4 h 34"/>
                  <a:gd name="T8" fmla="*/ 10 w 41"/>
                  <a:gd name="T9" fmla="*/ 3 h 34"/>
                  <a:gd name="T10" fmla="*/ 12 w 41"/>
                  <a:gd name="T11" fmla="*/ 0 h 34"/>
                  <a:gd name="T12" fmla="*/ 12 w 41"/>
                  <a:gd name="T13" fmla="*/ 0 h 34"/>
                  <a:gd name="T14" fmla="*/ 15 w 41"/>
                  <a:gd name="T15" fmla="*/ 0 h 34"/>
                  <a:gd name="T16" fmla="*/ 16 w 41"/>
                  <a:gd name="T17" fmla="*/ 3 h 34"/>
                  <a:gd name="T18" fmla="*/ 21 w 41"/>
                  <a:gd name="T19" fmla="*/ 7 h 34"/>
                  <a:gd name="T20" fmla="*/ 21 w 41"/>
                  <a:gd name="T21" fmla="*/ 9 h 34"/>
                  <a:gd name="T22" fmla="*/ 24 w 41"/>
                  <a:gd name="T23" fmla="*/ 12 h 34"/>
                  <a:gd name="T24" fmla="*/ 29 w 41"/>
                  <a:gd name="T25" fmla="*/ 17 h 34"/>
                  <a:gd name="T26" fmla="*/ 35 w 41"/>
                  <a:gd name="T27" fmla="*/ 22 h 34"/>
                  <a:gd name="T28" fmla="*/ 35 w 41"/>
                  <a:gd name="T29" fmla="*/ 23 h 34"/>
                  <a:gd name="T30" fmla="*/ 38 w 41"/>
                  <a:gd name="T31" fmla="*/ 26 h 34"/>
                  <a:gd name="T32" fmla="*/ 40 w 41"/>
                  <a:gd name="T33" fmla="*/ 28 h 34"/>
                  <a:gd name="T34" fmla="*/ 40 w 41"/>
                  <a:gd name="T35" fmla="*/ 31 h 34"/>
                  <a:gd name="T36" fmla="*/ 40 w 41"/>
                  <a:gd name="T37" fmla="*/ 33 h 34"/>
                  <a:gd name="T38" fmla="*/ 35 w 41"/>
                  <a:gd name="T39" fmla="*/ 33 h 34"/>
                  <a:gd name="T40" fmla="*/ 29 w 41"/>
                  <a:gd name="T41" fmla="*/ 33 h 34"/>
                  <a:gd name="T42" fmla="*/ 20 w 41"/>
                  <a:gd name="T43" fmla="*/ 28 h 34"/>
                  <a:gd name="T44" fmla="*/ 16 w 41"/>
                  <a:gd name="T45" fmla="*/ 28 h 34"/>
                  <a:gd name="T46" fmla="*/ 12 w 41"/>
                  <a:gd name="T47" fmla="*/ 28 h 34"/>
                  <a:gd name="T48" fmla="*/ 10 w 41"/>
                  <a:gd name="T49" fmla="*/ 31 h 34"/>
                  <a:gd name="T50" fmla="*/ 10 w 41"/>
                  <a:gd name="T51" fmla="*/ 31 h 34"/>
                  <a:gd name="T52" fmla="*/ 1 w 41"/>
                  <a:gd name="T53" fmla="*/ 18 h 34"/>
                  <a:gd name="T54" fmla="*/ 0 w 41"/>
                  <a:gd name="T55" fmla="*/ 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1" h="34">
                    <a:moveTo>
                      <a:pt x="0" y="7"/>
                    </a:moveTo>
                    <a:lnTo>
                      <a:pt x="10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10" y="3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6" y="3"/>
                    </a:lnTo>
                    <a:lnTo>
                      <a:pt x="21" y="7"/>
                    </a:lnTo>
                    <a:lnTo>
                      <a:pt x="21" y="9"/>
                    </a:lnTo>
                    <a:lnTo>
                      <a:pt x="24" y="12"/>
                    </a:lnTo>
                    <a:lnTo>
                      <a:pt x="29" y="17"/>
                    </a:lnTo>
                    <a:lnTo>
                      <a:pt x="35" y="22"/>
                    </a:lnTo>
                    <a:lnTo>
                      <a:pt x="35" y="23"/>
                    </a:lnTo>
                    <a:lnTo>
                      <a:pt x="38" y="26"/>
                    </a:lnTo>
                    <a:lnTo>
                      <a:pt x="40" y="28"/>
                    </a:lnTo>
                    <a:lnTo>
                      <a:pt x="40" y="31"/>
                    </a:lnTo>
                    <a:lnTo>
                      <a:pt x="40" y="33"/>
                    </a:lnTo>
                    <a:lnTo>
                      <a:pt x="35" y="33"/>
                    </a:lnTo>
                    <a:lnTo>
                      <a:pt x="29" y="33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1" y="18"/>
                    </a:lnTo>
                    <a:lnTo>
                      <a:pt x="0" y="7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6" name="Freeform 195"/>
              <p:cNvSpPr>
                <a:spLocks/>
              </p:cNvSpPr>
              <p:nvPr/>
            </p:nvSpPr>
            <p:spPr bwMode="auto">
              <a:xfrm>
                <a:off x="2811251" y="5868663"/>
                <a:ext cx="72501" cy="58355"/>
              </a:xfrm>
              <a:custGeom>
                <a:avLst/>
                <a:gdLst>
                  <a:gd name="T0" fmla="*/ 0 w 41"/>
                  <a:gd name="T1" fmla="*/ 7 h 34"/>
                  <a:gd name="T2" fmla="*/ 10 w 41"/>
                  <a:gd name="T3" fmla="*/ 7 h 34"/>
                  <a:gd name="T4" fmla="*/ 10 w 41"/>
                  <a:gd name="T5" fmla="*/ 7 h 34"/>
                  <a:gd name="T6" fmla="*/ 10 w 41"/>
                  <a:gd name="T7" fmla="*/ 7 h 34"/>
                  <a:gd name="T8" fmla="*/ 10 w 41"/>
                  <a:gd name="T9" fmla="*/ 4 h 34"/>
                  <a:gd name="T10" fmla="*/ 10 w 41"/>
                  <a:gd name="T11" fmla="*/ 3 h 34"/>
                  <a:gd name="T12" fmla="*/ 12 w 41"/>
                  <a:gd name="T13" fmla="*/ 0 h 34"/>
                  <a:gd name="T14" fmla="*/ 12 w 41"/>
                  <a:gd name="T15" fmla="*/ 0 h 34"/>
                  <a:gd name="T16" fmla="*/ 15 w 41"/>
                  <a:gd name="T17" fmla="*/ 0 h 34"/>
                  <a:gd name="T18" fmla="*/ 16 w 41"/>
                  <a:gd name="T19" fmla="*/ 3 h 34"/>
                  <a:gd name="T20" fmla="*/ 21 w 41"/>
                  <a:gd name="T21" fmla="*/ 7 h 34"/>
                  <a:gd name="T22" fmla="*/ 21 w 41"/>
                  <a:gd name="T23" fmla="*/ 7 h 34"/>
                  <a:gd name="T24" fmla="*/ 21 w 41"/>
                  <a:gd name="T25" fmla="*/ 9 h 34"/>
                  <a:gd name="T26" fmla="*/ 24 w 41"/>
                  <a:gd name="T27" fmla="*/ 12 h 34"/>
                  <a:gd name="T28" fmla="*/ 29 w 41"/>
                  <a:gd name="T29" fmla="*/ 17 h 34"/>
                  <a:gd name="T30" fmla="*/ 35 w 41"/>
                  <a:gd name="T31" fmla="*/ 22 h 34"/>
                  <a:gd name="T32" fmla="*/ 35 w 41"/>
                  <a:gd name="T33" fmla="*/ 22 h 34"/>
                  <a:gd name="T34" fmla="*/ 35 w 41"/>
                  <a:gd name="T35" fmla="*/ 23 h 34"/>
                  <a:gd name="T36" fmla="*/ 38 w 41"/>
                  <a:gd name="T37" fmla="*/ 26 h 34"/>
                  <a:gd name="T38" fmla="*/ 40 w 41"/>
                  <a:gd name="T39" fmla="*/ 28 h 34"/>
                  <a:gd name="T40" fmla="*/ 40 w 41"/>
                  <a:gd name="T41" fmla="*/ 31 h 34"/>
                  <a:gd name="T42" fmla="*/ 40 w 41"/>
                  <a:gd name="T43" fmla="*/ 33 h 34"/>
                  <a:gd name="T44" fmla="*/ 35 w 41"/>
                  <a:gd name="T45" fmla="*/ 33 h 34"/>
                  <a:gd name="T46" fmla="*/ 29 w 41"/>
                  <a:gd name="T47" fmla="*/ 33 h 34"/>
                  <a:gd name="T48" fmla="*/ 20 w 41"/>
                  <a:gd name="T49" fmla="*/ 28 h 34"/>
                  <a:gd name="T50" fmla="*/ 20 w 41"/>
                  <a:gd name="T51" fmla="*/ 28 h 34"/>
                  <a:gd name="T52" fmla="*/ 16 w 41"/>
                  <a:gd name="T53" fmla="*/ 28 h 34"/>
                  <a:gd name="T54" fmla="*/ 12 w 41"/>
                  <a:gd name="T55" fmla="*/ 28 h 34"/>
                  <a:gd name="T56" fmla="*/ 10 w 41"/>
                  <a:gd name="T57" fmla="*/ 31 h 34"/>
                  <a:gd name="T58" fmla="*/ 10 w 41"/>
                  <a:gd name="T59" fmla="*/ 31 h 34"/>
                  <a:gd name="T60" fmla="*/ 1 w 41"/>
                  <a:gd name="T61" fmla="*/ 18 h 34"/>
                  <a:gd name="T62" fmla="*/ 0 w 41"/>
                  <a:gd name="T63" fmla="*/ 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1" h="34">
                    <a:moveTo>
                      <a:pt x="0" y="7"/>
                    </a:moveTo>
                    <a:lnTo>
                      <a:pt x="10" y="7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10" y="3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6" y="3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9"/>
                    </a:lnTo>
                    <a:lnTo>
                      <a:pt x="24" y="12"/>
                    </a:lnTo>
                    <a:lnTo>
                      <a:pt x="29" y="17"/>
                    </a:lnTo>
                    <a:lnTo>
                      <a:pt x="35" y="22"/>
                    </a:lnTo>
                    <a:lnTo>
                      <a:pt x="35" y="22"/>
                    </a:lnTo>
                    <a:lnTo>
                      <a:pt x="35" y="23"/>
                    </a:lnTo>
                    <a:lnTo>
                      <a:pt x="38" y="26"/>
                    </a:lnTo>
                    <a:lnTo>
                      <a:pt x="40" y="28"/>
                    </a:lnTo>
                    <a:lnTo>
                      <a:pt x="40" y="31"/>
                    </a:lnTo>
                    <a:lnTo>
                      <a:pt x="40" y="33"/>
                    </a:lnTo>
                    <a:lnTo>
                      <a:pt x="35" y="33"/>
                    </a:lnTo>
                    <a:lnTo>
                      <a:pt x="29" y="33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0" y="31"/>
                    </a:lnTo>
                    <a:lnTo>
                      <a:pt x="10" y="31"/>
                    </a:lnTo>
                    <a:lnTo>
                      <a:pt x="1" y="18"/>
                    </a:lnTo>
                    <a:lnTo>
                      <a:pt x="0" y="7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7" name="Freeform 196"/>
              <p:cNvSpPr>
                <a:spLocks/>
              </p:cNvSpPr>
              <p:nvPr/>
            </p:nvSpPr>
            <p:spPr bwMode="auto">
              <a:xfrm>
                <a:off x="2933265" y="5925302"/>
                <a:ext cx="67196" cy="44625"/>
              </a:xfrm>
              <a:custGeom>
                <a:avLst/>
                <a:gdLst>
                  <a:gd name="T0" fmla="*/ 1 w 38"/>
                  <a:gd name="T1" fmla="*/ 0 h 26"/>
                  <a:gd name="T2" fmla="*/ 0 w 38"/>
                  <a:gd name="T3" fmla="*/ 20 h 26"/>
                  <a:gd name="T4" fmla="*/ 24 w 38"/>
                  <a:gd name="T5" fmla="*/ 25 h 26"/>
                  <a:gd name="T6" fmla="*/ 24 w 38"/>
                  <a:gd name="T7" fmla="*/ 25 h 26"/>
                  <a:gd name="T8" fmla="*/ 27 w 38"/>
                  <a:gd name="T9" fmla="*/ 22 h 26"/>
                  <a:gd name="T10" fmla="*/ 32 w 38"/>
                  <a:gd name="T11" fmla="*/ 20 h 26"/>
                  <a:gd name="T12" fmla="*/ 37 w 38"/>
                  <a:gd name="T13" fmla="*/ 15 h 26"/>
                  <a:gd name="T14" fmla="*/ 37 w 38"/>
                  <a:gd name="T15" fmla="*/ 12 h 26"/>
                  <a:gd name="T16" fmla="*/ 37 w 38"/>
                  <a:gd name="T17" fmla="*/ 7 h 26"/>
                  <a:gd name="T18" fmla="*/ 32 w 38"/>
                  <a:gd name="T19" fmla="*/ 7 h 26"/>
                  <a:gd name="T20" fmla="*/ 24 w 38"/>
                  <a:gd name="T21" fmla="*/ 7 h 26"/>
                  <a:gd name="T22" fmla="*/ 23 w 38"/>
                  <a:gd name="T23" fmla="*/ 7 h 26"/>
                  <a:gd name="T24" fmla="*/ 18 w 38"/>
                  <a:gd name="T25" fmla="*/ 5 h 26"/>
                  <a:gd name="T26" fmla="*/ 15 w 38"/>
                  <a:gd name="T27" fmla="*/ 5 h 26"/>
                  <a:gd name="T28" fmla="*/ 10 w 38"/>
                  <a:gd name="T29" fmla="*/ 5 h 26"/>
                  <a:gd name="T30" fmla="*/ 9 w 38"/>
                  <a:gd name="T31" fmla="*/ 5 h 26"/>
                  <a:gd name="T32" fmla="*/ 4 w 38"/>
                  <a:gd name="T33" fmla="*/ 0 h 26"/>
                  <a:gd name="T34" fmla="*/ 4 w 38"/>
                  <a:gd name="T35" fmla="*/ 0 h 26"/>
                  <a:gd name="T36" fmla="*/ 1 w 38"/>
                  <a:gd name="T3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26">
                    <a:moveTo>
                      <a:pt x="1" y="0"/>
                    </a:moveTo>
                    <a:lnTo>
                      <a:pt x="0" y="20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27" y="22"/>
                    </a:lnTo>
                    <a:lnTo>
                      <a:pt x="32" y="20"/>
                    </a:lnTo>
                    <a:lnTo>
                      <a:pt x="37" y="15"/>
                    </a:lnTo>
                    <a:lnTo>
                      <a:pt x="37" y="12"/>
                    </a:lnTo>
                    <a:lnTo>
                      <a:pt x="37" y="7"/>
                    </a:lnTo>
                    <a:lnTo>
                      <a:pt x="32" y="7"/>
                    </a:lnTo>
                    <a:lnTo>
                      <a:pt x="24" y="7"/>
                    </a:lnTo>
                    <a:lnTo>
                      <a:pt x="23" y="7"/>
                    </a:lnTo>
                    <a:lnTo>
                      <a:pt x="18" y="5"/>
                    </a:lnTo>
                    <a:lnTo>
                      <a:pt x="15" y="5"/>
                    </a:lnTo>
                    <a:lnTo>
                      <a:pt x="10" y="5"/>
                    </a:lnTo>
                    <a:lnTo>
                      <a:pt x="9" y="5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8" name="Freeform 197"/>
              <p:cNvSpPr>
                <a:spLocks/>
              </p:cNvSpPr>
              <p:nvPr/>
            </p:nvSpPr>
            <p:spPr bwMode="auto">
              <a:xfrm>
                <a:off x="2933265" y="5925302"/>
                <a:ext cx="67196" cy="44625"/>
              </a:xfrm>
              <a:custGeom>
                <a:avLst/>
                <a:gdLst>
                  <a:gd name="T0" fmla="*/ 1 w 38"/>
                  <a:gd name="T1" fmla="*/ 0 h 26"/>
                  <a:gd name="T2" fmla="*/ 0 w 38"/>
                  <a:gd name="T3" fmla="*/ 20 h 26"/>
                  <a:gd name="T4" fmla="*/ 24 w 38"/>
                  <a:gd name="T5" fmla="*/ 25 h 26"/>
                  <a:gd name="T6" fmla="*/ 24 w 38"/>
                  <a:gd name="T7" fmla="*/ 25 h 26"/>
                  <a:gd name="T8" fmla="*/ 24 w 38"/>
                  <a:gd name="T9" fmla="*/ 25 h 26"/>
                  <a:gd name="T10" fmla="*/ 27 w 38"/>
                  <a:gd name="T11" fmla="*/ 22 h 26"/>
                  <a:gd name="T12" fmla="*/ 32 w 38"/>
                  <a:gd name="T13" fmla="*/ 20 h 26"/>
                  <a:gd name="T14" fmla="*/ 37 w 38"/>
                  <a:gd name="T15" fmla="*/ 15 h 26"/>
                  <a:gd name="T16" fmla="*/ 37 w 38"/>
                  <a:gd name="T17" fmla="*/ 12 h 26"/>
                  <a:gd name="T18" fmla="*/ 37 w 38"/>
                  <a:gd name="T19" fmla="*/ 7 h 26"/>
                  <a:gd name="T20" fmla="*/ 32 w 38"/>
                  <a:gd name="T21" fmla="*/ 7 h 26"/>
                  <a:gd name="T22" fmla="*/ 24 w 38"/>
                  <a:gd name="T23" fmla="*/ 7 h 26"/>
                  <a:gd name="T24" fmla="*/ 24 w 38"/>
                  <a:gd name="T25" fmla="*/ 7 h 26"/>
                  <a:gd name="T26" fmla="*/ 23 w 38"/>
                  <a:gd name="T27" fmla="*/ 7 h 26"/>
                  <a:gd name="T28" fmla="*/ 18 w 38"/>
                  <a:gd name="T29" fmla="*/ 5 h 26"/>
                  <a:gd name="T30" fmla="*/ 15 w 38"/>
                  <a:gd name="T31" fmla="*/ 5 h 26"/>
                  <a:gd name="T32" fmla="*/ 10 w 38"/>
                  <a:gd name="T33" fmla="*/ 5 h 26"/>
                  <a:gd name="T34" fmla="*/ 9 w 38"/>
                  <a:gd name="T35" fmla="*/ 5 h 26"/>
                  <a:gd name="T36" fmla="*/ 4 w 38"/>
                  <a:gd name="T37" fmla="*/ 0 h 26"/>
                  <a:gd name="T38" fmla="*/ 4 w 38"/>
                  <a:gd name="T39" fmla="*/ 0 h 26"/>
                  <a:gd name="T40" fmla="*/ 1 w 38"/>
                  <a:gd name="T4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8" h="26">
                    <a:moveTo>
                      <a:pt x="1" y="0"/>
                    </a:moveTo>
                    <a:lnTo>
                      <a:pt x="0" y="20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27" y="22"/>
                    </a:lnTo>
                    <a:lnTo>
                      <a:pt x="32" y="20"/>
                    </a:lnTo>
                    <a:lnTo>
                      <a:pt x="37" y="15"/>
                    </a:lnTo>
                    <a:lnTo>
                      <a:pt x="37" y="12"/>
                    </a:lnTo>
                    <a:lnTo>
                      <a:pt x="37" y="7"/>
                    </a:lnTo>
                    <a:lnTo>
                      <a:pt x="32" y="7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3" y="7"/>
                    </a:lnTo>
                    <a:lnTo>
                      <a:pt x="18" y="5"/>
                    </a:lnTo>
                    <a:lnTo>
                      <a:pt x="15" y="5"/>
                    </a:lnTo>
                    <a:lnTo>
                      <a:pt x="10" y="5"/>
                    </a:lnTo>
                    <a:lnTo>
                      <a:pt x="9" y="5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1" y="0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9" name="Freeform 198"/>
              <p:cNvSpPr>
                <a:spLocks/>
              </p:cNvSpPr>
              <p:nvPr/>
            </p:nvSpPr>
            <p:spPr bwMode="auto">
              <a:xfrm>
                <a:off x="3011071" y="5957913"/>
                <a:ext cx="90184" cy="61788"/>
              </a:xfrm>
              <a:custGeom>
                <a:avLst/>
                <a:gdLst>
                  <a:gd name="T0" fmla="*/ 1 w 51"/>
                  <a:gd name="T1" fmla="*/ 11 h 36"/>
                  <a:gd name="T2" fmla="*/ 1 w 51"/>
                  <a:gd name="T3" fmla="*/ 11 h 36"/>
                  <a:gd name="T4" fmla="*/ 0 w 51"/>
                  <a:gd name="T5" fmla="*/ 9 h 36"/>
                  <a:gd name="T6" fmla="*/ 0 w 51"/>
                  <a:gd name="T7" fmla="*/ 6 h 36"/>
                  <a:gd name="T8" fmla="*/ 0 w 51"/>
                  <a:gd name="T9" fmla="*/ 4 h 36"/>
                  <a:gd name="T10" fmla="*/ 0 w 51"/>
                  <a:gd name="T11" fmla="*/ 1 h 36"/>
                  <a:gd name="T12" fmla="*/ 1 w 51"/>
                  <a:gd name="T13" fmla="*/ 0 h 36"/>
                  <a:gd name="T14" fmla="*/ 6 w 51"/>
                  <a:gd name="T15" fmla="*/ 1 h 36"/>
                  <a:gd name="T16" fmla="*/ 11 w 51"/>
                  <a:gd name="T17" fmla="*/ 4 h 36"/>
                  <a:gd name="T18" fmla="*/ 14 w 51"/>
                  <a:gd name="T19" fmla="*/ 4 h 36"/>
                  <a:gd name="T20" fmla="*/ 19 w 51"/>
                  <a:gd name="T21" fmla="*/ 4 h 36"/>
                  <a:gd name="T22" fmla="*/ 19 w 51"/>
                  <a:gd name="T23" fmla="*/ 6 h 36"/>
                  <a:gd name="T24" fmla="*/ 20 w 51"/>
                  <a:gd name="T25" fmla="*/ 6 h 36"/>
                  <a:gd name="T26" fmla="*/ 30 w 51"/>
                  <a:gd name="T27" fmla="*/ 6 h 36"/>
                  <a:gd name="T28" fmla="*/ 43 w 51"/>
                  <a:gd name="T29" fmla="*/ 14 h 36"/>
                  <a:gd name="T30" fmla="*/ 43 w 51"/>
                  <a:gd name="T31" fmla="*/ 14 h 36"/>
                  <a:gd name="T32" fmla="*/ 45 w 51"/>
                  <a:gd name="T33" fmla="*/ 15 h 36"/>
                  <a:gd name="T34" fmla="*/ 48 w 51"/>
                  <a:gd name="T35" fmla="*/ 19 h 36"/>
                  <a:gd name="T36" fmla="*/ 50 w 51"/>
                  <a:gd name="T37" fmla="*/ 20 h 36"/>
                  <a:gd name="T38" fmla="*/ 50 w 51"/>
                  <a:gd name="T39" fmla="*/ 23 h 36"/>
                  <a:gd name="T40" fmla="*/ 48 w 51"/>
                  <a:gd name="T41" fmla="*/ 28 h 36"/>
                  <a:gd name="T42" fmla="*/ 43 w 51"/>
                  <a:gd name="T43" fmla="*/ 28 h 36"/>
                  <a:gd name="T44" fmla="*/ 35 w 51"/>
                  <a:gd name="T45" fmla="*/ 30 h 36"/>
                  <a:gd name="T46" fmla="*/ 33 w 51"/>
                  <a:gd name="T47" fmla="*/ 30 h 36"/>
                  <a:gd name="T48" fmla="*/ 33 w 51"/>
                  <a:gd name="T49" fmla="*/ 33 h 36"/>
                  <a:gd name="T50" fmla="*/ 30 w 51"/>
                  <a:gd name="T51" fmla="*/ 33 h 36"/>
                  <a:gd name="T52" fmla="*/ 29 w 51"/>
                  <a:gd name="T53" fmla="*/ 35 h 36"/>
                  <a:gd name="T54" fmla="*/ 25 w 51"/>
                  <a:gd name="T55" fmla="*/ 35 h 36"/>
                  <a:gd name="T56" fmla="*/ 20 w 51"/>
                  <a:gd name="T57" fmla="*/ 33 h 36"/>
                  <a:gd name="T58" fmla="*/ 19 w 51"/>
                  <a:gd name="T59" fmla="*/ 28 h 36"/>
                  <a:gd name="T60" fmla="*/ 16 w 51"/>
                  <a:gd name="T61" fmla="*/ 23 h 36"/>
                  <a:gd name="T62" fmla="*/ 14 w 51"/>
                  <a:gd name="T63" fmla="*/ 20 h 36"/>
                  <a:gd name="T64" fmla="*/ 9 w 51"/>
                  <a:gd name="T65" fmla="*/ 15 h 36"/>
                  <a:gd name="T66" fmla="*/ 4 w 51"/>
                  <a:gd name="T67" fmla="*/ 14 h 36"/>
                  <a:gd name="T68" fmla="*/ 1 w 51"/>
                  <a:gd name="T69" fmla="*/ 1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1" h="36">
                    <a:moveTo>
                      <a:pt x="1" y="11"/>
                    </a:moveTo>
                    <a:lnTo>
                      <a:pt x="1" y="11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6" y="1"/>
                    </a:lnTo>
                    <a:lnTo>
                      <a:pt x="11" y="4"/>
                    </a:lnTo>
                    <a:lnTo>
                      <a:pt x="14" y="4"/>
                    </a:lnTo>
                    <a:lnTo>
                      <a:pt x="19" y="4"/>
                    </a:lnTo>
                    <a:lnTo>
                      <a:pt x="19" y="6"/>
                    </a:lnTo>
                    <a:lnTo>
                      <a:pt x="20" y="6"/>
                    </a:lnTo>
                    <a:lnTo>
                      <a:pt x="30" y="6"/>
                    </a:lnTo>
                    <a:lnTo>
                      <a:pt x="43" y="14"/>
                    </a:lnTo>
                    <a:lnTo>
                      <a:pt x="43" y="14"/>
                    </a:lnTo>
                    <a:lnTo>
                      <a:pt x="45" y="15"/>
                    </a:lnTo>
                    <a:lnTo>
                      <a:pt x="48" y="19"/>
                    </a:lnTo>
                    <a:lnTo>
                      <a:pt x="50" y="20"/>
                    </a:lnTo>
                    <a:lnTo>
                      <a:pt x="50" y="23"/>
                    </a:lnTo>
                    <a:lnTo>
                      <a:pt x="48" y="28"/>
                    </a:lnTo>
                    <a:lnTo>
                      <a:pt x="43" y="28"/>
                    </a:lnTo>
                    <a:lnTo>
                      <a:pt x="35" y="30"/>
                    </a:lnTo>
                    <a:lnTo>
                      <a:pt x="33" y="30"/>
                    </a:lnTo>
                    <a:lnTo>
                      <a:pt x="33" y="33"/>
                    </a:lnTo>
                    <a:lnTo>
                      <a:pt x="30" y="33"/>
                    </a:lnTo>
                    <a:lnTo>
                      <a:pt x="29" y="35"/>
                    </a:lnTo>
                    <a:lnTo>
                      <a:pt x="25" y="35"/>
                    </a:lnTo>
                    <a:lnTo>
                      <a:pt x="20" y="33"/>
                    </a:lnTo>
                    <a:lnTo>
                      <a:pt x="19" y="28"/>
                    </a:lnTo>
                    <a:lnTo>
                      <a:pt x="16" y="23"/>
                    </a:lnTo>
                    <a:lnTo>
                      <a:pt x="14" y="20"/>
                    </a:lnTo>
                    <a:lnTo>
                      <a:pt x="9" y="15"/>
                    </a:lnTo>
                    <a:lnTo>
                      <a:pt x="4" y="14"/>
                    </a:lnTo>
                    <a:lnTo>
                      <a:pt x="1" y="1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0" name="Freeform 199"/>
              <p:cNvSpPr>
                <a:spLocks/>
              </p:cNvSpPr>
              <p:nvPr/>
            </p:nvSpPr>
            <p:spPr bwMode="auto">
              <a:xfrm>
                <a:off x="3011071" y="5957913"/>
                <a:ext cx="90184" cy="61788"/>
              </a:xfrm>
              <a:custGeom>
                <a:avLst/>
                <a:gdLst>
                  <a:gd name="T0" fmla="*/ 1 w 51"/>
                  <a:gd name="T1" fmla="*/ 11 h 36"/>
                  <a:gd name="T2" fmla="*/ 1 w 51"/>
                  <a:gd name="T3" fmla="*/ 11 h 36"/>
                  <a:gd name="T4" fmla="*/ 1 w 51"/>
                  <a:gd name="T5" fmla="*/ 11 h 36"/>
                  <a:gd name="T6" fmla="*/ 0 w 51"/>
                  <a:gd name="T7" fmla="*/ 9 h 36"/>
                  <a:gd name="T8" fmla="*/ 0 w 51"/>
                  <a:gd name="T9" fmla="*/ 6 h 36"/>
                  <a:gd name="T10" fmla="*/ 0 w 51"/>
                  <a:gd name="T11" fmla="*/ 4 h 36"/>
                  <a:gd name="T12" fmla="*/ 0 w 51"/>
                  <a:gd name="T13" fmla="*/ 1 h 36"/>
                  <a:gd name="T14" fmla="*/ 1 w 51"/>
                  <a:gd name="T15" fmla="*/ 0 h 36"/>
                  <a:gd name="T16" fmla="*/ 6 w 51"/>
                  <a:gd name="T17" fmla="*/ 1 h 36"/>
                  <a:gd name="T18" fmla="*/ 11 w 51"/>
                  <a:gd name="T19" fmla="*/ 4 h 36"/>
                  <a:gd name="T20" fmla="*/ 11 w 51"/>
                  <a:gd name="T21" fmla="*/ 4 h 36"/>
                  <a:gd name="T22" fmla="*/ 14 w 51"/>
                  <a:gd name="T23" fmla="*/ 4 h 36"/>
                  <a:gd name="T24" fmla="*/ 19 w 51"/>
                  <a:gd name="T25" fmla="*/ 4 h 36"/>
                  <a:gd name="T26" fmla="*/ 19 w 51"/>
                  <a:gd name="T27" fmla="*/ 6 h 36"/>
                  <a:gd name="T28" fmla="*/ 20 w 51"/>
                  <a:gd name="T29" fmla="*/ 6 h 36"/>
                  <a:gd name="T30" fmla="*/ 30 w 51"/>
                  <a:gd name="T31" fmla="*/ 6 h 36"/>
                  <a:gd name="T32" fmla="*/ 43 w 51"/>
                  <a:gd name="T33" fmla="*/ 14 h 36"/>
                  <a:gd name="T34" fmla="*/ 43 w 51"/>
                  <a:gd name="T35" fmla="*/ 14 h 36"/>
                  <a:gd name="T36" fmla="*/ 43 w 51"/>
                  <a:gd name="T37" fmla="*/ 14 h 36"/>
                  <a:gd name="T38" fmla="*/ 45 w 51"/>
                  <a:gd name="T39" fmla="*/ 15 h 36"/>
                  <a:gd name="T40" fmla="*/ 48 w 51"/>
                  <a:gd name="T41" fmla="*/ 19 h 36"/>
                  <a:gd name="T42" fmla="*/ 50 w 51"/>
                  <a:gd name="T43" fmla="*/ 20 h 36"/>
                  <a:gd name="T44" fmla="*/ 50 w 51"/>
                  <a:gd name="T45" fmla="*/ 23 h 36"/>
                  <a:gd name="T46" fmla="*/ 48 w 51"/>
                  <a:gd name="T47" fmla="*/ 28 h 36"/>
                  <a:gd name="T48" fmla="*/ 43 w 51"/>
                  <a:gd name="T49" fmla="*/ 28 h 36"/>
                  <a:gd name="T50" fmla="*/ 35 w 51"/>
                  <a:gd name="T51" fmla="*/ 30 h 36"/>
                  <a:gd name="T52" fmla="*/ 35 w 51"/>
                  <a:gd name="T53" fmla="*/ 30 h 36"/>
                  <a:gd name="T54" fmla="*/ 33 w 51"/>
                  <a:gd name="T55" fmla="*/ 30 h 36"/>
                  <a:gd name="T56" fmla="*/ 33 w 51"/>
                  <a:gd name="T57" fmla="*/ 33 h 36"/>
                  <a:gd name="T58" fmla="*/ 30 w 51"/>
                  <a:gd name="T59" fmla="*/ 33 h 36"/>
                  <a:gd name="T60" fmla="*/ 29 w 51"/>
                  <a:gd name="T61" fmla="*/ 35 h 36"/>
                  <a:gd name="T62" fmla="*/ 25 w 51"/>
                  <a:gd name="T63" fmla="*/ 35 h 36"/>
                  <a:gd name="T64" fmla="*/ 20 w 51"/>
                  <a:gd name="T65" fmla="*/ 33 h 36"/>
                  <a:gd name="T66" fmla="*/ 19 w 51"/>
                  <a:gd name="T67" fmla="*/ 28 h 36"/>
                  <a:gd name="T68" fmla="*/ 16 w 51"/>
                  <a:gd name="T69" fmla="*/ 23 h 36"/>
                  <a:gd name="T70" fmla="*/ 16 w 51"/>
                  <a:gd name="T71" fmla="*/ 23 h 36"/>
                  <a:gd name="T72" fmla="*/ 14 w 51"/>
                  <a:gd name="T73" fmla="*/ 20 h 36"/>
                  <a:gd name="T74" fmla="*/ 9 w 51"/>
                  <a:gd name="T75" fmla="*/ 15 h 36"/>
                  <a:gd name="T76" fmla="*/ 4 w 51"/>
                  <a:gd name="T77" fmla="*/ 14 h 36"/>
                  <a:gd name="T78" fmla="*/ 1 w 51"/>
                  <a:gd name="T79" fmla="*/ 1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1" h="36">
                    <a:moveTo>
                      <a:pt x="1" y="11"/>
                    </a:moveTo>
                    <a:lnTo>
                      <a:pt x="1" y="11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6" y="1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4" y="4"/>
                    </a:lnTo>
                    <a:lnTo>
                      <a:pt x="19" y="4"/>
                    </a:lnTo>
                    <a:lnTo>
                      <a:pt x="19" y="6"/>
                    </a:lnTo>
                    <a:lnTo>
                      <a:pt x="20" y="6"/>
                    </a:lnTo>
                    <a:lnTo>
                      <a:pt x="30" y="6"/>
                    </a:lnTo>
                    <a:lnTo>
                      <a:pt x="43" y="14"/>
                    </a:lnTo>
                    <a:lnTo>
                      <a:pt x="43" y="14"/>
                    </a:lnTo>
                    <a:lnTo>
                      <a:pt x="43" y="14"/>
                    </a:lnTo>
                    <a:lnTo>
                      <a:pt x="45" y="15"/>
                    </a:lnTo>
                    <a:lnTo>
                      <a:pt x="48" y="19"/>
                    </a:lnTo>
                    <a:lnTo>
                      <a:pt x="50" y="20"/>
                    </a:lnTo>
                    <a:lnTo>
                      <a:pt x="50" y="23"/>
                    </a:lnTo>
                    <a:lnTo>
                      <a:pt x="48" y="28"/>
                    </a:lnTo>
                    <a:lnTo>
                      <a:pt x="43" y="28"/>
                    </a:lnTo>
                    <a:lnTo>
                      <a:pt x="35" y="30"/>
                    </a:lnTo>
                    <a:lnTo>
                      <a:pt x="35" y="30"/>
                    </a:lnTo>
                    <a:lnTo>
                      <a:pt x="33" y="30"/>
                    </a:lnTo>
                    <a:lnTo>
                      <a:pt x="33" y="33"/>
                    </a:lnTo>
                    <a:lnTo>
                      <a:pt x="30" y="33"/>
                    </a:lnTo>
                    <a:lnTo>
                      <a:pt x="29" y="35"/>
                    </a:lnTo>
                    <a:lnTo>
                      <a:pt x="25" y="35"/>
                    </a:lnTo>
                    <a:lnTo>
                      <a:pt x="20" y="33"/>
                    </a:lnTo>
                    <a:lnTo>
                      <a:pt x="19" y="28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14" y="20"/>
                    </a:lnTo>
                    <a:lnTo>
                      <a:pt x="9" y="15"/>
                    </a:lnTo>
                    <a:lnTo>
                      <a:pt x="4" y="14"/>
                    </a:lnTo>
                    <a:lnTo>
                      <a:pt x="1" y="11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1" name="Freeform 200"/>
              <p:cNvSpPr>
                <a:spLocks/>
              </p:cNvSpPr>
              <p:nvPr/>
            </p:nvSpPr>
            <p:spPr bwMode="auto">
              <a:xfrm>
                <a:off x="3087109" y="6048878"/>
                <a:ext cx="160917" cy="181931"/>
              </a:xfrm>
              <a:custGeom>
                <a:avLst/>
                <a:gdLst>
                  <a:gd name="T0" fmla="*/ 14 w 91"/>
                  <a:gd name="T1" fmla="*/ 6 h 106"/>
                  <a:gd name="T2" fmla="*/ 17 w 91"/>
                  <a:gd name="T3" fmla="*/ 0 h 106"/>
                  <a:gd name="T4" fmla="*/ 30 w 91"/>
                  <a:gd name="T5" fmla="*/ 9 h 106"/>
                  <a:gd name="T6" fmla="*/ 63 w 91"/>
                  <a:gd name="T7" fmla="*/ 25 h 106"/>
                  <a:gd name="T8" fmla="*/ 74 w 91"/>
                  <a:gd name="T9" fmla="*/ 30 h 106"/>
                  <a:gd name="T10" fmla="*/ 74 w 91"/>
                  <a:gd name="T11" fmla="*/ 39 h 106"/>
                  <a:gd name="T12" fmla="*/ 83 w 91"/>
                  <a:gd name="T13" fmla="*/ 54 h 106"/>
                  <a:gd name="T14" fmla="*/ 83 w 91"/>
                  <a:gd name="T15" fmla="*/ 54 h 106"/>
                  <a:gd name="T16" fmla="*/ 85 w 91"/>
                  <a:gd name="T17" fmla="*/ 54 h 106"/>
                  <a:gd name="T18" fmla="*/ 88 w 91"/>
                  <a:gd name="T19" fmla="*/ 55 h 106"/>
                  <a:gd name="T20" fmla="*/ 90 w 91"/>
                  <a:gd name="T21" fmla="*/ 58 h 106"/>
                  <a:gd name="T22" fmla="*/ 90 w 91"/>
                  <a:gd name="T23" fmla="*/ 60 h 106"/>
                  <a:gd name="T24" fmla="*/ 90 w 91"/>
                  <a:gd name="T25" fmla="*/ 63 h 106"/>
                  <a:gd name="T26" fmla="*/ 85 w 91"/>
                  <a:gd name="T27" fmla="*/ 68 h 106"/>
                  <a:gd name="T28" fmla="*/ 78 w 91"/>
                  <a:gd name="T29" fmla="*/ 73 h 106"/>
                  <a:gd name="T30" fmla="*/ 75 w 91"/>
                  <a:gd name="T31" fmla="*/ 73 h 106"/>
                  <a:gd name="T32" fmla="*/ 74 w 91"/>
                  <a:gd name="T33" fmla="*/ 73 h 106"/>
                  <a:gd name="T34" fmla="*/ 67 w 91"/>
                  <a:gd name="T35" fmla="*/ 74 h 106"/>
                  <a:gd name="T36" fmla="*/ 60 w 91"/>
                  <a:gd name="T37" fmla="*/ 77 h 106"/>
                  <a:gd name="T38" fmla="*/ 50 w 91"/>
                  <a:gd name="T39" fmla="*/ 82 h 106"/>
                  <a:gd name="T40" fmla="*/ 44 w 91"/>
                  <a:gd name="T41" fmla="*/ 87 h 106"/>
                  <a:gd name="T42" fmla="*/ 36 w 91"/>
                  <a:gd name="T43" fmla="*/ 93 h 106"/>
                  <a:gd name="T44" fmla="*/ 31 w 91"/>
                  <a:gd name="T45" fmla="*/ 105 h 106"/>
                  <a:gd name="T46" fmla="*/ 30 w 91"/>
                  <a:gd name="T47" fmla="*/ 105 h 106"/>
                  <a:gd name="T48" fmla="*/ 30 w 91"/>
                  <a:gd name="T49" fmla="*/ 103 h 106"/>
                  <a:gd name="T50" fmla="*/ 25 w 91"/>
                  <a:gd name="T51" fmla="*/ 103 h 106"/>
                  <a:gd name="T52" fmla="*/ 20 w 91"/>
                  <a:gd name="T53" fmla="*/ 98 h 106"/>
                  <a:gd name="T54" fmla="*/ 17 w 91"/>
                  <a:gd name="T55" fmla="*/ 97 h 106"/>
                  <a:gd name="T56" fmla="*/ 14 w 91"/>
                  <a:gd name="T57" fmla="*/ 92 h 106"/>
                  <a:gd name="T58" fmla="*/ 14 w 91"/>
                  <a:gd name="T59" fmla="*/ 84 h 106"/>
                  <a:gd name="T60" fmla="*/ 11 w 91"/>
                  <a:gd name="T61" fmla="*/ 74 h 106"/>
                  <a:gd name="T62" fmla="*/ 11 w 91"/>
                  <a:gd name="T63" fmla="*/ 74 h 106"/>
                  <a:gd name="T64" fmla="*/ 11 w 91"/>
                  <a:gd name="T65" fmla="*/ 73 h 106"/>
                  <a:gd name="T66" fmla="*/ 14 w 91"/>
                  <a:gd name="T67" fmla="*/ 70 h 106"/>
                  <a:gd name="T68" fmla="*/ 14 w 91"/>
                  <a:gd name="T69" fmla="*/ 68 h 106"/>
                  <a:gd name="T70" fmla="*/ 11 w 91"/>
                  <a:gd name="T71" fmla="*/ 65 h 106"/>
                  <a:gd name="T72" fmla="*/ 11 w 91"/>
                  <a:gd name="T73" fmla="*/ 60 h 106"/>
                  <a:gd name="T74" fmla="*/ 9 w 91"/>
                  <a:gd name="T75" fmla="*/ 55 h 106"/>
                  <a:gd name="T76" fmla="*/ 4 w 91"/>
                  <a:gd name="T77" fmla="*/ 50 h 106"/>
                  <a:gd name="T78" fmla="*/ 4 w 91"/>
                  <a:gd name="T79" fmla="*/ 49 h 106"/>
                  <a:gd name="T80" fmla="*/ 1 w 91"/>
                  <a:gd name="T81" fmla="*/ 46 h 106"/>
                  <a:gd name="T82" fmla="*/ 1 w 91"/>
                  <a:gd name="T83" fmla="*/ 44 h 106"/>
                  <a:gd name="T84" fmla="*/ 0 w 91"/>
                  <a:gd name="T85" fmla="*/ 42 h 106"/>
                  <a:gd name="T86" fmla="*/ 0 w 91"/>
                  <a:gd name="T87" fmla="*/ 39 h 106"/>
                  <a:gd name="T88" fmla="*/ 1 w 91"/>
                  <a:gd name="T89" fmla="*/ 35 h 106"/>
                  <a:gd name="T90" fmla="*/ 4 w 91"/>
                  <a:gd name="T91" fmla="*/ 35 h 106"/>
                  <a:gd name="T92" fmla="*/ 9 w 91"/>
                  <a:gd name="T93" fmla="*/ 33 h 106"/>
                  <a:gd name="T94" fmla="*/ 11 w 91"/>
                  <a:gd name="T95" fmla="*/ 35 h 106"/>
                  <a:gd name="T96" fmla="*/ 11 w 91"/>
                  <a:gd name="T97" fmla="*/ 35 h 106"/>
                  <a:gd name="T98" fmla="*/ 14 w 91"/>
                  <a:gd name="T99" fmla="*/ 35 h 106"/>
                  <a:gd name="T100" fmla="*/ 14 w 91"/>
                  <a:gd name="T101" fmla="*/ 35 h 106"/>
                  <a:gd name="T102" fmla="*/ 14 w 91"/>
                  <a:gd name="T103" fmla="*/ 33 h 106"/>
                  <a:gd name="T104" fmla="*/ 15 w 91"/>
                  <a:gd name="T105" fmla="*/ 30 h 106"/>
                  <a:gd name="T106" fmla="*/ 15 w 91"/>
                  <a:gd name="T107" fmla="*/ 23 h 106"/>
                  <a:gd name="T108" fmla="*/ 15 w 91"/>
                  <a:gd name="T109" fmla="*/ 14 h 106"/>
                  <a:gd name="T110" fmla="*/ 15 w 91"/>
                  <a:gd name="T111" fmla="*/ 11 h 106"/>
                  <a:gd name="T112" fmla="*/ 14 w 91"/>
                  <a:gd name="T113" fmla="*/ 9 h 106"/>
                  <a:gd name="T114" fmla="*/ 14 w 91"/>
                  <a:gd name="T115" fmla="*/ 9 h 106"/>
                  <a:gd name="T116" fmla="*/ 14 w 91"/>
                  <a:gd name="T117" fmla="*/ 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1" h="106">
                    <a:moveTo>
                      <a:pt x="14" y="6"/>
                    </a:moveTo>
                    <a:lnTo>
                      <a:pt x="17" y="0"/>
                    </a:lnTo>
                    <a:lnTo>
                      <a:pt x="30" y="9"/>
                    </a:lnTo>
                    <a:lnTo>
                      <a:pt x="63" y="25"/>
                    </a:lnTo>
                    <a:lnTo>
                      <a:pt x="74" y="30"/>
                    </a:lnTo>
                    <a:lnTo>
                      <a:pt x="74" y="39"/>
                    </a:lnTo>
                    <a:lnTo>
                      <a:pt x="83" y="54"/>
                    </a:lnTo>
                    <a:lnTo>
                      <a:pt x="83" y="54"/>
                    </a:lnTo>
                    <a:lnTo>
                      <a:pt x="85" y="54"/>
                    </a:lnTo>
                    <a:lnTo>
                      <a:pt x="88" y="55"/>
                    </a:lnTo>
                    <a:lnTo>
                      <a:pt x="90" y="58"/>
                    </a:lnTo>
                    <a:lnTo>
                      <a:pt x="90" y="60"/>
                    </a:lnTo>
                    <a:lnTo>
                      <a:pt x="90" y="63"/>
                    </a:lnTo>
                    <a:lnTo>
                      <a:pt x="85" y="68"/>
                    </a:lnTo>
                    <a:lnTo>
                      <a:pt x="78" y="73"/>
                    </a:lnTo>
                    <a:lnTo>
                      <a:pt x="75" y="73"/>
                    </a:lnTo>
                    <a:lnTo>
                      <a:pt x="74" y="73"/>
                    </a:lnTo>
                    <a:lnTo>
                      <a:pt x="67" y="74"/>
                    </a:lnTo>
                    <a:lnTo>
                      <a:pt x="60" y="77"/>
                    </a:lnTo>
                    <a:lnTo>
                      <a:pt x="50" y="82"/>
                    </a:lnTo>
                    <a:lnTo>
                      <a:pt x="44" y="87"/>
                    </a:lnTo>
                    <a:lnTo>
                      <a:pt x="36" y="93"/>
                    </a:lnTo>
                    <a:lnTo>
                      <a:pt x="31" y="105"/>
                    </a:lnTo>
                    <a:lnTo>
                      <a:pt x="30" y="105"/>
                    </a:lnTo>
                    <a:lnTo>
                      <a:pt x="30" y="103"/>
                    </a:lnTo>
                    <a:lnTo>
                      <a:pt x="25" y="103"/>
                    </a:lnTo>
                    <a:lnTo>
                      <a:pt x="20" y="98"/>
                    </a:lnTo>
                    <a:lnTo>
                      <a:pt x="17" y="97"/>
                    </a:lnTo>
                    <a:lnTo>
                      <a:pt x="14" y="92"/>
                    </a:lnTo>
                    <a:lnTo>
                      <a:pt x="14" y="84"/>
                    </a:lnTo>
                    <a:lnTo>
                      <a:pt x="11" y="74"/>
                    </a:lnTo>
                    <a:lnTo>
                      <a:pt x="11" y="74"/>
                    </a:lnTo>
                    <a:lnTo>
                      <a:pt x="11" y="73"/>
                    </a:lnTo>
                    <a:lnTo>
                      <a:pt x="14" y="70"/>
                    </a:lnTo>
                    <a:lnTo>
                      <a:pt x="14" y="68"/>
                    </a:lnTo>
                    <a:lnTo>
                      <a:pt x="11" y="65"/>
                    </a:lnTo>
                    <a:lnTo>
                      <a:pt x="11" y="60"/>
                    </a:lnTo>
                    <a:lnTo>
                      <a:pt x="9" y="55"/>
                    </a:lnTo>
                    <a:lnTo>
                      <a:pt x="4" y="50"/>
                    </a:lnTo>
                    <a:lnTo>
                      <a:pt x="4" y="49"/>
                    </a:lnTo>
                    <a:lnTo>
                      <a:pt x="1" y="46"/>
                    </a:lnTo>
                    <a:lnTo>
                      <a:pt x="1" y="44"/>
                    </a:lnTo>
                    <a:lnTo>
                      <a:pt x="0" y="42"/>
                    </a:lnTo>
                    <a:lnTo>
                      <a:pt x="0" y="39"/>
                    </a:lnTo>
                    <a:lnTo>
                      <a:pt x="1" y="35"/>
                    </a:lnTo>
                    <a:lnTo>
                      <a:pt x="4" y="35"/>
                    </a:lnTo>
                    <a:lnTo>
                      <a:pt x="9" y="33"/>
                    </a:lnTo>
                    <a:lnTo>
                      <a:pt x="11" y="35"/>
                    </a:lnTo>
                    <a:lnTo>
                      <a:pt x="11" y="35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4" y="33"/>
                    </a:lnTo>
                    <a:lnTo>
                      <a:pt x="15" y="30"/>
                    </a:lnTo>
                    <a:lnTo>
                      <a:pt x="15" y="23"/>
                    </a:lnTo>
                    <a:lnTo>
                      <a:pt x="15" y="14"/>
                    </a:lnTo>
                    <a:lnTo>
                      <a:pt x="15" y="11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6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2" name="Freeform 201"/>
              <p:cNvSpPr>
                <a:spLocks/>
              </p:cNvSpPr>
              <p:nvPr/>
            </p:nvSpPr>
            <p:spPr bwMode="auto">
              <a:xfrm>
                <a:off x="3087109" y="6048878"/>
                <a:ext cx="160917" cy="181931"/>
              </a:xfrm>
              <a:custGeom>
                <a:avLst/>
                <a:gdLst>
                  <a:gd name="T0" fmla="*/ 17 w 91"/>
                  <a:gd name="T1" fmla="*/ 0 h 106"/>
                  <a:gd name="T2" fmla="*/ 63 w 91"/>
                  <a:gd name="T3" fmla="*/ 25 h 106"/>
                  <a:gd name="T4" fmla="*/ 74 w 91"/>
                  <a:gd name="T5" fmla="*/ 39 h 106"/>
                  <a:gd name="T6" fmla="*/ 83 w 91"/>
                  <a:gd name="T7" fmla="*/ 54 h 106"/>
                  <a:gd name="T8" fmla="*/ 85 w 91"/>
                  <a:gd name="T9" fmla="*/ 54 h 106"/>
                  <a:gd name="T10" fmla="*/ 90 w 91"/>
                  <a:gd name="T11" fmla="*/ 58 h 106"/>
                  <a:gd name="T12" fmla="*/ 90 w 91"/>
                  <a:gd name="T13" fmla="*/ 63 h 106"/>
                  <a:gd name="T14" fmla="*/ 78 w 91"/>
                  <a:gd name="T15" fmla="*/ 73 h 106"/>
                  <a:gd name="T16" fmla="*/ 75 w 91"/>
                  <a:gd name="T17" fmla="*/ 73 h 106"/>
                  <a:gd name="T18" fmla="*/ 67 w 91"/>
                  <a:gd name="T19" fmla="*/ 74 h 106"/>
                  <a:gd name="T20" fmla="*/ 50 w 91"/>
                  <a:gd name="T21" fmla="*/ 82 h 106"/>
                  <a:gd name="T22" fmla="*/ 36 w 91"/>
                  <a:gd name="T23" fmla="*/ 93 h 106"/>
                  <a:gd name="T24" fmla="*/ 31 w 91"/>
                  <a:gd name="T25" fmla="*/ 105 h 106"/>
                  <a:gd name="T26" fmla="*/ 30 w 91"/>
                  <a:gd name="T27" fmla="*/ 103 h 106"/>
                  <a:gd name="T28" fmla="*/ 20 w 91"/>
                  <a:gd name="T29" fmla="*/ 98 h 106"/>
                  <a:gd name="T30" fmla="*/ 14 w 91"/>
                  <a:gd name="T31" fmla="*/ 92 h 106"/>
                  <a:gd name="T32" fmla="*/ 11 w 91"/>
                  <a:gd name="T33" fmla="*/ 74 h 106"/>
                  <a:gd name="T34" fmla="*/ 11 w 91"/>
                  <a:gd name="T35" fmla="*/ 74 h 106"/>
                  <a:gd name="T36" fmla="*/ 14 w 91"/>
                  <a:gd name="T37" fmla="*/ 70 h 106"/>
                  <a:gd name="T38" fmla="*/ 11 w 91"/>
                  <a:gd name="T39" fmla="*/ 65 h 106"/>
                  <a:gd name="T40" fmla="*/ 9 w 91"/>
                  <a:gd name="T41" fmla="*/ 55 h 106"/>
                  <a:gd name="T42" fmla="*/ 4 w 91"/>
                  <a:gd name="T43" fmla="*/ 50 h 106"/>
                  <a:gd name="T44" fmla="*/ 1 w 91"/>
                  <a:gd name="T45" fmla="*/ 46 h 106"/>
                  <a:gd name="T46" fmla="*/ 0 w 91"/>
                  <a:gd name="T47" fmla="*/ 42 h 106"/>
                  <a:gd name="T48" fmla="*/ 1 w 91"/>
                  <a:gd name="T49" fmla="*/ 35 h 106"/>
                  <a:gd name="T50" fmla="*/ 9 w 91"/>
                  <a:gd name="T51" fmla="*/ 33 h 106"/>
                  <a:gd name="T52" fmla="*/ 11 w 91"/>
                  <a:gd name="T53" fmla="*/ 35 h 106"/>
                  <a:gd name="T54" fmla="*/ 14 w 91"/>
                  <a:gd name="T55" fmla="*/ 35 h 106"/>
                  <a:gd name="T56" fmla="*/ 14 w 91"/>
                  <a:gd name="T57" fmla="*/ 33 h 106"/>
                  <a:gd name="T58" fmla="*/ 15 w 91"/>
                  <a:gd name="T59" fmla="*/ 23 h 106"/>
                  <a:gd name="T60" fmla="*/ 15 w 91"/>
                  <a:gd name="T61" fmla="*/ 14 h 106"/>
                  <a:gd name="T62" fmla="*/ 14 w 91"/>
                  <a:gd name="T63" fmla="*/ 9 h 106"/>
                  <a:gd name="T64" fmla="*/ 14 w 91"/>
                  <a:gd name="T65" fmla="*/ 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1" h="106">
                    <a:moveTo>
                      <a:pt x="14" y="6"/>
                    </a:moveTo>
                    <a:lnTo>
                      <a:pt x="17" y="0"/>
                    </a:lnTo>
                    <a:lnTo>
                      <a:pt x="30" y="9"/>
                    </a:lnTo>
                    <a:lnTo>
                      <a:pt x="63" y="25"/>
                    </a:lnTo>
                    <a:lnTo>
                      <a:pt x="74" y="30"/>
                    </a:lnTo>
                    <a:lnTo>
                      <a:pt x="74" y="39"/>
                    </a:lnTo>
                    <a:lnTo>
                      <a:pt x="83" y="54"/>
                    </a:lnTo>
                    <a:lnTo>
                      <a:pt x="83" y="54"/>
                    </a:lnTo>
                    <a:lnTo>
                      <a:pt x="83" y="54"/>
                    </a:lnTo>
                    <a:lnTo>
                      <a:pt x="85" y="54"/>
                    </a:lnTo>
                    <a:lnTo>
                      <a:pt x="88" y="55"/>
                    </a:lnTo>
                    <a:lnTo>
                      <a:pt x="90" y="58"/>
                    </a:lnTo>
                    <a:lnTo>
                      <a:pt x="90" y="60"/>
                    </a:lnTo>
                    <a:lnTo>
                      <a:pt x="90" y="63"/>
                    </a:lnTo>
                    <a:lnTo>
                      <a:pt x="85" y="68"/>
                    </a:lnTo>
                    <a:lnTo>
                      <a:pt x="78" y="73"/>
                    </a:lnTo>
                    <a:lnTo>
                      <a:pt x="78" y="73"/>
                    </a:lnTo>
                    <a:lnTo>
                      <a:pt x="75" y="73"/>
                    </a:lnTo>
                    <a:lnTo>
                      <a:pt x="74" y="73"/>
                    </a:lnTo>
                    <a:lnTo>
                      <a:pt x="67" y="74"/>
                    </a:lnTo>
                    <a:lnTo>
                      <a:pt x="60" y="77"/>
                    </a:lnTo>
                    <a:lnTo>
                      <a:pt x="50" y="82"/>
                    </a:lnTo>
                    <a:lnTo>
                      <a:pt x="44" y="87"/>
                    </a:lnTo>
                    <a:lnTo>
                      <a:pt x="36" y="93"/>
                    </a:lnTo>
                    <a:lnTo>
                      <a:pt x="31" y="105"/>
                    </a:lnTo>
                    <a:lnTo>
                      <a:pt x="31" y="105"/>
                    </a:lnTo>
                    <a:lnTo>
                      <a:pt x="30" y="105"/>
                    </a:lnTo>
                    <a:lnTo>
                      <a:pt x="30" y="103"/>
                    </a:lnTo>
                    <a:lnTo>
                      <a:pt x="25" y="103"/>
                    </a:lnTo>
                    <a:lnTo>
                      <a:pt x="20" y="98"/>
                    </a:lnTo>
                    <a:lnTo>
                      <a:pt x="17" y="97"/>
                    </a:lnTo>
                    <a:lnTo>
                      <a:pt x="14" y="92"/>
                    </a:lnTo>
                    <a:lnTo>
                      <a:pt x="14" y="84"/>
                    </a:lnTo>
                    <a:lnTo>
                      <a:pt x="11" y="74"/>
                    </a:lnTo>
                    <a:lnTo>
                      <a:pt x="11" y="74"/>
                    </a:lnTo>
                    <a:lnTo>
                      <a:pt x="11" y="74"/>
                    </a:lnTo>
                    <a:lnTo>
                      <a:pt x="11" y="73"/>
                    </a:lnTo>
                    <a:lnTo>
                      <a:pt x="14" y="70"/>
                    </a:lnTo>
                    <a:lnTo>
                      <a:pt x="14" y="68"/>
                    </a:lnTo>
                    <a:lnTo>
                      <a:pt x="11" y="65"/>
                    </a:lnTo>
                    <a:lnTo>
                      <a:pt x="11" y="60"/>
                    </a:lnTo>
                    <a:lnTo>
                      <a:pt x="9" y="55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9"/>
                    </a:lnTo>
                    <a:lnTo>
                      <a:pt x="1" y="46"/>
                    </a:lnTo>
                    <a:lnTo>
                      <a:pt x="1" y="44"/>
                    </a:lnTo>
                    <a:lnTo>
                      <a:pt x="0" y="42"/>
                    </a:lnTo>
                    <a:lnTo>
                      <a:pt x="0" y="39"/>
                    </a:lnTo>
                    <a:lnTo>
                      <a:pt x="1" y="35"/>
                    </a:lnTo>
                    <a:lnTo>
                      <a:pt x="4" y="35"/>
                    </a:lnTo>
                    <a:lnTo>
                      <a:pt x="9" y="33"/>
                    </a:lnTo>
                    <a:lnTo>
                      <a:pt x="9" y="33"/>
                    </a:lnTo>
                    <a:lnTo>
                      <a:pt x="11" y="35"/>
                    </a:lnTo>
                    <a:lnTo>
                      <a:pt x="11" y="35"/>
                    </a:lnTo>
                    <a:lnTo>
                      <a:pt x="14" y="35"/>
                    </a:lnTo>
                    <a:lnTo>
                      <a:pt x="14" y="35"/>
                    </a:lnTo>
                    <a:lnTo>
                      <a:pt x="14" y="33"/>
                    </a:lnTo>
                    <a:lnTo>
                      <a:pt x="15" y="30"/>
                    </a:lnTo>
                    <a:lnTo>
                      <a:pt x="15" y="23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15" y="11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6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3" name="Freeform 202"/>
              <p:cNvSpPr>
                <a:spLocks/>
              </p:cNvSpPr>
              <p:nvPr/>
            </p:nvSpPr>
            <p:spPr bwMode="auto">
              <a:xfrm>
                <a:off x="2966863" y="5968211"/>
                <a:ext cx="45976" cy="46341"/>
              </a:xfrm>
              <a:custGeom>
                <a:avLst/>
                <a:gdLst>
                  <a:gd name="T0" fmla="*/ 0 w 26"/>
                  <a:gd name="T1" fmla="*/ 0 h 27"/>
                  <a:gd name="T2" fmla="*/ 16 w 26"/>
                  <a:gd name="T3" fmla="*/ 0 h 27"/>
                  <a:gd name="T4" fmla="*/ 25 w 26"/>
                  <a:gd name="T5" fmla="*/ 17 h 27"/>
                  <a:gd name="T6" fmla="*/ 11 w 26"/>
                  <a:gd name="T7" fmla="*/ 26 h 27"/>
                  <a:gd name="T8" fmla="*/ 2 w 26"/>
                  <a:gd name="T9" fmla="*/ 23 h 27"/>
                  <a:gd name="T10" fmla="*/ 0 w 26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7">
                    <a:moveTo>
                      <a:pt x="0" y="0"/>
                    </a:moveTo>
                    <a:lnTo>
                      <a:pt x="16" y="0"/>
                    </a:lnTo>
                    <a:lnTo>
                      <a:pt x="25" y="17"/>
                    </a:lnTo>
                    <a:lnTo>
                      <a:pt x="11" y="26"/>
                    </a:lnTo>
                    <a:lnTo>
                      <a:pt x="2" y="23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4" name="Freeform 203"/>
              <p:cNvSpPr>
                <a:spLocks/>
              </p:cNvSpPr>
              <p:nvPr/>
            </p:nvSpPr>
            <p:spPr bwMode="auto">
              <a:xfrm>
                <a:off x="2966863" y="5968211"/>
                <a:ext cx="45976" cy="46341"/>
              </a:xfrm>
              <a:custGeom>
                <a:avLst/>
                <a:gdLst>
                  <a:gd name="T0" fmla="*/ 0 w 26"/>
                  <a:gd name="T1" fmla="*/ 0 h 27"/>
                  <a:gd name="T2" fmla="*/ 16 w 26"/>
                  <a:gd name="T3" fmla="*/ 0 h 27"/>
                  <a:gd name="T4" fmla="*/ 25 w 26"/>
                  <a:gd name="T5" fmla="*/ 17 h 27"/>
                  <a:gd name="T6" fmla="*/ 11 w 26"/>
                  <a:gd name="T7" fmla="*/ 26 h 27"/>
                  <a:gd name="T8" fmla="*/ 2 w 26"/>
                  <a:gd name="T9" fmla="*/ 23 h 27"/>
                  <a:gd name="T10" fmla="*/ 0 w 26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7">
                    <a:moveTo>
                      <a:pt x="0" y="0"/>
                    </a:moveTo>
                    <a:lnTo>
                      <a:pt x="16" y="0"/>
                    </a:lnTo>
                    <a:lnTo>
                      <a:pt x="25" y="17"/>
                    </a:lnTo>
                    <a:lnTo>
                      <a:pt x="11" y="26"/>
                    </a:lnTo>
                    <a:lnTo>
                      <a:pt x="2" y="23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5" name="Freeform 204"/>
              <p:cNvSpPr>
                <a:spLocks/>
              </p:cNvSpPr>
              <p:nvPr/>
            </p:nvSpPr>
            <p:spPr bwMode="auto">
              <a:xfrm>
                <a:off x="3011071" y="6009403"/>
                <a:ext cx="45976" cy="44625"/>
              </a:xfrm>
              <a:custGeom>
                <a:avLst/>
                <a:gdLst>
                  <a:gd name="T0" fmla="*/ 0 w 26"/>
                  <a:gd name="T1" fmla="*/ 15 h 26"/>
                  <a:gd name="T2" fmla="*/ 0 w 26"/>
                  <a:gd name="T3" fmla="*/ 9 h 26"/>
                  <a:gd name="T4" fmla="*/ 0 w 26"/>
                  <a:gd name="T5" fmla="*/ 6 h 26"/>
                  <a:gd name="T6" fmla="*/ 4 w 26"/>
                  <a:gd name="T7" fmla="*/ 6 h 26"/>
                  <a:gd name="T8" fmla="*/ 12 w 26"/>
                  <a:gd name="T9" fmla="*/ 0 h 26"/>
                  <a:gd name="T10" fmla="*/ 16 w 26"/>
                  <a:gd name="T11" fmla="*/ 6 h 26"/>
                  <a:gd name="T12" fmla="*/ 25 w 26"/>
                  <a:gd name="T13" fmla="*/ 6 h 26"/>
                  <a:gd name="T14" fmla="*/ 25 w 26"/>
                  <a:gd name="T15" fmla="*/ 9 h 26"/>
                  <a:gd name="T16" fmla="*/ 25 w 26"/>
                  <a:gd name="T17" fmla="*/ 15 h 26"/>
                  <a:gd name="T18" fmla="*/ 25 w 26"/>
                  <a:gd name="T19" fmla="*/ 18 h 26"/>
                  <a:gd name="T20" fmla="*/ 25 w 26"/>
                  <a:gd name="T21" fmla="*/ 25 h 26"/>
                  <a:gd name="T22" fmla="*/ 16 w 26"/>
                  <a:gd name="T23" fmla="*/ 25 h 26"/>
                  <a:gd name="T24" fmla="*/ 12 w 26"/>
                  <a:gd name="T25" fmla="*/ 25 h 26"/>
                  <a:gd name="T26" fmla="*/ 4 w 26"/>
                  <a:gd name="T27" fmla="*/ 25 h 26"/>
                  <a:gd name="T28" fmla="*/ 0 w 26"/>
                  <a:gd name="T29" fmla="*/ 25 h 26"/>
                  <a:gd name="T30" fmla="*/ 0 w 26"/>
                  <a:gd name="T31" fmla="*/ 18 h 26"/>
                  <a:gd name="T32" fmla="*/ 0 w 26"/>
                  <a:gd name="T33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26">
                    <a:moveTo>
                      <a:pt x="0" y="15"/>
                    </a:moveTo>
                    <a:lnTo>
                      <a:pt x="0" y="9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12" y="0"/>
                    </a:lnTo>
                    <a:lnTo>
                      <a:pt x="16" y="6"/>
                    </a:lnTo>
                    <a:lnTo>
                      <a:pt x="25" y="6"/>
                    </a:lnTo>
                    <a:lnTo>
                      <a:pt x="25" y="9"/>
                    </a:lnTo>
                    <a:lnTo>
                      <a:pt x="25" y="15"/>
                    </a:lnTo>
                    <a:lnTo>
                      <a:pt x="25" y="18"/>
                    </a:lnTo>
                    <a:lnTo>
                      <a:pt x="25" y="25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4" y="25"/>
                    </a:lnTo>
                    <a:lnTo>
                      <a:pt x="0" y="25"/>
                    </a:lnTo>
                    <a:lnTo>
                      <a:pt x="0" y="18"/>
                    </a:lnTo>
                    <a:lnTo>
                      <a:pt x="0" y="15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6" name="Freeform 205"/>
              <p:cNvSpPr>
                <a:spLocks/>
              </p:cNvSpPr>
              <p:nvPr/>
            </p:nvSpPr>
            <p:spPr bwMode="auto">
              <a:xfrm>
                <a:off x="3011071" y="6009403"/>
                <a:ext cx="45976" cy="44625"/>
              </a:xfrm>
              <a:custGeom>
                <a:avLst/>
                <a:gdLst>
                  <a:gd name="T0" fmla="*/ 0 w 26"/>
                  <a:gd name="T1" fmla="*/ 15 h 26"/>
                  <a:gd name="T2" fmla="*/ 0 w 26"/>
                  <a:gd name="T3" fmla="*/ 15 h 26"/>
                  <a:gd name="T4" fmla="*/ 0 w 26"/>
                  <a:gd name="T5" fmla="*/ 9 h 26"/>
                  <a:gd name="T6" fmla="*/ 0 w 26"/>
                  <a:gd name="T7" fmla="*/ 6 h 26"/>
                  <a:gd name="T8" fmla="*/ 4 w 26"/>
                  <a:gd name="T9" fmla="*/ 6 h 26"/>
                  <a:gd name="T10" fmla="*/ 12 w 26"/>
                  <a:gd name="T11" fmla="*/ 0 h 26"/>
                  <a:gd name="T12" fmla="*/ 12 w 26"/>
                  <a:gd name="T13" fmla="*/ 0 h 26"/>
                  <a:gd name="T14" fmla="*/ 16 w 26"/>
                  <a:gd name="T15" fmla="*/ 6 h 26"/>
                  <a:gd name="T16" fmla="*/ 25 w 26"/>
                  <a:gd name="T17" fmla="*/ 6 h 26"/>
                  <a:gd name="T18" fmla="*/ 25 w 26"/>
                  <a:gd name="T19" fmla="*/ 9 h 26"/>
                  <a:gd name="T20" fmla="*/ 25 w 26"/>
                  <a:gd name="T21" fmla="*/ 15 h 26"/>
                  <a:gd name="T22" fmla="*/ 25 w 26"/>
                  <a:gd name="T23" fmla="*/ 15 h 26"/>
                  <a:gd name="T24" fmla="*/ 25 w 26"/>
                  <a:gd name="T25" fmla="*/ 18 h 26"/>
                  <a:gd name="T26" fmla="*/ 25 w 26"/>
                  <a:gd name="T27" fmla="*/ 25 h 26"/>
                  <a:gd name="T28" fmla="*/ 16 w 26"/>
                  <a:gd name="T29" fmla="*/ 25 h 26"/>
                  <a:gd name="T30" fmla="*/ 12 w 26"/>
                  <a:gd name="T31" fmla="*/ 25 h 26"/>
                  <a:gd name="T32" fmla="*/ 12 w 26"/>
                  <a:gd name="T33" fmla="*/ 25 h 26"/>
                  <a:gd name="T34" fmla="*/ 4 w 26"/>
                  <a:gd name="T35" fmla="*/ 25 h 26"/>
                  <a:gd name="T36" fmla="*/ 0 w 26"/>
                  <a:gd name="T37" fmla="*/ 25 h 26"/>
                  <a:gd name="T38" fmla="*/ 0 w 26"/>
                  <a:gd name="T39" fmla="*/ 18 h 26"/>
                  <a:gd name="T40" fmla="*/ 0 w 26"/>
                  <a:gd name="T41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26">
                    <a:moveTo>
                      <a:pt x="0" y="15"/>
                    </a:moveTo>
                    <a:lnTo>
                      <a:pt x="0" y="15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6"/>
                    </a:lnTo>
                    <a:lnTo>
                      <a:pt x="25" y="6"/>
                    </a:lnTo>
                    <a:lnTo>
                      <a:pt x="25" y="9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25" y="18"/>
                    </a:lnTo>
                    <a:lnTo>
                      <a:pt x="25" y="25"/>
                    </a:lnTo>
                    <a:lnTo>
                      <a:pt x="16" y="25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4" y="25"/>
                    </a:lnTo>
                    <a:lnTo>
                      <a:pt x="0" y="25"/>
                    </a:lnTo>
                    <a:lnTo>
                      <a:pt x="0" y="18"/>
                    </a:lnTo>
                    <a:lnTo>
                      <a:pt x="0" y="15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7" name="Freeform 206"/>
              <p:cNvSpPr>
                <a:spLocks/>
              </p:cNvSpPr>
              <p:nvPr/>
            </p:nvSpPr>
            <p:spPr bwMode="auto">
              <a:xfrm>
                <a:off x="2554845" y="5832620"/>
                <a:ext cx="45976" cy="44625"/>
              </a:xfrm>
              <a:custGeom>
                <a:avLst/>
                <a:gdLst>
                  <a:gd name="T0" fmla="*/ 0 w 26"/>
                  <a:gd name="T1" fmla="*/ 9 h 26"/>
                  <a:gd name="T2" fmla="*/ 0 w 26"/>
                  <a:gd name="T3" fmla="*/ 6 h 26"/>
                  <a:gd name="T4" fmla="*/ 4 w 26"/>
                  <a:gd name="T5" fmla="*/ 6 h 26"/>
                  <a:gd name="T6" fmla="*/ 6 w 26"/>
                  <a:gd name="T7" fmla="*/ 0 h 26"/>
                  <a:gd name="T8" fmla="*/ 13 w 26"/>
                  <a:gd name="T9" fmla="*/ 0 h 26"/>
                  <a:gd name="T10" fmla="*/ 18 w 26"/>
                  <a:gd name="T11" fmla="*/ 0 h 26"/>
                  <a:gd name="T12" fmla="*/ 20 w 26"/>
                  <a:gd name="T13" fmla="*/ 6 h 26"/>
                  <a:gd name="T14" fmla="*/ 25 w 26"/>
                  <a:gd name="T15" fmla="*/ 6 h 26"/>
                  <a:gd name="T16" fmla="*/ 25 w 26"/>
                  <a:gd name="T17" fmla="*/ 9 h 26"/>
                  <a:gd name="T18" fmla="*/ 25 w 26"/>
                  <a:gd name="T19" fmla="*/ 15 h 26"/>
                  <a:gd name="T20" fmla="*/ 20 w 26"/>
                  <a:gd name="T21" fmla="*/ 18 h 26"/>
                  <a:gd name="T22" fmla="*/ 18 w 26"/>
                  <a:gd name="T23" fmla="*/ 25 h 26"/>
                  <a:gd name="T24" fmla="*/ 13 w 26"/>
                  <a:gd name="T25" fmla="*/ 25 h 26"/>
                  <a:gd name="T26" fmla="*/ 6 w 26"/>
                  <a:gd name="T27" fmla="*/ 25 h 26"/>
                  <a:gd name="T28" fmla="*/ 4 w 26"/>
                  <a:gd name="T29" fmla="*/ 18 h 26"/>
                  <a:gd name="T30" fmla="*/ 0 w 26"/>
                  <a:gd name="T31" fmla="*/ 15 h 26"/>
                  <a:gd name="T32" fmla="*/ 0 w 26"/>
                  <a:gd name="T33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" h="26">
                    <a:moveTo>
                      <a:pt x="0" y="9"/>
                    </a:moveTo>
                    <a:lnTo>
                      <a:pt x="0" y="6"/>
                    </a:lnTo>
                    <a:lnTo>
                      <a:pt x="4" y="6"/>
                    </a:lnTo>
                    <a:lnTo>
                      <a:pt x="6" y="0"/>
                    </a:lnTo>
                    <a:lnTo>
                      <a:pt x="13" y="0"/>
                    </a:lnTo>
                    <a:lnTo>
                      <a:pt x="18" y="0"/>
                    </a:lnTo>
                    <a:lnTo>
                      <a:pt x="20" y="6"/>
                    </a:lnTo>
                    <a:lnTo>
                      <a:pt x="25" y="6"/>
                    </a:lnTo>
                    <a:lnTo>
                      <a:pt x="25" y="9"/>
                    </a:lnTo>
                    <a:lnTo>
                      <a:pt x="25" y="15"/>
                    </a:lnTo>
                    <a:lnTo>
                      <a:pt x="20" y="18"/>
                    </a:lnTo>
                    <a:lnTo>
                      <a:pt x="18" y="25"/>
                    </a:lnTo>
                    <a:lnTo>
                      <a:pt x="13" y="25"/>
                    </a:lnTo>
                    <a:lnTo>
                      <a:pt x="6" y="25"/>
                    </a:lnTo>
                    <a:lnTo>
                      <a:pt x="4" y="18"/>
                    </a:lnTo>
                    <a:lnTo>
                      <a:pt x="0" y="15"/>
                    </a:lnTo>
                    <a:lnTo>
                      <a:pt x="0" y="9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rnd" cmpd="sng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8" name="Freeform 207"/>
              <p:cNvSpPr>
                <a:spLocks/>
              </p:cNvSpPr>
              <p:nvPr/>
            </p:nvSpPr>
            <p:spPr bwMode="auto">
              <a:xfrm>
                <a:off x="2554845" y="5832620"/>
                <a:ext cx="45976" cy="44625"/>
              </a:xfrm>
              <a:custGeom>
                <a:avLst/>
                <a:gdLst>
                  <a:gd name="T0" fmla="*/ 0 w 26"/>
                  <a:gd name="T1" fmla="*/ 9 h 26"/>
                  <a:gd name="T2" fmla="*/ 0 w 26"/>
                  <a:gd name="T3" fmla="*/ 9 h 26"/>
                  <a:gd name="T4" fmla="*/ 0 w 26"/>
                  <a:gd name="T5" fmla="*/ 6 h 26"/>
                  <a:gd name="T6" fmla="*/ 4 w 26"/>
                  <a:gd name="T7" fmla="*/ 6 h 26"/>
                  <a:gd name="T8" fmla="*/ 6 w 26"/>
                  <a:gd name="T9" fmla="*/ 0 h 26"/>
                  <a:gd name="T10" fmla="*/ 13 w 26"/>
                  <a:gd name="T11" fmla="*/ 0 h 26"/>
                  <a:gd name="T12" fmla="*/ 13 w 26"/>
                  <a:gd name="T13" fmla="*/ 0 h 26"/>
                  <a:gd name="T14" fmla="*/ 18 w 26"/>
                  <a:gd name="T15" fmla="*/ 0 h 26"/>
                  <a:gd name="T16" fmla="*/ 20 w 26"/>
                  <a:gd name="T17" fmla="*/ 6 h 26"/>
                  <a:gd name="T18" fmla="*/ 25 w 26"/>
                  <a:gd name="T19" fmla="*/ 6 h 26"/>
                  <a:gd name="T20" fmla="*/ 25 w 26"/>
                  <a:gd name="T21" fmla="*/ 9 h 26"/>
                  <a:gd name="T22" fmla="*/ 25 w 26"/>
                  <a:gd name="T23" fmla="*/ 9 h 26"/>
                  <a:gd name="T24" fmla="*/ 25 w 26"/>
                  <a:gd name="T25" fmla="*/ 15 h 26"/>
                  <a:gd name="T26" fmla="*/ 20 w 26"/>
                  <a:gd name="T27" fmla="*/ 18 h 26"/>
                  <a:gd name="T28" fmla="*/ 18 w 26"/>
                  <a:gd name="T29" fmla="*/ 25 h 26"/>
                  <a:gd name="T30" fmla="*/ 13 w 26"/>
                  <a:gd name="T31" fmla="*/ 25 h 26"/>
                  <a:gd name="T32" fmla="*/ 13 w 26"/>
                  <a:gd name="T33" fmla="*/ 25 h 26"/>
                  <a:gd name="T34" fmla="*/ 6 w 26"/>
                  <a:gd name="T35" fmla="*/ 25 h 26"/>
                  <a:gd name="T36" fmla="*/ 4 w 26"/>
                  <a:gd name="T37" fmla="*/ 18 h 26"/>
                  <a:gd name="T38" fmla="*/ 0 w 26"/>
                  <a:gd name="T39" fmla="*/ 15 h 26"/>
                  <a:gd name="T40" fmla="*/ 0 w 26"/>
                  <a:gd name="T41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26">
                    <a:moveTo>
                      <a:pt x="0" y="9"/>
                    </a:moveTo>
                    <a:lnTo>
                      <a:pt x="0" y="9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6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8" y="0"/>
                    </a:lnTo>
                    <a:lnTo>
                      <a:pt x="20" y="6"/>
                    </a:lnTo>
                    <a:lnTo>
                      <a:pt x="25" y="6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5" y="15"/>
                    </a:lnTo>
                    <a:lnTo>
                      <a:pt x="20" y="18"/>
                    </a:lnTo>
                    <a:lnTo>
                      <a:pt x="18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6" y="25"/>
                    </a:lnTo>
                    <a:lnTo>
                      <a:pt x="4" y="18"/>
                    </a:lnTo>
                    <a:lnTo>
                      <a:pt x="0" y="15"/>
                    </a:lnTo>
                    <a:lnTo>
                      <a:pt x="0" y="9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8" name="Group 7"/>
          <p:cNvGrpSpPr/>
          <p:nvPr/>
        </p:nvGrpSpPr>
        <p:grpSpPr>
          <a:xfrm>
            <a:off x="3911841" y="3954896"/>
            <a:ext cx="4911647" cy="1477328"/>
            <a:chOff x="3911840" y="4029722"/>
            <a:chExt cx="4911647" cy="1477328"/>
          </a:xfrm>
        </p:grpSpPr>
        <p:sp>
          <p:nvSpPr>
            <p:cNvPr id="5" name="TextBox 4"/>
            <p:cNvSpPr txBox="1"/>
            <p:nvPr/>
          </p:nvSpPr>
          <p:spPr>
            <a:xfrm>
              <a:off x="3911840" y="4029722"/>
              <a:ext cx="4911647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dirty="0" smtClean="0">
                  <a:latin typeface="+mj-lt"/>
                  <a:cs typeface="Arial" panose="020B0604020202020204" pitchFamily="34" charset="0"/>
                </a:rPr>
                <a:t>Six round 1 model </a:t>
              </a:r>
              <a:r>
                <a:rPr lang="en-US" b="1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Arial" panose="020B0604020202020204" pitchFamily="34" charset="0"/>
                </a:rPr>
                <a:t>test states</a:t>
              </a:r>
            </a:p>
            <a:p>
              <a:endParaRPr lang="en-US" dirty="0" smtClean="0">
                <a:latin typeface="+mj-lt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dirty="0" smtClean="0">
                  <a:latin typeface="+mj-lt"/>
                  <a:cs typeface="Arial" panose="020B0604020202020204" pitchFamily="34" charset="0"/>
                </a:rPr>
                <a:t>Eleven round 2 model </a:t>
              </a:r>
              <a:r>
                <a:rPr lang="en-US" b="1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Arial" panose="020B0604020202020204" pitchFamily="34" charset="0"/>
                </a:rPr>
                <a:t>test state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dirty="0" smtClean="0">
                <a:latin typeface="+mj-lt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dirty="0" smtClean="0">
                  <a:latin typeface="+mj-lt"/>
                  <a:cs typeface="Arial" panose="020B0604020202020204" pitchFamily="34" charset="0"/>
                </a:rPr>
                <a:t>Twenty one round 2 model </a:t>
              </a:r>
              <a:r>
                <a:rPr lang="en-US" b="1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Arial" panose="020B0604020202020204" pitchFamily="34" charset="0"/>
                </a:rPr>
                <a:t>design awardees</a:t>
              </a:r>
            </a:p>
          </p:txBody>
        </p:sp>
        <p:sp>
          <p:nvSpPr>
            <p:cNvPr id="471" name="Rectangle 470"/>
            <p:cNvSpPr/>
            <p:nvPr>
              <p:custDataLst>
                <p:tags r:id="rId1"/>
              </p:custDataLst>
            </p:nvPr>
          </p:nvSpPr>
          <p:spPr>
            <a:xfrm>
              <a:off x="3977107" y="4713609"/>
              <a:ext cx="117158" cy="13716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/>
            </a:p>
          </p:txBody>
        </p:sp>
        <p:sp>
          <p:nvSpPr>
            <p:cNvPr id="472" name="Rectangle 471"/>
            <p:cNvSpPr/>
            <p:nvPr>
              <p:custDataLst>
                <p:tags r:id="rId2"/>
              </p:custDataLst>
            </p:nvPr>
          </p:nvSpPr>
          <p:spPr>
            <a:xfrm>
              <a:off x="3977107" y="5241714"/>
              <a:ext cx="117158" cy="13716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/>
            </a:p>
          </p:txBody>
        </p:sp>
        <p:sp>
          <p:nvSpPr>
            <p:cNvPr id="473" name="Rectangle 472"/>
            <p:cNvSpPr/>
            <p:nvPr>
              <p:custDataLst>
                <p:tags r:id="rId3"/>
              </p:custDataLst>
            </p:nvPr>
          </p:nvSpPr>
          <p:spPr>
            <a:xfrm>
              <a:off x="3977107" y="4151838"/>
              <a:ext cx="117158" cy="13716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845295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22238"/>
            <a:ext cx="8915400" cy="519112"/>
          </a:xfrm>
        </p:spPr>
        <p:txBody>
          <a:bodyPr/>
          <a:lstStyle/>
          <a:p>
            <a:r>
              <a:rPr lang="en-US" dirty="0" smtClean="0"/>
              <a:t>SIM is ahead of the game…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/>
              <a:t>SIM must reach a preponderance of care in the </a:t>
            </a:r>
            <a:r>
              <a:rPr lang="en-US" sz="2000" dirty="0" smtClean="0"/>
              <a:t>state</a:t>
            </a:r>
          </a:p>
          <a:p>
            <a:pPr marL="0" indent="0">
              <a:buNone/>
            </a:pPr>
            <a:r>
              <a:rPr lang="en-US" sz="2000" b="1" dirty="0" smtClean="0">
                <a:latin typeface="+mj-lt"/>
              </a:rPr>
              <a:t>Primary Goal</a:t>
            </a:r>
            <a:r>
              <a:rPr lang="en-US" sz="2000" dirty="0" smtClean="0">
                <a:latin typeface="+mj-lt"/>
              </a:rPr>
              <a:t>:  </a:t>
            </a:r>
            <a:r>
              <a:rPr lang="en-US" sz="1800" dirty="0" smtClean="0">
                <a:latin typeface="+mj-lt"/>
              </a:rPr>
              <a:t>Over </a:t>
            </a:r>
            <a:r>
              <a:rPr lang="en-US" sz="1800" dirty="0">
                <a:latin typeface="+mj-lt"/>
              </a:rPr>
              <a:t>80% of payments to providers from all payers </a:t>
            </a:r>
            <a:r>
              <a:rPr lang="en-US" sz="1800" dirty="0" smtClean="0">
                <a:latin typeface="+mj-lt"/>
              </a:rPr>
              <a:t>in the state are </a:t>
            </a:r>
            <a:r>
              <a:rPr lang="en-US" sz="1800" dirty="0">
                <a:latin typeface="+mj-lt"/>
              </a:rPr>
              <a:t>in value-based purchasing and/or alternative payment </a:t>
            </a:r>
            <a:r>
              <a:rPr lang="en-US" sz="1800" dirty="0" smtClean="0">
                <a:latin typeface="+mj-lt"/>
              </a:rPr>
              <a:t>models by end of performance period</a:t>
            </a:r>
          </a:p>
          <a:p>
            <a:pPr marL="0" indent="0">
              <a:buNone/>
            </a:pPr>
            <a:endParaRPr lang="en-US" sz="1800" dirty="0" smtClean="0">
              <a:latin typeface="+mj-lt"/>
            </a:endParaRPr>
          </a:p>
          <a:p>
            <a:pPr marL="0" indent="0">
              <a:buNone/>
            </a:pPr>
            <a:endParaRPr lang="en-US" sz="1800" dirty="0">
              <a:latin typeface="+mj-lt"/>
            </a:endParaRPr>
          </a:p>
          <a:p>
            <a:pPr marL="0" indent="0">
              <a:buNone/>
            </a:pPr>
            <a:endParaRPr lang="en-US" sz="1800" dirty="0" smtClean="0">
              <a:latin typeface="+mj-lt"/>
            </a:endParaRPr>
          </a:p>
          <a:p>
            <a:pPr marL="0" indent="0">
              <a:buNone/>
            </a:pPr>
            <a:endParaRPr lang="en-US" sz="1800" dirty="0">
              <a:latin typeface="+mj-lt"/>
            </a:endParaRPr>
          </a:p>
          <a:p>
            <a:pPr marL="0" indent="0">
              <a:buNone/>
            </a:pPr>
            <a:endParaRPr lang="en-US" sz="1800" dirty="0" smtClean="0">
              <a:latin typeface="+mj-lt"/>
            </a:endParaRPr>
          </a:p>
          <a:p>
            <a:pPr marL="0" indent="0">
              <a:buNone/>
            </a:pPr>
            <a:r>
              <a:rPr lang="en-US" sz="2000" b="1" dirty="0" smtClean="0">
                <a:latin typeface="+mj-lt"/>
              </a:rPr>
              <a:t>Quarterly Participation Metrics</a:t>
            </a:r>
          </a:p>
          <a:p>
            <a:pPr lvl="1"/>
            <a:r>
              <a:rPr lang="en-US" sz="1800" dirty="0" smtClean="0">
                <a:latin typeface="+mj-lt"/>
              </a:rPr>
              <a:t>The </a:t>
            </a:r>
            <a:r>
              <a:rPr lang="en-US" sz="18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total number of </a:t>
            </a: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beneficiaries </a:t>
            </a:r>
            <a:r>
              <a:rPr lang="en-US" sz="1800" dirty="0">
                <a:latin typeface="+mj-lt"/>
              </a:rPr>
              <a:t>(individuals) receiving care through each value-based purchasing and/or alternative payment model supported by </a:t>
            </a:r>
            <a:r>
              <a:rPr lang="en-US" sz="1800" dirty="0" smtClean="0">
                <a:latin typeface="+mj-lt"/>
              </a:rPr>
              <a:t>SIM (</a:t>
            </a:r>
            <a:r>
              <a:rPr lang="en-US" sz="1800" i="1" dirty="0" smtClean="0">
                <a:latin typeface="+mj-lt"/>
              </a:rPr>
              <a:t>by type)</a:t>
            </a:r>
            <a:endParaRPr lang="en-US" sz="1800" dirty="0" smtClean="0">
              <a:latin typeface="+mj-lt"/>
            </a:endParaRPr>
          </a:p>
          <a:p>
            <a:pPr lvl="1"/>
            <a:r>
              <a:rPr lang="en-US" sz="1800" dirty="0">
                <a:latin typeface="+mj-lt"/>
              </a:rPr>
              <a:t>The </a:t>
            </a: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otal </a:t>
            </a:r>
            <a:r>
              <a:rPr lang="en-US" sz="18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number </a:t>
            </a: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f providers </a:t>
            </a:r>
            <a:r>
              <a:rPr lang="en-US" sz="1800" dirty="0">
                <a:latin typeface="+mj-lt"/>
              </a:rPr>
              <a:t>participating in any value-based purchasing and alternative payment model supported by </a:t>
            </a:r>
            <a:r>
              <a:rPr lang="en-US" sz="1800" dirty="0" smtClean="0">
                <a:latin typeface="+mj-lt"/>
              </a:rPr>
              <a:t>SIM (</a:t>
            </a:r>
            <a:r>
              <a:rPr lang="en-US" sz="1800" i="1" dirty="0" smtClean="0">
                <a:latin typeface="+mj-lt"/>
              </a:rPr>
              <a:t>by type</a:t>
            </a:r>
            <a:r>
              <a:rPr lang="en-US" sz="1800" dirty="0" smtClean="0">
                <a:latin typeface="+mj-lt"/>
              </a:rPr>
              <a:t>)</a:t>
            </a:r>
          </a:p>
          <a:p>
            <a:pPr lvl="1"/>
            <a:r>
              <a:rPr lang="en-US" sz="1800" dirty="0">
                <a:latin typeface="+mj-lt"/>
              </a:rPr>
              <a:t>The </a:t>
            </a: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otal </a:t>
            </a:r>
            <a:r>
              <a:rPr lang="en-US" sz="18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% </a:t>
            </a: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of </a:t>
            </a:r>
            <a:r>
              <a:rPr lang="en-US" sz="18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payments </a:t>
            </a: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to </a:t>
            </a:r>
            <a:r>
              <a:rPr lang="en-US" sz="18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providers </a:t>
            </a:r>
            <a:r>
              <a:rPr lang="en-US" sz="1800" dirty="0" smtClean="0">
                <a:latin typeface="+mj-lt"/>
              </a:rPr>
              <a:t>and beneficiaries receiving care by payment categories 1-4</a:t>
            </a:r>
            <a:r>
              <a:rPr lang="en-US" sz="18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1800" dirty="0" smtClean="0">
                <a:latin typeface="+mj-lt"/>
              </a:rPr>
              <a:t>(</a:t>
            </a:r>
            <a:r>
              <a:rPr lang="en-US" sz="1800" i="1" dirty="0" smtClean="0">
                <a:latin typeface="+mj-lt"/>
              </a:rPr>
              <a:t>statewide)</a:t>
            </a:r>
            <a:endParaRPr lang="en-US" sz="1800" dirty="0" smtClean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endParaRPr lang="en-US" dirty="0" smtClean="0"/>
          </a:p>
          <a:p>
            <a:pPr lvl="1"/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6088581"/>
              </p:ext>
            </p:extLst>
          </p:nvPr>
        </p:nvGraphicFramePr>
        <p:xfrm>
          <a:off x="272713" y="2167774"/>
          <a:ext cx="8518360" cy="1097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29590"/>
                <a:gridCol w="2129590"/>
                <a:gridCol w="2129590"/>
                <a:gridCol w="2129590"/>
              </a:tblGrid>
              <a:tr h="24544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Category 1 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Category 2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ategory 3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ategory 4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>
                    <a:solidFill>
                      <a:schemeClr val="accent2"/>
                    </a:solidFill>
                  </a:tcPr>
                </a:tc>
              </a:tr>
              <a:tr h="24544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u="none" strike="noStrike" dirty="0" smtClean="0">
                          <a:effectLst/>
                        </a:rPr>
                        <a:t>Fee-for-service </a:t>
                      </a:r>
                      <a:r>
                        <a:rPr lang="en-US" sz="1800" u="none" strike="noStrike" dirty="0">
                          <a:effectLst/>
                        </a:rPr>
                        <a:t>with no link of payment to quality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u="none" strike="noStrike" dirty="0" smtClean="0">
                          <a:effectLst/>
                        </a:rPr>
                        <a:t>Payment </a:t>
                      </a:r>
                      <a:r>
                        <a:rPr lang="en-US" sz="1800" u="none" strike="noStrike" dirty="0">
                          <a:effectLst/>
                        </a:rPr>
                        <a:t>Linked to Quality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u="none" strike="noStrike" dirty="0" smtClean="0">
                          <a:effectLst/>
                        </a:rPr>
                        <a:t>Alternative </a:t>
                      </a:r>
                      <a:r>
                        <a:rPr lang="en-US" sz="1800" u="none" strike="noStrike" dirty="0">
                          <a:effectLst/>
                        </a:rPr>
                        <a:t>Payment Models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u="none" strike="noStrike" dirty="0" smtClean="0">
                          <a:effectLst/>
                        </a:rPr>
                        <a:t>Population-based </a:t>
                      </a:r>
                      <a:r>
                        <a:rPr lang="en-US" sz="1800" u="none" strike="noStrike" dirty="0">
                          <a:effectLst/>
                        </a:rPr>
                        <a:t>Payment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  <p:sp>
        <p:nvSpPr>
          <p:cNvPr id="5" name="Right Arrow 4"/>
          <p:cNvSpPr/>
          <p:nvPr/>
        </p:nvSpPr>
        <p:spPr>
          <a:xfrm>
            <a:off x="2823411" y="2967789"/>
            <a:ext cx="5454315" cy="19250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127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SIM must include multiple payers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02627" y="891764"/>
            <a:ext cx="8549141" cy="1995274"/>
          </a:xfrm>
        </p:spPr>
        <p:txBody>
          <a:bodyPr numCol="2"/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</a:rPr>
              <a:t>Medicaid</a:t>
            </a:r>
          </a:p>
          <a:p>
            <a:pPr marL="0" indent="0">
              <a:buNone/>
            </a:pPr>
            <a:endParaRPr lang="en-US" sz="2000" dirty="0" smtClean="0">
              <a:latin typeface="+mj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</a:rPr>
              <a:t>State Employees Plans</a:t>
            </a:r>
          </a:p>
          <a:p>
            <a:pPr marL="0" indent="0">
              <a:buNone/>
            </a:pPr>
            <a:endParaRPr lang="en-US" sz="2000" dirty="0" smtClean="0">
              <a:latin typeface="+mj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</a:rPr>
              <a:t>Qualified Health Plan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</a:rPr>
              <a:t>Commercial Payers</a:t>
            </a:r>
          </a:p>
          <a:p>
            <a:pPr marL="0" indent="0">
              <a:buNone/>
            </a:pPr>
            <a:endParaRPr lang="en-US" sz="2000" dirty="0" smtClean="0">
              <a:latin typeface="+mj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</a:rPr>
              <a:t>Purchasers</a:t>
            </a:r>
          </a:p>
        </p:txBody>
      </p:sp>
      <p:pic>
        <p:nvPicPr>
          <p:cNvPr id="8" name="Picture 6" descr="http://disabilitydunktank.com/wp-content/uploads/2013/08/bigstock-Quality-efficiency-and-cost-4545714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097" y="3751836"/>
            <a:ext cx="3003644" cy="1989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02628" y="3524250"/>
            <a:ext cx="8549141" cy="2445087"/>
          </a:xfrm>
          <a:prstGeom prst="rect">
            <a:avLst/>
          </a:prstGeom>
          <a:noFill/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4445876" y="3731130"/>
            <a:ext cx="437761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reas of Alignment</a:t>
            </a:r>
            <a:r>
              <a:rPr lang="en-US" b="1" dirty="0" smtClean="0"/>
              <a:t>: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Quality measurement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ayment </a:t>
            </a:r>
            <a:r>
              <a:rPr lang="en-US" dirty="0" smtClean="0"/>
              <a:t>methodology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hared infrastructure &amp; investments</a:t>
            </a:r>
          </a:p>
        </p:txBody>
      </p:sp>
    </p:spTree>
    <p:extLst>
      <p:ext uri="{BB962C8B-B14F-4D97-AF65-F5344CB8AC3E}">
        <p14:creationId xmlns:p14="http://schemas.microsoft.com/office/powerpoint/2010/main" val="3042665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98" y="57587"/>
            <a:ext cx="8915400" cy="519112"/>
          </a:xfrm>
        </p:spPr>
        <p:txBody>
          <a:bodyPr/>
          <a:lstStyle/>
          <a:p>
            <a:r>
              <a:rPr lang="en-US" sz="2400" dirty="0" smtClean="0">
                <a:latin typeface="+mj-lt"/>
              </a:rPr>
              <a:t>Round 1 states are testing and Round 2 states are designing and implementing comprehensive reform plans</a:t>
            </a:r>
            <a:endParaRPr lang="en-US" sz="2400" dirty="0">
              <a:latin typeface="+mj-lt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117213" y="767834"/>
            <a:ext cx="4664337" cy="5579048"/>
            <a:chOff x="69588" y="767834"/>
            <a:chExt cx="4664337" cy="5579048"/>
          </a:xfrm>
        </p:grpSpPr>
        <p:sp>
          <p:nvSpPr>
            <p:cNvPr id="8" name="TextBox 7"/>
            <p:cNvSpPr txBox="1"/>
            <p:nvPr/>
          </p:nvSpPr>
          <p:spPr>
            <a:xfrm>
              <a:off x="69588" y="828794"/>
              <a:ext cx="36766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tx2"/>
                  </a:solidFill>
                </a:rPr>
                <a:t>Round 1 States testing APMs</a:t>
              </a:r>
              <a:endParaRPr 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218" name="Freeform 217"/>
            <p:cNvSpPr>
              <a:spLocks/>
            </p:cNvSpPr>
            <p:nvPr/>
          </p:nvSpPr>
          <p:spPr bwMode="auto">
            <a:xfrm rot="200223">
              <a:off x="376256" y="2111820"/>
              <a:ext cx="499786" cy="459133"/>
            </a:xfrm>
            <a:custGeom>
              <a:avLst/>
              <a:gdLst>
                <a:gd name="T0" fmla="*/ 60 w 302"/>
                <a:gd name="T1" fmla="*/ 10 h 278"/>
                <a:gd name="T2" fmla="*/ 267 w 302"/>
                <a:gd name="T3" fmla="*/ 0 h 278"/>
                <a:gd name="T4" fmla="*/ 274 w 302"/>
                <a:gd name="T5" fmla="*/ 6 h 278"/>
                <a:gd name="T6" fmla="*/ 276 w 302"/>
                <a:gd name="T7" fmla="*/ 16 h 278"/>
                <a:gd name="T8" fmla="*/ 267 w 302"/>
                <a:gd name="T9" fmla="*/ 23 h 278"/>
                <a:gd name="T10" fmla="*/ 262 w 302"/>
                <a:gd name="T11" fmla="*/ 34 h 278"/>
                <a:gd name="T12" fmla="*/ 298 w 302"/>
                <a:gd name="T13" fmla="*/ 35 h 278"/>
                <a:gd name="T14" fmla="*/ 302 w 302"/>
                <a:gd name="T15" fmla="*/ 42 h 278"/>
                <a:gd name="T16" fmla="*/ 299 w 302"/>
                <a:gd name="T17" fmla="*/ 50 h 278"/>
                <a:gd name="T18" fmla="*/ 289 w 302"/>
                <a:gd name="T19" fmla="*/ 56 h 278"/>
                <a:gd name="T20" fmla="*/ 287 w 302"/>
                <a:gd name="T21" fmla="*/ 60 h 278"/>
                <a:gd name="T22" fmla="*/ 287 w 302"/>
                <a:gd name="T23" fmla="*/ 67 h 278"/>
                <a:gd name="T24" fmla="*/ 282 w 302"/>
                <a:gd name="T25" fmla="*/ 73 h 278"/>
                <a:gd name="T26" fmla="*/ 283 w 302"/>
                <a:gd name="T27" fmla="*/ 81 h 278"/>
                <a:gd name="T28" fmla="*/ 276 w 302"/>
                <a:gd name="T29" fmla="*/ 80 h 278"/>
                <a:gd name="T30" fmla="*/ 279 w 302"/>
                <a:gd name="T31" fmla="*/ 84 h 278"/>
                <a:gd name="T32" fmla="*/ 282 w 302"/>
                <a:gd name="T33" fmla="*/ 101 h 278"/>
                <a:gd name="T34" fmla="*/ 276 w 302"/>
                <a:gd name="T35" fmla="*/ 105 h 278"/>
                <a:gd name="T36" fmla="*/ 269 w 302"/>
                <a:gd name="T37" fmla="*/ 113 h 278"/>
                <a:gd name="T38" fmla="*/ 270 w 302"/>
                <a:gd name="T39" fmla="*/ 115 h 278"/>
                <a:gd name="T40" fmla="*/ 267 w 302"/>
                <a:gd name="T41" fmla="*/ 125 h 278"/>
                <a:gd name="T42" fmla="*/ 259 w 302"/>
                <a:gd name="T43" fmla="*/ 124 h 278"/>
                <a:gd name="T44" fmla="*/ 257 w 302"/>
                <a:gd name="T45" fmla="*/ 135 h 278"/>
                <a:gd name="T46" fmla="*/ 255 w 302"/>
                <a:gd name="T47" fmla="*/ 137 h 278"/>
                <a:gd name="T48" fmla="*/ 255 w 302"/>
                <a:gd name="T49" fmla="*/ 142 h 278"/>
                <a:gd name="T50" fmla="*/ 254 w 302"/>
                <a:gd name="T51" fmla="*/ 145 h 278"/>
                <a:gd name="T52" fmla="*/ 254 w 302"/>
                <a:gd name="T53" fmla="*/ 153 h 278"/>
                <a:gd name="T54" fmla="*/ 252 w 302"/>
                <a:gd name="T55" fmla="*/ 163 h 278"/>
                <a:gd name="T56" fmla="*/ 244 w 302"/>
                <a:gd name="T57" fmla="*/ 164 h 278"/>
                <a:gd name="T58" fmla="*/ 240 w 302"/>
                <a:gd name="T59" fmla="*/ 173 h 278"/>
                <a:gd name="T60" fmla="*/ 234 w 302"/>
                <a:gd name="T61" fmla="*/ 174 h 278"/>
                <a:gd name="T62" fmla="*/ 235 w 302"/>
                <a:gd name="T63" fmla="*/ 179 h 278"/>
                <a:gd name="T64" fmla="*/ 238 w 302"/>
                <a:gd name="T65" fmla="*/ 190 h 278"/>
                <a:gd name="T66" fmla="*/ 229 w 302"/>
                <a:gd name="T67" fmla="*/ 197 h 278"/>
                <a:gd name="T68" fmla="*/ 229 w 302"/>
                <a:gd name="T69" fmla="*/ 207 h 278"/>
                <a:gd name="T70" fmla="*/ 223 w 302"/>
                <a:gd name="T71" fmla="*/ 210 h 278"/>
                <a:gd name="T72" fmla="*/ 228 w 302"/>
                <a:gd name="T73" fmla="*/ 215 h 278"/>
                <a:gd name="T74" fmla="*/ 221 w 302"/>
                <a:gd name="T75" fmla="*/ 216 h 278"/>
                <a:gd name="T76" fmla="*/ 223 w 302"/>
                <a:gd name="T77" fmla="*/ 222 h 278"/>
                <a:gd name="T78" fmla="*/ 220 w 302"/>
                <a:gd name="T79" fmla="*/ 231 h 278"/>
                <a:gd name="T80" fmla="*/ 223 w 302"/>
                <a:gd name="T81" fmla="*/ 231 h 278"/>
                <a:gd name="T82" fmla="*/ 220 w 302"/>
                <a:gd name="T83" fmla="*/ 237 h 278"/>
                <a:gd name="T84" fmla="*/ 226 w 302"/>
                <a:gd name="T85" fmla="*/ 239 h 278"/>
                <a:gd name="T86" fmla="*/ 226 w 302"/>
                <a:gd name="T87" fmla="*/ 249 h 278"/>
                <a:gd name="T88" fmla="*/ 229 w 302"/>
                <a:gd name="T89" fmla="*/ 257 h 278"/>
                <a:gd name="T90" fmla="*/ 224 w 302"/>
                <a:gd name="T91" fmla="*/ 259 h 278"/>
                <a:gd name="T92" fmla="*/ 224 w 302"/>
                <a:gd name="T93" fmla="*/ 269 h 278"/>
                <a:gd name="T94" fmla="*/ 43 w 302"/>
                <a:gd name="T95" fmla="*/ 278 h 278"/>
                <a:gd name="T96" fmla="*/ 26 w 302"/>
                <a:gd name="T97" fmla="*/ 234 h 278"/>
                <a:gd name="T98" fmla="*/ 16 w 302"/>
                <a:gd name="T99" fmla="*/ 234 h 278"/>
                <a:gd name="T100" fmla="*/ 14 w 302"/>
                <a:gd name="T101" fmla="*/ 230 h 278"/>
                <a:gd name="T102" fmla="*/ 11 w 302"/>
                <a:gd name="T103" fmla="*/ 76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2" h="278">
                  <a:moveTo>
                    <a:pt x="0" y="12"/>
                  </a:moveTo>
                  <a:lnTo>
                    <a:pt x="60" y="10"/>
                  </a:lnTo>
                  <a:lnTo>
                    <a:pt x="156" y="6"/>
                  </a:lnTo>
                  <a:lnTo>
                    <a:pt x="267" y="0"/>
                  </a:lnTo>
                  <a:lnTo>
                    <a:pt x="270" y="2"/>
                  </a:lnTo>
                  <a:lnTo>
                    <a:pt x="274" y="6"/>
                  </a:lnTo>
                  <a:lnTo>
                    <a:pt x="276" y="11"/>
                  </a:lnTo>
                  <a:lnTo>
                    <a:pt x="276" y="16"/>
                  </a:lnTo>
                  <a:lnTo>
                    <a:pt x="272" y="21"/>
                  </a:lnTo>
                  <a:lnTo>
                    <a:pt x="267" y="23"/>
                  </a:lnTo>
                  <a:lnTo>
                    <a:pt x="263" y="28"/>
                  </a:lnTo>
                  <a:lnTo>
                    <a:pt x="262" y="34"/>
                  </a:lnTo>
                  <a:lnTo>
                    <a:pt x="263" y="39"/>
                  </a:lnTo>
                  <a:lnTo>
                    <a:pt x="298" y="35"/>
                  </a:lnTo>
                  <a:lnTo>
                    <a:pt x="301" y="37"/>
                  </a:lnTo>
                  <a:lnTo>
                    <a:pt x="302" y="42"/>
                  </a:lnTo>
                  <a:lnTo>
                    <a:pt x="296" y="45"/>
                  </a:lnTo>
                  <a:lnTo>
                    <a:pt x="299" y="50"/>
                  </a:lnTo>
                  <a:lnTo>
                    <a:pt x="294" y="54"/>
                  </a:lnTo>
                  <a:lnTo>
                    <a:pt x="289" y="56"/>
                  </a:lnTo>
                  <a:lnTo>
                    <a:pt x="287" y="59"/>
                  </a:lnTo>
                  <a:lnTo>
                    <a:pt x="287" y="60"/>
                  </a:lnTo>
                  <a:lnTo>
                    <a:pt x="291" y="64"/>
                  </a:lnTo>
                  <a:lnTo>
                    <a:pt x="287" y="67"/>
                  </a:lnTo>
                  <a:lnTo>
                    <a:pt x="286" y="70"/>
                  </a:lnTo>
                  <a:lnTo>
                    <a:pt x="282" y="73"/>
                  </a:lnTo>
                  <a:lnTo>
                    <a:pt x="284" y="76"/>
                  </a:lnTo>
                  <a:lnTo>
                    <a:pt x="283" y="81"/>
                  </a:lnTo>
                  <a:lnTo>
                    <a:pt x="281" y="78"/>
                  </a:lnTo>
                  <a:lnTo>
                    <a:pt x="276" y="80"/>
                  </a:lnTo>
                  <a:lnTo>
                    <a:pt x="276" y="85"/>
                  </a:lnTo>
                  <a:lnTo>
                    <a:pt x="279" y="84"/>
                  </a:lnTo>
                  <a:lnTo>
                    <a:pt x="279" y="89"/>
                  </a:lnTo>
                  <a:lnTo>
                    <a:pt x="282" y="101"/>
                  </a:lnTo>
                  <a:lnTo>
                    <a:pt x="281" y="104"/>
                  </a:lnTo>
                  <a:lnTo>
                    <a:pt x="276" y="105"/>
                  </a:lnTo>
                  <a:lnTo>
                    <a:pt x="274" y="110"/>
                  </a:lnTo>
                  <a:lnTo>
                    <a:pt x="269" y="113"/>
                  </a:lnTo>
                  <a:lnTo>
                    <a:pt x="268" y="114"/>
                  </a:lnTo>
                  <a:lnTo>
                    <a:pt x="270" y="115"/>
                  </a:lnTo>
                  <a:lnTo>
                    <a:pt x="272" y="120"/>
                  </a:lnTo>
                  <a:lnTo>
                    <a:pt x="267" y="125"/>
                  </a:lnTo>
                  <a:lnTo>
                    <a:pt x="262" y="128"/>
                  </a:lnTo>
                  <a:lnTo>
                    <a:pt x="259" y="124"/>
                  </a:lnTo>
                  <a:lnTo>
                    <a:pt x="260" y="135"/>
                  </a:lnTo>
                  <a:lnTo>
                    <a:pt x="257" y="135"/>
                  </a:lnTo>
                  <a:lnTo>
                    <a:pt x="255" y="130"/>
                  </a:lnTo>
                  <a:lnTo>
                    <a:pt x="255" y="137"/>
                  </a:lnTo>
                  <a:lnTo>
                    <a:pt x="260" y="140"/>
                  </a:lnTo>
                  <a:lnTo>
                    <a:pt x="255" y="142"/>
                  </a:lnTo>
                  <a:lnTo>
                    <a:pt x="254" y="138"/>
                  </a:lnTo>
                  <a:lnTo>
                    <a:pt x="254" y="145"/>
                  </a:lnTo>
                  <a:lnTo>
                    <a:pt x="257" y="148"/>
                  </a:lnTo>
                  <a:lnTo>
                    <a:pt x="254" y="153"/>
                  </a:lnTo>
                  <a:lnTo>
                    <a:pt x="255" y="157"/>
                  </a:lnTo>
                  <a:lnTo>
                    <a:pt x="252" y="163"/>
                  </a:lnTo>
                  <a:lnTo>
                    <a:pt x="248" y="164"/>
                  </a:lnTo>
                  <a:lnTo>
                    <a:pt x="244" y="164"/>
                  </a:lnTo>
                  <a:lnTo>
                    <a:pt x="244" y="168"/>
                  </a:lnTo>
                  <a:lnTo>
                    <a:pt x="240" y="173"/>
                  </a:lnTo>
                  <a:lnTo>
                    <a:pt x="239" y="176"/>
                  </a:lnTo>
                  <a:lnTo>
                    <a:pt x="234" y="174"/>
                  </a:lnTo>
                  <a:lnTo>
                    <a:pt x="238" y="178"/>
                  </a:lnTo>
                  <a:lnTo>
                    <a:pt x="235" y="179"/>
                  </a:lnTo>
                  <a:lnTo>
                    <a:pt x="235" y="184"/>
                  </a:lnTo>
                  <a:lnTo>
                    <a:pt x="238" y="190"/>
                  </a:lnTo>
                  <a:lnTo>
                    <a:pt x="225" y="195"/>
                  </a:lnTo>
                  <a:lnTo>
                    <a:pt x="229" y="197"/>
                  </a:lnTo>
                  <a:lnTo>
                    <a:pt x="228" y="202"/>
                  </a:lnTo>
                  <a:lnTo>
                    <a:pt x="229" y="207"/>
                  </a:lnTo>
                  <a:lnTo>
                    <a:pt x="228" y="210"/>
                  </a:lnTo>
                  <a:lnTo>
                    <a:pt x="223" y="210"/>
                  </a:lnTo>
                  <a:lnTo>
                    <a:pt x="223" y="213"/>
                  </a:lnTo>
                  <a:lnTo>
                    <a:pt x="228" y="215"/>
                  </a:lnTo>
                  <a:lnTo>
                    <a:pt x="223" y="217"/>
                  </a:lnTo>
                  <a:lnTo>
                    <a:pt x="221" y="216"/>
                  </a:lnTo>
                  <a:lnTo>
                    <a:pt x="219" y="217"/>
                  </a:lnTo>
                  <a:lnTo>
                    <a:pt x="223" y="222"/>
                  </a:lnTo>
                  <a:lnTo>
                    <a:pt x="218" y="226"/>
                  </a:lnTo>
                  <a:lnTo>
                    <a:pt x="220" y="231"/>
                  </a:lnTo>
                  <a:lnTo>
                    <a:pt x="218" y="236"/>
                  </a:lnTo>
                  <a:lnTo>
                    <a:pt x="223" y="231"/>
                  </a:lnTo>
                  <a:lnTo>
                    <a:pt x="225" y="235"/>
                  </a:lnTo>
                  <a:lnTo>
                    <a:pt x="220" y="237"/>
                  </a:lnTo>
                  <a:lnTo>
                    <a:pt x="225" y="240"/>
                  </a:lnTo>
                  <a:lnTo>
                    <a:pt x="226" y="239"/>
                  </a:lnTo>
                  <a:lnTo>
                    <a:pt x="224" y="244"/>
                  </a:lnTo>
                  <a:lnTo>
                    <a:pt x="226" y="249"/>
                  </a:lnTo>
                  <a:lnTo>
                    <a:pt x="228" y="250"/>
                  </a:lnTo>
                  <a:lnTo>
                    <a:pt x="229" y="257"/>
                  </a:lnTo>
                  <a:lnTo>
                    <a:pt x="229" y="259"/>
                  </a:lnTo>
                  <a:lnTo>
                    <a:pt x="224" y="259"/>
                  </a:lnTo>
                  <a:lnTo>
                    <a:pt x="225" y="262"/>
                  </a:lnTo>
                  <a:lnTo>
                    <a:pt x="224" y="269"/>
                  </a:lnTo>
                  <a:lnTo>
                    <a:pt x="122" y="275"/>
                  </a:lnTo>
                  <a:lnTo>
                    <a:pt x="43" y="278"/>
                  </a:lnTo>
                  <a:lnTo>
                    <a:pt x="42" y="236"/>
                  </a:lnTo>
                  <a:lnTo>
                    <a:pt x="26" y="234"/>
                  </a:lnTo>
                  <a:lnTo>
                    <a:pt x="21" y="237"/>
                  </a:lnTo>
                  <a:lnTo>
                    <a:pt x="16" y="234"/>
                  </a:lnTo>
                  <a:lnTo>
                    <a:pt x="16" y="231"/>
                  </a:lnTo>
                  <a:lnTo>
                    <a:pt x="14" y="230"/>
                  </a:lnTo>
                  <a:lnTo>
                    <a:pt x="13" y="96"/>
                  </a:lnTo>
                  <a:lnTo>
                    <a:pt x="11" y="7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/>
            <a:lstStyle>
              <a:defPPr>
                <a:defRPr lang="fr-FR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2" name="TextBox 221"/>
            <p:cNvSpPr txBox="1"/>
            <p:nvPr/>
          </p:nvSpPr>
          <p:spPr>
            <a:xfrm>
              <a:off x="174139" y="2532853"/>
              <a:ext cx="9574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/>
                <a:t>Arkansas</a:t>
              </a:r>
              <a:endParaRPr lang="en-US" sz="1200" b="1" dirty="0"/>
            </a:p>
          </p:txBody>
        </p:sp>
        <p:sp>
          <p:nvSpPr>
            <p:cNvPr id="221" name="Freeform 220"/>
            <p:cNvSpPr>
              <a:spLocks noEditPoints="1"/>
            </p:cNvSpPr>
            <p:nvPr/>
          </p:nvSpPr>
          <p:spPr bwMode="auto">
            <a:xfrm rot="1736404">
              <a:off x="385585" y="2827393"/>
              <a:ext cx="394045" cy="583234"/>
            </a:xfrm>
            <a:custGeom>
              <a:avLst/>
              <a:gdLst>
                <a:gd name="T0" fmla="*/ 209 w 236"/>
                <a:gd name="T1" fmla="*/ 160 h 350"/>
                <a:gd name="T2" fmla="*/ 205 w 236"/>
                <a:gd name="T3" fmla="*/ 142 h 350"/>
                <a:gd name="T4" fmla="*/ 197 w 236"/>
                <a:gd name="T5" fmla="*/ 141 h 350"/>
                <a:gd name="T6" fmla="*/ 186 w 236"/>
                <a:gd name="T7" fmla="*/ 136 h 350"/>
                <a:gd name="T8" fmla="*/ 181 w 236"/>
                <a:gd name="T9" fmla="*/ 121 h 350"/>
                <a:gd name="T10" fmla="*/ 173 w 236"/>
                <a:gd name="T11" fmla="*/ 116 h 350"/>
                <a:gd name="T12" fmla="*/ 160 w 236"/>
                <a:gd name="T13" fmla="*/ 113 h 350"/>
                <a:gd name="T14" fmla="*/ 156 w 236"/>
                <a:gd name="T15" fmla="*/ 99 h 350"/>
                <a:gd name="T16" fmla="*/ 128 w 236"/>
                <a:gd name="T17" fmla="*/ 14 h 350"/>
                <a:gd name="T18" fmla="*/ 104 w 236"/>
                <a:gd name="T19" fmla="*/ 2 h 350"/>
                <a:gd name="T20" fmla="*/ 89 w 236"/>
                <a:gd name="T21" fmla="*/ 8 h 350"/>
                <a:gd name="T22" fmla="*/ 77 w 236"/>
                <a:gd name="T23" fmla="*/ 18 h 350"/>
                <a:gd name="T24" fmla="*/ 60 w 236"/>
                <a:gd name="T25" fmla="*/ 16 h 350"/>
                <a:gd name="T26" fmla="*/ 48 w 236"/>
                <a:gd name="T27" fmla="*/ 8 h 350"/>
                <a:gd name="T28" fmla="*/ 25 w 236"/>
                <a:gd name="T29" fmla="*/ 101 h 350"/>
                <a:gd name="T30" fmla="*/ 25 w 236"/>
                <a:gd name="T31" fmla="*/ 130 h 350"/>
                <a:gd name="T32" fmla="*/ 26 w 236"/>
                <a:gd name="T33" fmla="*/ 148 h 350"/>
                <a:gd name="T34" fmla="*/ 14 w 236"/>
                <a:gd name="T35" fmla="*/ 169 h 350"/>
                <a:gd name="T36" fmla="*/ 14 w 236"/>
                <a:gd name="T37" fmla="*/ 177 h 350"/>
                <a:gd name="T38" fmla="*/ 12 w 236"/>
                <a:gd name="T39" fmla="*/ 187 h 350"/>
                <a:gd name="T40" fmla="*/ 0 w 236"/>
                <a:gd name="T41" fmla="*/ 191 h 350"/>
                <a:gd name="T42" fmla="*/ 41 w 236"/>
                <a:gd name="T43" fmla="*/ 318 h 350"/>
                <a:gd name="T44" fmla="*/ 45 w 236"/>
                <a:gd name="T45" fmla="*/ 332 h 350"/>
                <a:gd name="T46" fmla="*/ 56 w 236"/>
                <a:gd name="T47" fmla="*/ 343 h 350"/>
                <a:gd name="T48" fmla="*/ 68 w 236"/>
                <a:gd name="T49" fmla="*/ 345 h 350"/>
                <a:gd name="T50" fmla="*/ 68 w 236"/>
                <a:gd name="T51" fmla="*/ 330 h 350"/>
                <a:gd name="T52" fmla="*/ 74 w 236"/>
                <a:gd name="T53" fmla="*/ 312 h 350"/>
                <a:gd name="T54" fmla="*/ 77 w 236"/>
                <a:gd name="T55" fmla="*/ 296 h 350"/>
                <a:gd name="T56" fmla="*/ 88 w 236"/>
                <a:gd name="T57" fmla="*/ 289 h 350"/>
                <a:gd name="T58" fmla="*/ 92 w 236"/>
                <a:gd name="T59" fmla="*/ 284 h 350"/>
                <a:gd name="T60" fmla="*/ 98 w 236"/>
                <a:gd name="T61" fmla="*/ 289 h 350"/>
                <a:gd name="T62" fmla="*/ 90 w 236"/>
                <a:gd name="T63" fmla="*/ 272 h 350"/>
                <a:gd name="T64" fmla="*/ 93 w 236"/>
                <a:gd name="T65" fmla="*/ 267 h 350"/>
                <a:gd name="T66" fmla="*/ 98 w 236"/>
                <a:gd name="T67" fmla="*/ 273 h 350"/>
                <a:gd name="T68" fmla="*/ 104 w 236"/>
                <a:gd name="T69" fmla="*/ 270 h 350"/>
                <a:gd name="T70" fmla="*/ 105 w 236"/>
                <a:gd name="T71" fmla="*/ 268 h 350"/>
                <a:gd name="T72" fmla="*/ 107 w 236"/>
                <a:gd name="T73" fmla="*/ 267 h 350"/>
                <a:gd name="T74" fmla="*/ 113 w 236"/>
                <a:gd name="T75" fmla="*/ 270 h 350"/>
                <a:gd name="T76" fmla="*/ 119 w 236"/>
                <a:gd name="T77" fmla="*/ 260 h 350"/>
                <a:gd name="T78" fmla="*/ 129 w 236"/>
                <a:gd name="T79" fmla="*/ 252 h 350"/>
                <a:gd name="T80" fmla="*/ 128 w 236"/>
                <a:gd name="T81" fmla="*/ 236 h 350"/>
                <a:gd name="T82" fmla="*/ 127 w 236"/>
                <a:gd name="T83" fmla="*/ 223 h 350"/>
                <a:gd name="T84" fmla="*/ 137 w 236"/>
                <a:gd name="T85" fmla="*/ 215 h 350"/>
                <a:gd name="T86" fmla="*/ 139 w 236"/>
                <a:gd name="T87" fmla="*/ 224 h 350"/>
                <a:gd name="T88" fmla="*/ 155 w 236"/>
                <a:gd name="T89" fmla="*/ 230 h 350"/>
                <a:gd name="T90" fmla="*/ 152 w 236"/>
                <a:gd name="T91" fmla="*/ 215 h 350"/>
                <a:gd name="T92" fmla="*/ 161 w 236"/>
                <a:gd name="T93" fmla="*/ 211 h 350"/>
                <a:gd name="T94" fmla="*/ 176 w 236"/>
                <a:gd name="T95" fmla="*/ 215 h 350"/>
                <a:gd name="T96" fmla="*/ 178 w 236"/>
                <a:gd name="T97" fmla="*/ 203 h 350"/>
                <a:gd name="T98" fmla="*/ 182 w 236"/>
                <a:gd name="T99" fmla="*/ 208 h 350"/>
                <a:gd name="T100" fmla="*/ 185 w 236"/>
                <a:gd name="T101" fmla="*/ 192 h 350"/>
                <a:gd name="T102" fmla="*/ 192 w 236"/>
                <a:gd name="T103" fmla="*/ 192 h 350"/>
                <a:gd name="T104" fmla="*/ 201 w 236"/>
                <a:gd name="T105" fmla="*/ 186 h 350"/>
                <a:gd name="T106" fmla="*/ 206 w 236"/>
                <a:gd name="T107" fmla="*/ 184 h 350"/>
                <a:gd name="T108" fmla="*/ 215 w 236"/>
                <a:gd name="T109" fmla="*/ 176 h 350"/>
                <a:gd name="T110" fmla="*/ 215 w 236"/>
                <a:gd name="T111" fmla="*/ 158 h 350"/>
                <a:gd name="T112" fmla="*/ 157 w 236"/>
                <a:gd name="T113" fmla="*/ 220 h 350"/>
                <a:gd name="T114" fmla="*/ 170 w 236"/>
                <a:gd name="T115" fmla="*/ 215 h 350"/>
                <a:gd name="T116" fmla="*/ 233 w 236"/>
                <a:gd name="T117" fmla="*/ 161 h 350"/>
                <a:gd name="T118" fmla="*/ 229 w 236"/>
                <a:gd name="T119" fmla="*/ 171 h 350"/>
                <a:gd name="T120" fmla="*/ 236 w 236"/>
                <a:gd name="T121" fmla="*/ 166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6" h="350">
                  <a:moveTo>
                    <a:pt x="216" y="160"/>
                  </a:moveTo>
                  <a:lnTo>
                    <a:pt x="212" y="165"/>
                  </a:lnTo>
                  <a:lnTo>
                    <a:pt x="209" y="160"/>
                  </a:lnTo>
                  <a:lnTo>
                    <a:pt x="214" y="152"/>
                  </a:lnTo>
                  <a:lnTo>
                    <a:pt x="205" y="143"/>
                  </a:lnTo>
                  <a:lnTo>
                    <a:pt x="205" y="142"/>
                  </a:lnTo>
                  <a:lnTo>
                    <a:pt x="205" y="142"/>
                  </a:lnTo>
                  <a:lnTo>
                    <a:pt x="201" y="141"/>
                  </a:lnTo>
                  <a:lnTo>
                    <a:pt x="197" y="141"/>
                  </a:lnTo>
                  <a:lnTo>
                    <a:pt x="194" y="145"/>
                  </a:lnTo>
                  <a:lnTo>
                    <a:pt x="188" y="141"/>
                  </a:lnTo>
                  <a:lnTo>
                    <a:pt x="186" y="136"/>
                  </a:lnTo>
                  <a:lnTo>
                    <a:pt x="186" y="131"/>
                  </a:lnTo>
                  <a:lnTo>
                    <a:pt x="182" y="126"/>
                  </a:lnTo>
                  <a:lnTo>
                    <a:pt x="181" y="121"/>
                  </a:lnTo>
                  <a:lnTo>
                    <a:pt x="182" y="116"/>
                  </a:lnTo>
                  <a:lnTo>
                    <a:pt x="178" y="114"/>
                  </a:lnTo>
                  <a:lnTo>
                    <a:pt x="173" y="116"/>
                  </a:lnTo>
                  <a:lnTo>
                    <a:pt x="168" y="116"/>
                  </a:lnTo>
                  <a:lnTo>
                    <a:pt x="163" y="112"/>
                  </a:lnTo>
                  <a:lnTo>
                    <a:pt x="160" y="113"/>
                  </a:lnTo>
                  <a:lnTo>
                    <a:pt x="157" y="108"/>
                  </a:lnTo>
                  <a:lnTo>
                    <a:pt x="158" y="104"/>
                  </a:lnTo>
                  <a:lnTo>
                    <a:pt x="156" y="99"/>
                  </a:lnTo>
                  <a:lnTo>
                    <a:pt x="156" y="94"/>
                  </a:lnTo>
                  <a:lnTo>
                    <a:pt x="149" y="78"/>
                  </a:lnTo>
                  <a:lnTo>
                    <a:pt x="128" y="14"/>
                  </a:lnTo>
                  <a:lnTo>
                    <a:pt x="124" y="13"/>
                  </a:lnTo>
                  <a:lnTo>
                    <a:pt x="114" y="6"/>
                  </a:lnTo>
                  <a:lnTo>
                    <a:pt x="104" y="2"/>
                  </a:lnTo>
                  <a:lnTo>
                    <a:pt x="99" y="0"/>
                  </a:lnTo>
                  <a:lnTo>
                    <a:pt x="93" y="2"/>
                  </a:lnTo>
                  <a:lnTo>
                    <a:pt x="89" y="8"/>
                  </a:lnTo>
                  <a:lnTo>
                    <a:pt x="85" y="10"/>
                  </a:lnTo>
                  <a:lnTo>
                    <a:pt x="80" y="15"/>
                  </a:lnTo>
                  <a:lnTo>
                    <a:pt x="77" y="18"/>
                  </a:lnTo>
                  <a:lnTo>
                    <a:pt x="71" y="23"/>
                  </a:lnTo>
                  <a:lnTo>
                    <a:pt x="65" y="20"/>
                  </a:lnTo>
                  <a:lnTo>
                    <a:pt x="60" y="16"/>
                  </a:lnTo>
                  <a:lnTo>
                    <a:pt x="58" y="6"/>
                  </a:lnTo>
                  <a:lnTo>
                    <a:pt x="53" y="6"/>
                  </a:lnTo>
                  <a:lnTo>
                    <a:pt x="48" y="8"/>
                  </a:lnTo>
                  <a:lnTo>
                    <a:pt x="25" y="73"/>
                  </a:lnTo>
                  <a:lnTo>
                    <a:pt x="29" y="94"/>
                  </a:lnTo>
                  <a:lnTo>
                    <a:pt x="25" y="101"/>
                  </a:lnTo>
                  <a:lnTo>
                    <a:pt x="22" y="116"/>
                  </a:lnTo>
                  <a:lnTo>
                    <a:pt x="25" y="119"/>
                  </a:lnTo>
                  <a:lnTo>
                    <a:pt x="25" y="130"/>
                  </a:lnTo>
                  <a:lnTo>
                    <a:pt x="29" y="135"/>
                  </a:lnTo>
                  <a:lnTo>
                    <a:pt x="24" y="145"/>
                  </a:lnTo>
                  <a:lnTo>
                    <a:pt x="26" y="148"/>
                  </a:lnTo>
                  <a:lnTo>
                    <a:pt x="17" y="158"/>
                  </a:lnTo>
                  <a:lnTo>
                    <a:pt x="15" y="164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9" y="179"/>
                  </a:lnTo>
                  <a:lnTo>
                    <a:pt x="14" y="177"/>
                  </a:lnTo>
                  <a:lnTo>
                    <a:pt x="12" y="177"/>
                  </a:lnTo>
                  <a:lnTo>
                    <a:pt x="11" y="182"/>
                  </a:lnTo>
                  <a:lnTo>
                    <a:pt x="12" y="187"/>
                  </a:lnTo>
                  <a:lnTo>
                    <a:pt x="7" y="189"/>
                  </a:lnTo>
                  <a:lnTo>
                    <a:pt x="4" y="186"/>
                  </a:lnTo>
                  <a:lnTo>
                    <a:pt x="0" y="191"/>
                  </a:lnTo>
                  <a:lnTo>
                    <a:pt x="0" y="194"/>
                  </a:lnTo>
                  <a:lnTo>
                    <a:pt x="36" y="303"/>
                  </a:lnTo>
                  <a:lnTo>
                    <a:pt x="41" y="318"/>
                  </a:lnTo>
                  <a:lnTo>
                    <a:pt x="41" y="323"/>
                  </a:lnTo>
                  <a:lnTo>
                    <a:pt x="44" y="327"/>
                  </a:lnTo>
                  <a:lnTo>
                    <a:pt x="45" y="332"/>
                  </a:lnTo>
                  <a:lnTo>
                    <a:pt x="50" y="336"/>
                  </a:lnTo>
                  <a:lnTo>
                    <a:pt x="55" y="338"/>
                  </a:lnTo>
                  <a:lnTo>
                    <a:pt x="56" y="343"/>
                  </a:lnTo>
                  <a:lnTo>
                    <a:pt x="60" y="348"/>
                  </a:lnTo>
                  <a:lnTo>
                    <a:pt x="63" y="350"/>
                  </a:lnTo>
                  <a:lnTo>
                    <a:pt x="68" y="345"/>
                  </a:lnTo>
                  <a:lnTo>
                    <a:pt x="69" y="340"/>
                  </a:lnTo>
                  <a:lnTo>
                    <a:pt x="68" y="335"/>
                  </a:lnTo>
                  <a:lnTo>
                    <a:pt x="68" y="330"/>
                  </a:lnTo>
                  <a:lnTo>
                    <a:pt x="73" y="326"/>
                  </a:lnTo>
                  <a:lnTo>
                    <a:pt x="77" y="316"/>
                  </a:lnTo>
                  <a:lnTo>
                    <a:pt x="74" y="312"/>
                  </a:lnTo>
                  <a:lnTo>
                    <a:pt x="80" y="302"/>
                  </a:lnTo>
                  <a:lnTo>
                    <a:pt x="77" y="301"/>
                  </a:lnTo>
                  <a:lnTo>
                    <a:pt x="77" y="296"/>
                  </a:lnTo>
                  <a:lnTo>
                    <a:pt x="78" y="291"/>
                  </a:lnTo>
                  <a:lnTo>
                    <a:pt x="85" y="280"/>
                  </a:lnTo>
                  <a:lnTo>
                    <a:pt x="88" y="289"/>
                  </a:lnTo>
                  <a:lnTo>
                    <a:pt x="88" y="284"/>
                  </a:lnTo>
                  <a:lnTo>
                    <a:pt x="89" y="289"/>
                  </a:lnTo>
                  <a:lnTo>
                    <a:pt x="92" y="284"/>
                  </a:lnTo>
                  <a:lnTo>
                    <a:pt x="93" y="279"/>
                  </a:lnTo>
                  <a:lnTo>
                    <a:pt x="94" y="279"/>
                  </a:lnTo>
                  <a:lnTo>
                    <a:pt x="98" y="289"/>
                  </a:lnTo>
                  <a:lnTo>
                    <a:pt x="99" y="284"/>
                  </a:lnTo>
                  <a:lnTo>
                    <a:pt x="93" y="269"/>
                  </a:lnTo>
                  <a:lnTo>
                    <a:pt x="90" y="272"/>
                  </a:lnTo>
                  <a:lnTo>
                    <a:pt x="92" y="267"/>
                  </a:lnTo>
                  <a:lnTo>
                    <a:pt x="93" y="262"/>
                  </a:lnTo>
                  <a:lnTo>
                    <a:pt x="93" y="267"/>
                  </a:lnTo>
                  <a:lnTo>
                    <a:pt x="100" y="283"/>
                  </a:lnTo>
                  <a:lnTo>
                    <a:pt x="102" y="278"/>
                  </a:lnTo>
                  <a:lnTo>
                    <a:pt x="98" y="273"/>
                  </a:lnTo>
                  <a:lnTo>
                    <a:pt x="99" y="267"/>
                  </a:lnTo>
                  <a:lnTo>
                    <a:pt x="102" y="265"/>
                  </a:lnTo>
                  <a:lnTo>
                    <a:pt x="104" y="270"/>
                  </a:lnTo>
                  <a:lnTo>
                    <a:pt x="103" y="275"/>
                  </a:lnTo>
                  <a:lnTo>
                    <a:pt x="108" y="278"/>
                  </a:lnTo>
                  <a:lnTo>
                    <a:pt x="105" y="268"/>
                  </a:lnTo>
                  <a:lnTo>
                    <a:pt x="105" y="263"/>
                  </a:lnTo>
                  <a:lnTo>
                    <a:pt x="107" y="262"/>
                  </a:lnTo>
                  <a:lnTo>
                    <a:pt x="107" y="267"/>
                  </a:lnTo>
                  <a:lnTo>
                    <a:pt x="108" y="272"/>
                  </a:lnTo>
                  <a:lnTo>
                    <a:pt x="112" y="274"/>
                  </a:lnTo>
                  <a:lnTo>
                    <a:pt x="113" y="270"/>
                  </a:lnTo>
                  <a:lnTo>
                    <a:pt x="112" y="264"/>
                  </a:lnTo>
                  <a:lnTo>
                    <a:pt x="114" y="260"/>
                  </a:lnTo>
                  <a:lnTo>
                    <a:pt x="119" y="260"/>
                  </a:lnTo>
                  <a:lnTo>
                    <a:pt x="124" y="263"/>
                  </a:lnTo>
                  <a:lnTo>
                    <a:pt x="126" y="258"/>
                  </a:lnTo>
                  <a:lnTo>
                    <a:pt x="129" y="252"/>
                  </a:lnTo>
                  <a:lnTo>
                    <a:pt x="128" y="248"/>
                  </a:lnTo>
                  <a:lnTo>
                    <a:pt x="128" y="243"/>
                  </a:lnTo>
                  <a:lnTo>
                    <a:pt x="128" y="236"/>
                  </a:lnTo>
                  <a:lnTo>
                    <a:pt x="129" y="233"/>
                  </a:lnTo>
                  <a:lnTo>
                    <a:pt x="129" y="228"/>
                  </a:lnTo>
                  <a:lnTo>
                    <a:pt x="127" y="223"/>
                  </a:lnTo>
                  <a:lnTo>
                    <a:pt x="134" y="219"/>
                  </a:lnTo>
                  <a:lnTo>
                    <a:pt x="133" y="210"/>
                  </a:lnTo>
                  <a:lnTo>
                    <a:pt x="137" y="215"/>
                  </a:lnTo>
                  <a:lnTo>
                    <a:pt x="136" y="220"/>
                  </a:lnTo>
                  <a:lnTo>
                    <a:pt x="141" y="219"/>
                  </a:lnTo>
                  <a:lnTo>
                    <a:pt x="139" y="224"/>
                  </a:lnTo>
                  <a:lnTo>
                    <a:pt x="137" y="228"/>
                  </a:lnTo>
                  <a:lnTo>
                    <a:pt x="147" y="228"/>
                  </a:lnTo>
                  <a:lnTo>
                    <a:pt x="155" y="230"/>
                  </a:lnTo>
                  <a:lnTo>
                    <a:pt x="152" y="225"/>
                  </a:lnTo>
                  <a:lnTo>
                    <a:pt x="151" y="220"/>
                  </a:lnTo>
                  <a:lnTo>
                    <a:pt x="152" y="215"/>
                  </a:lnTo>
                  <a:lnTo>
                    <a:pt x="152" y="210"/>
                  </a:lnTo>
                  <a:lnTo>
                    <a:pt x="156" y="215"/>
                  </a:lnTo>
                  <a:lnTo>
                    <a:pt x="161" y="211"/>
                  </a:lnTo>
                  <a:lnTo>
                    <a:pt x="160" y="206"/>
                  </a:lnTo>
                  <a:lnTo>
                    <a:pt x="172" y="210"/>
                  </a:lnTo>
                  <a:lnTo>
                    <a:pt x="176" y="215"/>
                  </a:lnTo>
                  <a:lnTo>
                    <a:pt x="177" y="210"/>
                  </a:lnTo>
                  <a:lnTo>
                    <a:pt x="176" y="205"/>
                  </a:lnTo>
                  <a:lnTo>
                    <a:pt x="178" y="203"/>
                  </a:lnTo>
                  <a:lnTo>
                    <a:pt x="180" y="208"/>
                  </a:lnTo>
                  <a:lnTo>
                    <a:pt x="181" y="203"/>
                  </a:lnTo>
                  <a:lnTo>
                    <a:pt x="182" y="208"/>
                  </a:lnTo>
                  <a:lnTo>
                    <a:pt x="183" y="203"/>
                  </a:lnTo>
                  <a:lnTo>
                    <a:pt x="181" y="197"/>
                  </a:lnTo>
                  <a:lnTo>
                    <a:pt x="185" y="192"/>
                  </a:lnTo>
                  <a:lnTo>
                    <a:pt x="188" y="197"/>
                  </a:lnTo>
                  <a:lnTo>
                    <a:pt x="191" y="197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6" y="189"/>
                  </a:lnTo>
                  <a:lnTo>
                    <a:pt x="201" y="186"/>
                  </a:lnTo>
                  <a:lnTo>
                    <a:pt x="201" y="186"/>
                  </a:lnTo>
                  <a:lnTo>
                    <a:pt x="201" y="182"/>
                  </a:lnTo>
                  <a:lnTo>
                    <a:pt x="206" y="184"/>
                  </a:lnTo>
                  <a:lnTo>
                    <a:pt x="202" y="179"/>
                  </a:lnTo>
                  <a:lnTo>
                    <a:pt x="210" y="180"/>
                  </a:lnTo>
                  <a:lnTo>
                    <a:pt x="215" y="176"/>
                  </a:lnTo>
                  <a:lnTo>
                    <a:pt x="220" y="167"/>
                  </a:lnTo>
                  <a:lnTo>
                    <a:pt x="220" y="162"/>
                  </a:lnTo>
                  <a:lnTo>
                    <a:pt x="215" y="158"/>
                  </a:lnTo>
                  <a:lnTo>
                    <a:pt x="216" y="160"/>
                  </a:lnTo>
                  <a:close/>
                  <a:moveTo>
                    <a:pt x="163" y="211"/>
                  </a:moveTo>
                  <a:lnTo>
                    <a:pt x="157" y="220"/>
                  </a:lnTo>
                  <a:lnTo>
                    <a:pt x="160" y="225"/>
                  </a:lnTo>
                  <a:lnTo>
                    <a:pt x="168" y="220"/>
                  </a:lnTo>
                  <a:lnTo>
                    <a:pt x="170" y="215"/>
                  </a:lnTo>
                  <a:lnTo>
                    <a:pt x="165" y="211"/>
                  </a:lnTo>
                  <a:lnTo>
                    <a:pt x="163" y="211"/>
                  </a:lnTo>
                  <a:close/>
                  <a:moveTo>
                    <a:pt x="233" y="161"/>
                  </a:moveTo>
                  <a:lnTo>
                    <a:pt x="233" y="161"/>
                  </a:lnTo>
                  <a:lnTo>
                    <a:pt x="230" y="165"/>
                  </a:lnTo>
                  <a:lnTo>
                    <a:pt x="229" y="171"/>
                  </a:lnTo>
                  <a:lnTo>
                    <a:pt x="231" y="176"/>
                  </a:lnTo>
                  <a:lnTo>
                    <a:pt x="236" y="171"/>
                  </a:lnTo>
                  <a:lnTo>
                    <a:pt x="236" y="166"/>
                  </a:lnTo>
                  <a:lnTo>
                    <a:pt x="233" y="161"/>
                  </a:lnTo>
                  <a:close/>
                </a:path>
              </a:pathLst>
            </a:custGeom>
            <a:solidFill>
              <a:schemeClr val="tx2"/>
            </a:solidFill>
            <a:ln w="4763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/>
            <a:lstStyle>
              <a:defPPr>
                <a:defRPr lang="fr-FR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3" name="TextBox 222"/>
            <p:cNvSpPr txBox="1"/>
            <p:nvPr/>
          </p:nvSpPr>
          <p:spPr>
            <a:xfrm>
              <a:off x="174139" y="3353477"/>
              <a:ext cx="9574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/>
                <a:t>Maine</a:t>
              </a:r>
              <a:endParaRPr lang="en-US" sz="1200" b="1" dirty="0"/>
            </a:p>
          </p:txBody>
        </p:sp>
        <p:sp>
          <p:nvSpPr>
            <p:cNvPr id="220" name="Freeform 219"/>
            <p:cNvSpPr>
              <a:spLocks noEditPoints="1"/>
            </p:cNvSpPr>
            <p:nvPr/>
          </p:nvSpPr>
          <p:spPr bwMode="auto">
            <a:xfrm rot="778521">
              <a:off x="340708" y="3648017"/>
              <a:ext cx="657967" cy="352725"/>
            </a:xfrm>
            <a:custGeom>
              <a:avLst/>
              <a:gdLst>
                <a:gd name="T0" fmla="*/ 199 w 210"/>
                <a:gd name="T1" fmla="*/ 62 h 113"/>
                <a:gd name="T2" fmla="*/ 188 w 210"/>
                <a:gd name="T3" fmla="*/ 49 h 113"/>
                <a:gd name="T4" fmla="*/ 177 w 210"/>
                <a:gd name="T5" fmla="*/ 49 h 113"/>
                <a:gd name="T6" fmla="*/ 188 w 210"/>
                <a:gd name="T7" fmla="*/ 53 h 113"/>
                <a:gd name="T8" fmla="*/ 194 w 210"/>
                <a:gd name="T9" fmla="*/ 58 h 113"/>
                <a:gd name="T10" fmla="*/ 191 w 210"/>
                <a:gd name="T11" fmla="*/ 70 h 113"/>
                <a:gd name="T12" fmla="*/ 177 w 210"/>
                <a:gd name="T13" fmla="*/ 77 h 113"/>
                <a:gd name="T14" fmla="*/ 169 w 210"/>
                <a:gd name="T15" fmla="*/ 76 h 113"/>
                <a:gd name="T16" fmla="*/ 160 w 210"/>
                <a:gd name="T17" fmla="*/ 64 h 113"/>
                <a:gd name="T18" fmla="*/ 155 w 210"/>
                <a:gd name="T19" fmla="*/ 58 h 113"/>
                <a:gd name="T20" fmla="*/ 156 w 210"/>
                <a:gd name="T21" fmla="*/ 54 h 113"/>
                <a:gd name="T22" fmla="*/ 141 w 210"/>
                <a:gd name="T23" fmla="*/ 45 h 113"/>
                <a:gd name="T24" fmla="*/ 131 w 210"/>
                <a:gd name="T25" fmla="*/ 45 h 113"/>
                <a:gd name="T26" fmla="*/ 133 w 210"/>
                <a:gd name="T27" fmla="*/ 40 h 113"/>
                <a:gd name="T28" fmla="*/ 135 w 210"/>
                <a:gd name="T29" fmla="*/ 30 h 113"/>
                <a:gd name="T30" fmla="*/ 136 w 210"/>
                <a:gd name="T31" fmla="*/ 24 h 113"/>
                <a:gd name="T32" fmla="*/ 147 w 210"/>
                <a:gd name="T33" fmla="*/ 13 h 113"/>
                <a:gd name="T34" fmla="*/ 144 w 210"/>
                <a:gd name="T35" fmla="*/ 14 h 113"/>
                <a:gd name="T36" fmla="*/ 133 w 210"/>
                <a:gd name="T37" fmla="*/ 11 h 113"/>
                <a:gd name="T38" fmla="*/ 128 w 210"/>
                <a:gd name="T39" fmla="*/ 4 h 113"/>
                <a:gd name="T40" fmla="*/ 127 w 210"/>
                <a:gd name="T41" fmla="*/ 0 h 113"/>
                <a:gd name="T42" fmla="*/ 120 w 210"/>
                <a:gd name="T43" fmla="*/ 4 h 113"/>
                <a:gd name="T44" fmla="*/ 116 w 210"/>
                <a:gd name="T45" fmla="*/ 8 h 113"/>
                <a:gd name="T46" fmla="*/ 107 w 210"/>
                <a:gd name="T47" fmla="*/ 20 h 113"/>
                <a:gd name="T48" fmla="*/ 1 w 210"/>
                <a:gd name="T49" fmla="*/ 44 h 113"/>
                <a:gd name="T50" fmla="*/ 0 w 210"/>
                <a:gd name="T51" fmla="*/ 96 h 113"/>
                <a:gd name="T52" fmla="*/ 34 w 210"/>
                <a:gd name="T53" fmla="*/ 92 h 113"/>
                <a:gd name="T54" fmla="*/ 48 w 210"/>
                <a:gd name="T55" fmla="*/ 88 h 113"/>
                <a:gd name="T56" fmla="*/ 57 w 210"/>
                <a:gd name="T57" fmla="*/ 86 h 113"/>
                <a:gd name="T58" fmla="*/ 91 w 210"/>
                <a:gd name="T59" fmla="*/ 78 h 113"/>
                <a:gd name="T60" fmla="*/ 113 w 210"/>
                <a:gd name="T61" fmla="*/ 73 h 113"/>
                <a:gd name="T62" fmla="*/ 120 w 210"/>
                <a:gd name="T63" fmla="*/ 81 h 113"/>
                <a:gd name="T64" fmla="*/ 123 w 210"/>
                <a:gd name="T65" fmla="*/ 86 h 113"/>
                <a:gd name="T66" fmla="*/ 127 w 210"/>
                <a:gd name="T67" fmla="*/ 89 h 113"/>
                <a:gd name="T68" fmla="*/ 133 w 210"/>
                <a:gd name="T69" fmla="*/ 94 h 113"/>
                <a:gd name="T70" fmla="*/ 140 w 210"/>
                <a:gd name="T71" fmla="*/ 102 h 113"/>
                <a:gd name="T72" fmla="*/ 144 w 210"/>
                <a:gd name="T73" fmla="*/ 101 h 113"/>
                <a:gd name="T74" fmla="*/ 151 w 210"/>
                <a:gd name="T75" fmla="*/ 93 h 113"/>
                <a:gd name="T76" fmla="*/ 159 w 210"/>
                <a:gd name="T77" fmla="*/ 84 h 113"/>
                <a:gd name="T78" fmla="*/ 164 w 210"/>
                <a:gd name="T79" fmla="*/ 86 h 113"/>
                <a:gd name="T80" fmla="*/ 171 w 210"/>
                <a:gd name="T81" fmla="*/ 93 h 113"/>
                <a:gd name="T82" fmla="*/ 176 w 210"/>
                <a:gd name="T83" fmla="*/ 86 h 113"/>
                <a:gd name="T84" fmla="*/ 193 w 210"/>
                <a:gd name="T85" fmla="*/ 78 h 113"/>
                <a:gd name="T86" fmla="*/ 201 w 210"/>
                <a:gd name="T87" fmla="*/ 72 h 113"/>
                <a:gd name="T88" fmla="*/ 203 w 210"/>
                <a:gd name="T89" fmla="*/ 98 h 113"/>
                <a:gd name="T90" fmla="*/ 203 w 210"/>
                <a:gd name="T91" fmla="*/ 104 h 113"/>
                <a:gd name="T92" fmla="*/ 208 w 210"/>
                <a:gd name="T93" fmla="*/ 107 h 113"/>
                <a:gd name="T94" fmla="*/ 206 w 210"/>
                <a:gd name="T95" fmla="*/ 101 h 113"/>
                <a:gd name="T96" fmla="*/ 166 w 210"/>
                <a:gd name="T97" fmla="*/ 104 h 113"/>
                <a:gd name="T98" fmla="*/ 171 w 210"/>
                <a:gd name="T99" fmla="*/ 108 h 113"/>
                <a:gd name="T100" fmla="*/ 172 w 210"/>
                <a:gd name="T101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0" h="113">
                  <a:moveTo>
                    <a:pt x="201" y="72"/>
                  </a:moveTo>
                  <a:lnTo>
                    <a:pt x="199" y="62"/>
                  </a:lnTo>
                  <a:lnTo>
                    <a:pt x="193" y="53"/>
                  </a:lnTo>
                  <a:lnTo>
                    <a:pt x="188" y="49"/>
                  </a:lnTo>
                  <a:lnTo>
                    <a:pt x="183" y="48"/>
                  </a:lnTo>
                  <a:lnTo>
                    <a:pt x="177" y="49"/>
                  </a:lnTo>
                  <a:lnTo>
                    <a:pt x="183" y="49"/>
                  </a:lnTo>
                  <a:lnTo>
                    <a:pt x="188" y="53"/>
                  </a:lnTo>
                  <a:lnTo>
                    <a:pt x="189" y="58"/>
                  </a:lnTo>
                  <a:lnTo>
                    <a:pt x="194" y="58"/>
                  </a:lnTo>
                  <a:lnTo>
                    <a:pt x="196" y="65"/>
                  </a:lnTo>
                  <a:lnTo>
                    <a:pt x="191" y="70"/>
                  </a:lnTo>
                  <a:lnTo>
                    <a:pt x="183" y="78"/>
                  </a:lnTo>
                  <a:lnTo>
                    <a:pt x="177" y="77"/>
                  </a:lnTo>
                  <a:lnTo>
                    <a:pt x="172" y="77"/>
                  </a:lnTo>
                  <a:lnTo>
                    <a:pt x="169" y="76"/>
                  </a:lnTo>
                  <a:lnTo>
                    <a:pt x="165" y="65"/>
                  </a:lnTo>
                  <a:lnTo>
                    <a:pt x="160" y="64"/>
                  </a:lnTo>
                  <a:lnTo>
                    <a:pt x="155" y="62"/>
                  </a:lnTo>
                  <a:lnTo>
                    <a:pt x="155" y="58"/>
                  </a:lnTo>
                  <a:lnTo>
                    <a:pt x="160" y="60"/>
                  </a:lnTo>
                  <a:lnTo>
                    <a:pt x="156" y="54"/>
                  </a:lnTo>
                  <a:lnTo>
                    <a:pt x="146" y="45"/>
                  </a:lnTo>
                  <a:lnTo>
                    <a:pt x="141" y="45"/>
                  </a:lnTo>
                  <a:lnTo>
                    <a:pt x="136" y="48"/>
                  </a:lnTo>
                  <a:lnTo>
                    <a:pt x="131" y="45"/>
                  </a:lnTo>
                  <a:lnTo>
                    <a:pt x="128" y="40"/>
                  </a:lnTo>
                  <a:lnTo>
                    <a:pt x="133" y="40"/>
                  </a:lnTo>
                  <a:lnTo>
                    <a:pt x="131" y="35"/>
                  </a:lnTo>
                  <a:lnTo>
                    <a:pt x="135" y="30"/>
                  </a:lnTo>
                  <a:lnTo>
                    <a:pt x="135" y="29"/>
                  </a:lnTo>
                  <a:lnTo>
                    <a:pt x="136" y="24"/>
                  </a:lnTo>
                  <a:lnTo>
                    <a:pt x="146" y="18"/>
                  </a:lnTo>
                  <a:lnTo>
                    <a:pt x="147" y="13"/>
                  </a:lnTo>
                  <a:lnTo>
                    <a:pt x="142" y="13"/>
                  </a:lnTo>
                  <a:lnTo>
                    <a:pt x="144" y="14"/>
                  </a:lnTo>
                  <a:lnTo>
                    <a:pt x="138" y="15"/>
                  </a:lnTo>
                  <a:lnTo>
                    <a:pt x="133" y="11"/>
                  </a:lnTo>
                  <a:lnTo>
                    <a:pt x="132" y="6"/>
                  </a:lnTo>
                  <a:lnTo>
                    <a:pt x="128" y="4"/>
                  </a:lnTo>
                  <a:lnTo>
                    <a:pt x="130" y="0"/>
                  </a:lnTo>
                  <a:lnTo>
                    <a:pt x="127" y="0"/>
                  </a:lnTo>
                  <a:lnTo>
                    <a:pt x="125" y="0"/>
                  </a:lnTo>
                  <a:lnTo>
                    <a:pt x="120" y="4"/>
                  </a:lnTo>
                  <a:lnTo>
                    <a:pt x="117" y="9"/>
                  </a:lnTo>
                  <a:lnTo>
                    <a:pt x="116" y="8"/>
                  </a:lnTo>
                  <a:lnTo>
                    <a:pt x="112" y="13"/>
                  </a:lnTo>
                  <a:lnTo>
                    <a:pt x="107" y="20"/>
                  </a:lnTo>
                  <a:lnTo>
                    <a:pt x="44" y="34"/>
                  </a:lnTo>
                  <a:lnTo>
                    <a:pt x="1" y="44"/>
                  </a:lnTo>
                  <a:lnTo>
                    <a:pt x="0" y="49"/>
                  </a:lnTo>
                  <a:lnTo>
                    <a:pt x="0" y="96"/>
                  </a:lnTo>
                  <a:lnTo>
                    <a:pt x="3" y="98"/>
                  </a:lnTo>
                  <a:lnTo>
                    <a:pt x="34" y="92"/>
                  </a:lnTo>
                  <a:lnTo>
                    <a:pt x="39" y="92"/>
                  </a:lnTo>
                  <a:lnTo>
                    <a:pt x="48" y="88"/>
                  </a:lnTo>
                  <a:lnTo>
                    <a:pt x="52" y="88"/>
                  </a:lnTo>
                  <a:lnTo>
                    <a:pt x="57" y="86"/>
                  </a:lnTo>
                  <a:lnTo>
                    <a:pt x="84" y="79"/>
                  </a:lnTo>
                  <a:lnTo>
                    <a:pt x="91" y="78"/>
                  </a:lnTo>
                  <a:lnTo>
                    <a:pt x="94" y="78"/>
                  </a:lnTo>
                  <a:lnTo>
                    <a:pt x="113" y="73"/>
                  </a:lnTo>
                  <a:lnTo>
                    <a:pt x="117" y="76"/>
                  </a:lnTo>
                  <a:lnTo>
                    <a:pt x="120" y="81"/>
                  </a:lnTo>
                  <a:lnTo>
                    <a:pt x="122" y="82"/>
                  </a:lnTo>
                  <a:lnTo>
                    <a:pt x="123" y="86"/>
                  </a:lnTo>
                  <a:lnTo>
                    <a:pt x="126" y="89"/>
                  </a:lnTo>
                  <a:lnTo>
                    <a:pt x="127" y="89"/>
                  </a:lnTo>
                  <a:lnTo>
                    <a:pt x="131" y="92"/>
                  </a:lnTo>
                  <a:lnTo>
                    <a:pt x="133" y="94"/>
                  </a:lnTo>
                  <a:lnTo>
                    <a:pt x="138" y="96"/>
                  </a:lnTo>
                  <a:lnTo>
                    <a:pt x="140" y="102"/>
                  </a:lnTo>
                  <a:lnTo>
                    <a:pt x="141" y="106"/>
                  </a:lnTo>
                  <a:lnTo>
                    <a:pt x="144" y="101"/>
                  </a:lnTo>
                  <a:lnTo>
                    <a:pt x="149" y="101"/>
                  </a:lnTo>
                  <a:lnTo>
                    <a:pt x="151" y="93"/>
                  </a:lnTo>
                  <a:lnTo>
                    <a:pt x="156" y="89"/>
                  </a:lnTo>
                  <a:lnTo>
                    <a:pt x="159" y="84"/>
                  </a:lnTo>
                  <a:lnTo>
                    <a:pt x="164" y="81"/>
                  </a:lnTo>
                  <a:lnTo>
                    <a:pt x="164" y="86"/>
                  </a:lnTo>
                  <a:lnTo>
                    <a:pt x="165" y="96"/>
                  </a:lnTo>
                  <a:lnTo>
                    <a:pt x="171" y="93"/>
                  </a:lnTo>
                  <a:lnTo>
                    <a:pt x="175" y="91"/>
                  </a:lnTo>
                  <a:lnTo>
                    <a:pt x="176" y="86"/>
                  </a:lnTo>
                  <a:lnTo>
                    <a:pt x="179" y="86"/>
                  </a:lnTo>
                  <a:lnTo>
                    <a:pt x="193" y="78"/>
                  </a:lnTo>
                  <a:lnTo>
                    <a:pt x="199" y="77"/>
                  </a:lnTo>
                  <a:lnTo>
                    <a:pt x="201" y="72"/>
                  </a:lnTo>
                  <a:close/>
                  <a:moveTo>
                    <a:pt x="206" y="101"/>
                  </a:moveTo>
                  <a:lnTo>
                    <a:pt x="203" y="98"/>
                  </a:lnTo>
                  <a:lnTo>
                    <a:pt x="204" y="99"/>
                  </a:lnTo>
                  <a:lnTo>
                    <a:pt x="203" y="104"/>
                  </a:lnTo>
                  <a:lnTo>
                    <a:pt x="199" y="108"/>
                  </a:lnTo>
                  <a:lnTo>
                    <a:pt x="208" y="107"/>
                  </a:lnTo>
                  <a:lnTo>
                    <a:pt x="210" y="106"/>
                  </a:lnTo>
                  <a:lnTo>
                    <a:pt x="206" y="101"/>
                  </a:lnTo>
                  <a:close/>
                  <a:moveTo>
                    <a:pt x="169" y="101"/>
                  </a:moveTo>
                  <a:lnTo>
                    <a:pt x="166" y="104"/>
                  </a:lnTo>
                  <a:lnTo>
                    <a:pt x="162" y="113"/>
                  </a:lnTo>
                  <a:lnTo>
                    <a:pt x="171" y="108"/>
                  </a:lnTo>
                  <a:lnTo>
                    <a:pt x="176" y="104"/>
                  </a:lnTo>
                  <a:lnTo>
                    <a:pt x="172" y="99"/>
                  </a:lnTo>
                  <a:lnTo>
                    <a:pt x="169" y="101"/>
                  </a:lnTo>
                  <a:close/>
                </a:path>
              </a:pathLst>
            </a:custGeom>
            <a:solidFill>
              <a:schemeClr val="tx2"/>
            </a:solidFill>
            <a:ln w="4763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/>
            <a:lstStyle>
              <a:defPPr>
                <a:defRPr lang="fr-FR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4" name="TextBox 223"/>
            <p:cNvSpPr txBox="1"/>
            <p:nvPr/>
          </p:nvSpPr>
          <p:spPr>
            <a:xfrm>
              <a:off x="174139" y="3986268"/>
              <a:ext cx="1281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/>
                <a:t>Massachusetts</a:t>
              </a:r>
              <a:endParaRPr lang="en-US" sz="1200" b="1" dirty="0"/>
            </a:p>
          </p:txBody>
        </p:sp>
        <p:sp>
          <p:nvSpPr>
            <p:cNvPr id="217" name="Freeform 216"/>
            <p:cNvSpPr>
              <a:spLocks/>
            </p:cNvSpPr>
            <p:nvPr/>
          </p:nvSpPr>
          <p:spPr bwMode="auto">
            <a:xfrm>
              <a:off x="413228" y="4280808"/>
              <a:ext cx="512927" cy="579749"/>
            </a:xfrm>
            <a:custGeom>
              <a:avLst/>
              <a:gdLst>
                <a:gd name="T0" fmla="*/ 104 w 394"/>
                <a:gd name="T1" fmla="*/ 28 h 445"/>
                <a:gd name="T2" fmla="*/ 108 w 394"/>
                <a:gd name="T3" fmla="*/ 1 h 445"/>
                <a:gd name="T4" fmla="*/ 125 w 394"/>
                <a:gd name="T5" fmla="*/ 22 h 445"/>
                <a:gd name="T6" fmla="*/ 132 w 394"/>
                <a:gd name="T7" fmla="*/ 48 h 445"/>
                <a:gd name="T8" fmla="*/ 152 w 394"/>
                <a:gd name="T9" fmla="*/ 53 h 445"/>
                <a:gd name="T10" fmla="*/ 180 w 394"/>
                <a:gd name="T11" fmla="*/ 63 h 445"/>
                <a:gd name="T12" fmla="*/ 198 w 394"/>
                <a:gd name="T13" fmla="*/ 54 h 445"/>
                <a:gd name="T14" fmla="*/ 205 w 394"/>
                <a:gd name="T15" fmla="*/ 53 h 445"/>
                <a:gd name="T16" fmla="*/ 234 w 394"/>
                <a:gd name="T17" fmla="*/ 66 h 445"/>
                <a:gd name="T18" fmla="*/ 244 w 394"/>
                <a:gd name="T19" fmla="*/ 74 h 445"/>
                <a:gd name="T20" fmla="*/ 254 w 394"/>
                <a:gd name="T21" fmla="*/ 73 h 445"/>
                <a:gd name="T22" fmla="*/ 268 w 394"/>
                <a:gd name="T23" fmla="*/ 78 h 445"/>
                <a:gd name="T24" fmla="*/ 292 w 394"/>
                <a:gd name="T25" fmla="*/ 92 h 445"/>
                <a:gd name="T26" fmla="*/ 313 w 394"/>
                <a:gd name="T27" fmla="*/ 83 h 445"/>
                <a:gd name="T28" fmla="*/ 327 w 394"/>
                <a:gd name="T29" fmla="*/ 79 h 445"/>
                <a:gd name="T30" fmla="*/ 336 w 394"/>
                <a:gd name="T31" fmla="*/ 86 h 445"/>
                <a:gd name="T32" fmla="*/ 356 w 394"/>
                <a:gd name="T33" fmla="*/ 83 h 445"/>
                <a:gd name="T34" fmla="*/ 371 w 394"/>
                <a:gd name="T35" fmla="*/ 89 h 445"/>
                <a:gd name="T36" fmla="*/ 394 w 394"/>
                <a:gd name="T37" fmla="*/ 89 h 445"/>
                <a:gd name="T38" fmla="*/ 379 w 394"/>
                <a:gd name="T39" fmla="*/ 100 h 445"/>
                <a:gd name="T40" fmla="*/ 348 w 394"/>
                <a:gd name="T41" fmla="*/ 113 h 445"/>
                <a:gd name="T42" fmla="*/ 311 w 394"/>
                <a:gd name="T43" fmla="*/ 149 h 445"/>
                <a:gd name="T44" fmla="*/ 289 w 394"/>
                <a:gd name="T45" fmla="*/ 171 h 445"/>
                <a:gd name="T46" fmla="*/ 268 w 394"/>
                <a:gd name="T47" fmla="*/ 190 h 445"/>
                <a:gd name="T48" fmla="*/ 263 w 394"/>
                <a:gd name="T49" fmla="*/ 199 h 445"/>
                <a:gd name="T50" fmla="*/ 260 w 394"/>
                <a:gd name="T51" fmla="*/ 243 h 445"/>
                <a:gd name="T52" fmla="*/ 238 w 394"/>
                <a:gd name="T53" fmla="*/ 259 h 445"/>
                <a:gd name="T54" fmla="*/ 230 w 394"/>
                <a:gd name="T55" fmla="*/ 273 h 445"/>
                <a:gd name="T56" fmla="*/ 239 w 394"/>
                <a:gd name="T57" fmla="*/ 284 h 445"/>
                <a:gd name="T58" fmla="*/ 240 w 394"/>
                <a:gd name="T59" fmla="*/ 316 h 445"/>
                <a:gd name="T60" fmla="*/ 240 w 394"/>
                <a:gd name="T61" fmla="*/ 340 h 445"/>
                <a:gd name="T62" fmla="*/ 250 w 394"/>
                <a:gd name="T63" fmla="*/ 355 h 445"/>
                <a:gd name="T64" fmla="*/ 267 w 394"/>
                <a:gd name="T65" fmla="*/ 365 h 445"/>
                <a:gd name="T66" fmla="*/ 286 w 394"/>
                <a:gd name="T67" fmla="*/ 374 h 445"/>
                <a:gd name="T68" fmla="*/ 307 w 394"/>
                <a:gd name="T69" fmla="*/ 395 h 445"/>
                <a:gd name="T70" fmla="*/ 321 w 394"/>
                <a:gd name="T71" fmla="*/ 405 h 445"/>
                <a:gd name="T72" fmla="*/ 328 w 394"/>
                <a:gd name="T73" fmla="*/ 429 h 445"/>
                <a:gd name="T74" fmla="*/ 272 w 394"/>
                <a:gd name="T75" fmla="*/ 439 h 445"/>
                <a:gd name="T76" fmla="*/ 43 w 394"/>
                <a:gd name="T77" fmla="*/ 445 h 445"/>
                <a:gd name="T78" fmla="*/ 33 w 394"/>
                <a:gd name="T79" fmla="*/ 301 h 445"/>
                <a:gd name="T80" fmla="*/ 19 w 394"/>
                <a:gd name="T81" fmla="*/ 286 h 445"/>
                <a:gd name="T82" fmla="*/ 30 w 394"/>
                <a:gd name="T83" fmla="*/ 274 h 445"/>
                <a:gd name="T84" fmla="*/ 35 w 394"/>
                <a:gd name="T85" fmla="*/ 254 h 445"/>
                <a:gd name="T86" fmla="*/ 34 w 394"/>
                <a:gd name="T87" fmla="*/ 235 h 445"/>
                <a:gd name="T88" fmla="*/ 25 w 394"/>
                <a:gd name="T89" fmla="*/ 218 h 445"/>
                <a:gd name="T90" fmla="*/ 23 w 394"/>
                <a:gd name="T91" fmla="*/ 190 h 445"/>
                <a:gd name="T92" fmla="*/ 21 w 394"/>
                <a:gd name="T93" fmla="*/ 173 h 445"/>
                <a:gd name="T94" fmla="*/ 19 w 394"/>
                <a:gd name="T95" fmla="*/ 147 h 445"/>
                <a:gd name="T96" fmla="*/ 18 w 394"/>
                <a:gd name="T97" fmla="*/ 127 h 445"/>
                <a:gd name="T98" fmla="*/ 6 w 394"/>
                <a:gd name="T99" fmla="*/ 95 h 445"/>
                <a:gd name="T100" fmla="*/ 5 w 394"/>
                <a:gd name="T101" fmla="*/ 77 h 445"/>
                <a:gd name="T102" fmla="*/ 8 w 394"/>
                <a:gd name="T103" fmla="*/ 54 h 445"/>
                <a:gd name="T104" fmla="*/ 0 w 394"/>
                <a:gd name="T105" fmla="*/ 32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94" h="445">
                  <a:moveTo>
                    <a:pt x="1" y="29"/>
                  </a:moveTo>
                  <a:lnTo>
                    <a:pt x="67" y="29"/>
                  </a:lnTo>
                  <a:lnTo>
                    <a:pt x="104" y="28"/>
                  </a:lnTo>
                  <a:lnTo>
                    <a:pt x="106" y="23"/>
                  </a:lnTo>
                  <a:lnTo>
                    <a:pt x="104" y="0"/>
                  </a:lnTo>
                  <a:lnTo>
                    <a:pt x="108" y="1"/>
                  </a:lnTo>
                  <a:lnTo>
                    <a:pt x="118" y="3"/>
                  </a:lnTo>
                  <a:lnTo>
                    <a:pt x="122" y="6"/>
                  </a:lnTo>
                  <a:lnTo>
                    <a:pt x="125" y="22"/>
                  </a:lnTo>
                  <a:lnTo>
                    <a:pt x="128" y="35"/>
                  </a:lnTo>
                  <a:lnTo>
                    <a:pt x="128" y="43"/>
                  </a:lnTo>
                  <a:lnTo>
                    <a:pt x="132" y="48"/>
                  </a:lnTo>
                  <a:lnTo>
                    <a:pt x="137" y="49"/>
                  </a:lnTo>
                  <a:lnTo>
                    <a:pt x="147" y="49"/>
                  </a:lnTo>
                  <a:lnTo>
                    <a:pt x="152" y="53"/>
                  </a:lnTo>
                  <a:lnTo>
                    <a:pt x="172" y="56"/>
                  </a:lnTo>
                  <a:lnTo>
                    <a:pt x="175" y="59"/>
                  </a:lnTo>
                  <a:lnTo>
                    <a:pt x="180" y="63"/>
                  </a:lnTo>
                  <a:lnTo>
                    <a:pt x="191" y="59"/>
                  </a:lnTo>
                  <a:lnTo>
                    <a:pt x="195" y="56"/>
                  </a:lnTo>
                  <a:lnTo>
                    <a:pt x="198" y="54"/>
                  </a:lnTo>
                  <a:lnTo>
                    <a:pt x="199" y="54"/>
                  </a:lnTo>
                  <a:lnTo>
                    <a:pt x="200" y="53"/>
                  </a:lnTo>
                  <a:lnTo>
                    <a:pt x="205" y="53"/>
                  </a:lnTo>
                  <a:lnTo>
                    <a:pt x="216" y="53"/>
                  </a:lnTo>
                  <a:lnTo>
                    <a:pt x="235" y="61"/>
                  </a:lnTo>
                  <a:lnTo>
                    <a:pt x="234" y="66"/>
                  </a:lnTo>
                  <a:lnTo>
                    <a:pt x="239" y="66"/>
                  </a:lnTo>
                  <a:lnTo>
                    <a:pt x="244" y="69"/>
                  </a:lnTo>
                  <a:lnTo>
                    <a:pt x="244" y="74"/>
                  </a:lnTo>
                  <a:lnTo>
                    <a:pt x="248" y="78"/>
                  </a:lnTo>
                  <a:lnTo>
                    <a:pt x="253" y="79"/>
                  </a:lnTo>
                  <a:lnTo>
                    <a:pt x="254" y="73"/>
                  </a:lnTo>
                  <a:lnTo>
                    <a:pt x="262" y="72"/>
                  </a:lnTo>
                  <a:lnTo>
                    <a:pt x="267" y="73"/>
                  </a:lnTo>
                  <a:lnTo>
                    <a:pt x="268" y="78"/>
                  </a:lnTo>
                  <a:lnTo>
                    <a:pt x="283" y="83"/>
                  </a:lnTo>
                  <a:lnTo>
                    <a:pt x="283" y="87"/>
                  </a:lnTo>
                  <a:lnTo>
                    <a:pt x="292" y="92"/>
                  </a:lnTo>
                  <a:lnTo>
                    <a:pt x="298" y="93"/>
                  </a:lnTo>
                  <a:lnTo>
                    <a:pt x="308" y="88"/>
                  </a:lnTo>
                  <a:lnTo>
                    <a:pt x="313" y="83"/>
                  </a:lnTo>
                  <a:lnTo>
                    <a:pt x="323" y="77"/>
                  </a:lnTo>
                  <a:lnTo>
                    <a:pt x="328" y="77"/>
                  </a:lnTo>
                  <a:lnTo>
                    <a:pt x="327" y="79"/>
                  </a:lnTo>
                  <a:lnTo>
                    <a:pt x="331" y="82"/>
                  </a:lnTo>
                  <a:lnTo>
                    <a:pt x="332" y="86"/>
                  </a:lnTo>
                  <a:lnTo>
                    <a:pt x="336" y="86"/>
                  </a:lnTo>
                  <a:lnTo>
                    <a:pt x="342" y="84"/>
                  </a:lnTo>
                  <a:lnTo>
                    <a:pt x="351" y="86"/>
                  </a:lnTo>
                  <a:lnTo>
                    <a:pt x="356" y="83"/>
                  </a:lnTo>
                  <a:lnTo>
                    <a:pt x="366" y="83"/>
                  </a:lnTo>
                  <a:lnTo>
                    <a:pt x="371" y="87"/>
                  </a:lnTo>
                  <a:lnTo>
                    <a:pt x="371" y="89"/>
                  </a:lnTo>
                  <a:lnTo>
                    <a:pt x="376" y="91"/>
                  </a:lnTo>
                  <a:lnTo>
                    <a:pt x="381" y="89"/>
                  </a:lnTo>
                  <a:lnTo>
                    <a:pt x="394" y="89"/>
                  </a:lnTo>
                  <a:lnTo>
                    <a:pt x="389" y="92"/>
                  </a:lnTo>
                  <a:lnTo>
                    <a:pt x="384" y="97"/>
                  </a:lnTo>
                  <a:lnTo>
                    <a:pt x="379" y="100"/>
                  </a:lnTo>
                  <a:lnTo>
                    <a:pt x="364" y="108"/>
                  </a:lnTo>
                  <a:lnTo>
                    <a:pt x="359" y="110"/>
                  </a:lnTo>
                  <a:lnTo>
                    <a:pt x="348" y="113"/>
                  </a:lnTo>
                  <a:lnTo>
                    <a:pt x="333" y="122"/>
                  </a:lnTo>
                  <a:lnTo>
                    <a:pt x="316" y="141"/>
                  </a:lnTo>
                  <a:lnTo>
                    <a:pt x="311" y="149"/>
                  </a:lnTo>
                  <a:lnTo>
                    <a:pt x="298" y="162"/>
                  </a:lnTo>
                  <a:lnTo>
                    <a:pt x="292" y="167"/>
                  </a:lnTo>
                  <a:lnTo>
                    <a:pt x="289" y="171"/>
                  </a:lnTo>
                  <a:lnTo>
                    <a:pt x="284" y="175"/>
                  </a:lnTo>
                  <a:lnTo>
                    <a:pt x="270" y="186"/>
                  </a:lnTo>
                  <a:lnTo>
                    <a:pt x="268" y="190"/>
                  </a:lnTo>
                  <a:lnTo>
                    <a:pt x="267" y="193"/>
                  </a:lnTo>
                  <a:lnTo>
                    <a:pt x="265" y="194"/>
                  </a:lnTo>
                  <a:lnTo>
                    <a:pt x="263" y="199"/>
                  </a:lnTo>
                  <a:lnTo>
                    <a:pt x="259" y="199"/>
                  </a:lnTo>
                  <a:lnTo>
                    <a:pt x="260" y="238"/>
                  </a:lnTo>
                  <a:lnTo>
                    <a:pt x="260" y="243"/>
                  </a:lnTo>
                  <a:lnTo>
                    <a:pt x="258" y="248"/>
                  </a:lnTo>
                  <a:lnTo>
                    <a:pt x="248" y="253"/>
                  </a:lnTo>
                  <a:lnTo>
                    <a:pt x="238" y="259"/>
                  </a:lnTo>
                  <a:lnTo>
                    <a:pt x="237" y="264"/>
                  </a:lnTo>
                  <a:lnTo>
                    <a:pt x="234" y="269"/>
                  </a:lnTo>
                  <a:lnTo>
                    <a:pt x="230" y="273"/>
                  </a:lnTo>
                  <a:lnTo>
                    <a:pt x="230" y="278"/>
                  </a:lnTo>
                  <a:lnTo>
                    <a:pt x="234" y="283"/>
                  </a:lnTo>
                  <a:lnTo>
                    <a:pt x="239" y="284"/>
                  </a:lnTo>
                  <a:lnTo>
                    <a:pt x="244" y="295"/>
                  </a:lnTo>
                  <a:lnTo>
                    <a:pt x="239" y="307"/>
                  </a:lnTo>
                  <a:lnTo>
                    <a:pt x="240" y="316"/>
                  </a:lnTo>
                  <a:lnTo>
                    <a:pt x="238" y="321"/>
                  </a:lnTo>
                  <a:lnTo>
                    <a:pt x="240" y="331"/>
                  </a:lnTo>
                  <a:lnTo>
                    <a:pt x="240" y="340"/>
                  </a:lnTo>
                  <a:lnTo>
                    <a:pt x="238" y="345"/>
                  </a:lnTo>
                  <a:lnTo>
                    <a:pt x="245" y="351"/>
                  </a:lnTo>
                  <a:lnTo>
                    <a:pt x="250" y="355"/>
                  </a:lnTo>
                  <a:lnTo>
                    <a:pt x="255" y="357"/>
                  </a:lnTo>
                  <a:lnTo>
                    <a:pt x="264" y="359"/>
                  </a:lnTo>
                  <a:lnTo>
                    <a:pt x="267" y="365"/>
                  </a:lnTo>
                  <a:lnTo>
                    <a:pt x="272" y="367"/>
                  </a:lnTo>
                  <a:lnTo>
                    <a:pt x="278" y="370"/>
                  </a:lnTo>
                  <a:lnTo>
                    <a:pt x="286" y="374"/>
                  </a:lnTo>
                  <a:lnTo>
                    <a:pt x="292" y="385"/>
                  </a:lnTo>
                  <a:lnTo>
                    <a:pt x="302" y="393"/>
                  </a:lnTo>
                  <a:lnTo>
                    <a:pt x="307" y="395"/>
                  </a:lnTo>
                  <a:lnTo>
                    <a:pt x="311" y="396"/>
                  </a:lnTo>
                  <a:lnTo>
                    <a:pt x="316" y="400"/>
                  </a:lnTo>
                  <a:lnTo>
                    <a:pt x="321" y="405"/>
                  </a:lnTo>
                  <a:lnTo>
                    <a:pt x="325" y="410"/>
                  </a:lnTo>
                  <a:lnTo>
                    <a:pt x="327" y="424"/>
                  </a:lnTo>
                  <a:lnTo>
                    <a:pt x="328" y="429"/>
                  </a:lnTo>
                  <a:lnTo>
                    <a:pt x="327" y="430"/>
                  </a:lnTo>
                  <a:lnTo>
                    <a:pt x="330" y="437"/>
                  </a:lnTo>
                  <a:lnTo>
                    <a:pt x="272" y="439"/>
                  </a:lnTo>
                  <a:lnTo>
                    <a:pt x="194" y="443"/>
                  </a:lnTo>
                  <a:lnTo>
                    <a:pt x="99" y="445"/>
                  </a:lnTo>
                  <a:lnTo>
                    <a:pt x="43" y="445"/>
                  </a:lnTo>
                  <a:lnTo>
                    <a:pt x="42" y="308"/>
                  </a:lnTo>
                  <a:lnTo>
                    <a:pt x="38" y="303"/>
                  </a:lnTo>
                  <a:lnTo>
                    <a:pt x="33" y="301"/>
                  </a:lnTo>
                  <a:lnTo>
                    <a:pt x="29" y="301"/>
                  </a:lnTo>
                  <a:lnTo>
                    <a:pt x="23" y="291"/>
                  </a:lnTo>
                  <a:lnTo>
                    <a:pt x="19" y="286"/>
                  </a:lnTo>
                  <a:lnTo>
                    <a:pt x="20" y="282"/>
                  </a:lnTo>
                  <a:lnTo>
                    <a:pt x="25" y="278"/>
                  </a:lnTo>
                  <a:lnTo>
                    <a:pt x="30" y="274"/>
                  </a:lnTo>
                  <a:lnTo>
                    <a:pt x="33" y="269"/>
                  </a:lnTo>
                  <a:lnTo>
                    <a:pt x="35" y="259"/>
                  </a:lnTo>
                  <a:lnTo>
                    <a:pt x="35" y="254"/>
                  </a:lnTo>
                  <a:lnTo>
                    <a:pt x="35" y="250"/>
                  </a:lnTo>
                  <a:lnTo>
                    <a:pt x="34" y="240"/>
                  </a:lnTo>
                  <a:lnTo>
                    <a:pt x="34" y="235"/>
                  </a:lnTo>
                  <a:lnTo>
                    <a:pt x="33" y="230"/>
                  </a:lnTo>
                  <a:lnTo>
                    <a:pt x="28" y="223"/>
                  </a:lnTo>
                  <a:lnTo>
                    <a:pt x="25" y="218"/>
                  </a:lnTo>
                  <a:lnTo>
                    <a:pt x="26" y="213"/>
                  </a:lnTo>
                  <a:lnTo>
                    <a:pt x="24" y="208"/>
                  </a:lnTo>
                  <a:lnTo>
                    <a:pt x="23" y="190"/>
                  </a:lnTo>
                  <a:lnTo>
                    <a:pt x="24" y="185"/>
                  </a:lnTo>
                  <a:lnTo>
                    <a:pt x="21" y="180"/>
                  </a:lnTo>
                  <a:lnTo>
                    <a:pt x="21" y="173"/>
                  </a:lnTo>
                  <a:lnTo>
                    <a:pt x="20" y="162"/>
                  </a:lnTo>
                  <a:lnTo>
                    <a:pt x="20" y="152"/>
                  </a:lnTo>
                  <a:lnTo>
                    <a:pt x="19" y="147"/>
                  </a:lnTo>
                  <a:lnTo>
                    <a:pt x="20" y="144"/>
                  </a:lnTo>
                  <a:lnTo>
                    <a:pt x="20" y="139"/>
                  </a:lnTo>
                  <a:lnTo>
                    <a:pt x="18" y="127"/>
                  </a:lnTo>
                  <a:lnTo>
                    <a:pt x="11" y="113"/>
                  </a:lnTo>
                  <a:lnTo>
                    <a:pt x="11" y="111"/>
                  </a:lnTo>
                  <a:lnTo>
                    <a:pt x="6" y="95"/>
                  </a:lnTo>
                  <a:lnTo>
                    <a:pt x="5" y="89"/>
                  </a:lnTo>
                  <a:lnTo>
                    <a:pt x="6" y="79"/>
                  </a:lnTo>
                  <a:lnTo>
                    <a:pt x="5" y="77"/>
                  </a:lnTo>
                  <a:lnTo>
                    <a:pt x="6" y="73"/>
                  </a:lnTo>
                  <a:lnTo>
                    <a:pt x="4" y="63"/>
                  </a:lnTo>
                  <a:lnTo>
                    <a:pt x="8" y="54"/>
                  </a:lnTo>
                  <a:lnTo>
                    <a:pt x="5" y="49"/>
                  </a:lnTo>
                  <a:lnTo>
                    <a:pt x="3" y="35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29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/>
            <a:lstStyle>
              <a:defPPr>
                <a:defRPr lang="fr-FR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5" name="TextBox 224"/>
            <p:cNvSpPr txBox="1"/>
            <p:nvPr/>
          </p:nvSpPr>
          <p:spPr>
            <a:xfrm>
              <a:off x="174139" y="4817015"/>
              <a:ext cx="1281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/>
                <a:t>Minnesota</a:t>
              </a:r>
              <a:endParaRPr lang="en-US" sz="1200" b="1" dirty="0"/>
            </a:p>
          </p:txBody>
        </p:sp>
        <p:sp>
          <p:nvSpPr>
            <p:cNvPr id="216" name="Freeform 215"/>
            <p:cNvSpPr>
              <a:spLocks/>
            </p:cNvSpPr>
            <p:nvPr/>
          </p:nvSpPr>
          <p:spPr bwMode="auto">
            <a:xfrm rot="20806916">
              <a:off x="313541" y="5111555"/>
              <a:ext cx="538133" cy="447238"/>
            </a:xfrm>
            <a:custGeom>
              <a:avLst/>
              <a:gdLst>
                <a:gd name="T0" fmla="*/ 0 w 483"/>
                <a:gd name="T1" fmla="*/ 275 h 401"/>
                <a:gd name="T2" fmla="*/ 8 w 483"/>
                <a:gd name="T3" fmla="*/ 259 h 401"/>
                <a:gd name="T4" fmla="*/ 7 w 483"/>
                <a:gd name="T5" fmla="*/ 235 h 401"/>
                <a:gd name="T6" fmla="*/ 28 w 483"/>
                <a:gd name="T7" fmla="*/ 207 h 401"/>
                <a:gd name="T8" fmla="*/ 34 w 483"/>
                <a:gd name="T9" fmla="*/ 200 h 401"/>
                <a:gd name="T10" fmla="*/ 34 w 483"/>
                <a:gd name="T11" fmla="*/ 200 h 401"/>
                <a:gd name="T12" fmla="*/ 32 w 483"/>
                <a:gd name="T13" fmla="*/ 198 h 401"/>
                <a:gd name="T14" fmla="*/ 44 w 483"/>
                <a:gd name="T15" fmla="*/ 180 h 401"/>
                <a:gd name="T16" fmla="*/ 43 w 483"/>
                <a:gd name="T17" fmla="*/ 180 h 401"/>
                <a:gd name="T18" fmla="*/ 57 w 483"/>
                <a:gd name="T19" fmla="*/ 144 h 401"/>
                <a:gd name="T20" fmla="*/ 67 w 483"/>
                <a:gd name="T21" fmla="*/ 128 h 401"/>
                <a:gd name="T22" fmla="*/ 71 w 483"/>
                <a:gd name="T23" fmla="*/ 112 h 401"/>
                <a:gd name="T24" fmla="*/ 81 w 483"/>
                <a:gd name="T25" fmla="*/ 83 h 401"/>
                <a:gd name="T26" fmla="*/ 90 w 483"/>
                <a:gd name="T27" fmla="*/ 65 h 401"/>
                <a:gd name="T28" fmla="*/ 92 w 483"/>
                <a:gd name="T29" fmla="*/ 51 h 401"/>
                <a:gd name="T30" fmla="*/ 96 w 483"/>
                <a:gd name="T31" fmla="*/ 42 h 401"/>
                <a:gd name="T32" fmla="*/ 98 w 483"/>
                <a:gd name="T33" fmla="*/ 30 h 401"/>
                <a:gd name="T34" fmla="*/ 101 w 483"/>
                <a:gd name="T35" fmla="*/ 20 h 401"/>
                <a:gd name="T36" fmla="*/ 108 w 483"/>
                <a:gd name="T37" fmla="*/ 0 h 401"/>
                <a:gd name="T38" fmla="*/ 116 w 483"/>
                <a:gd name="T39" fmla="*/ 6 h 401"/>
                <a:gd name="T40" fmla="*/ 119 w 483"/>
                <a:gd name="T41" fmla="*/ 2 h 401"/>
                <a:gd name="T42" fmla="*/ 129 w 483"/>
                <a:gd name="T43" fmla="*/ 3 h 401"/>
                <a:gd name="T44" fmla="*/ 137 w 483"/>
                <a:gd name="T45" fmla="*/ 12 h 401"/>
                <a:gd name="T46" fmla="*/ 151 w 483"/>
                <a:gd name="T47" fmla="*/ 14 h 401"/>
                <a:gd name="T48" fmla="*/ 161 w 483"/>
                <a:gd name="T49" fmla="*/ 32 h 401"/>
                <a:gd name="T50" fmla="*/ 168 w 483"/>
                <a:gd name="T51" fmla="*/ 64 h 401"/>
                <a:gd name="T52" fmla="*/ 180 w 483"/>
                <a:gd name="T53" fmla="*/ 70 h 401"/>
                <a:gd name="T54" fmla="*/ 199 w 483"/>
                <a:gd name="T55" fmla="*/ 69 h 401"/>
                <a:gd name="T56" fmla="*/ 214 w 483"/>
                <a:gd name="T57" fmla="*/ 68 h 401"/>
                <a:gd name="T58" fmla="*/ 232 w 483"/>
                <a:gd name="T59" fmla="*/ 73 h 401"/>
                <a:gd name="T60" fmla="*/ 248 w 483"/>
                <a:gd name="T61" fmla="*/ 80 h 401"/>
                <a:gd name="T62" fmla="*/ 273 w 483"/>
                <a:gd name="T63" fmla="*/ 80 h 401"/>
                <a:gd name="T64" fmla="*/ 287 w 483"/>
                <a:gd name="T65" fmla="*/ 85 h 401"/>
                <a:gd name="T66" fmla="*/ 322 w 483"/>
                <a:gd name="T67" fmla="*/ 81 h 401"/>
                <a:gd name="T68" fmla="*/ 342 w 483"/>
                <a:gd name="T69" fmla="*/ 81 h 401"/>
                <a:gd name="T70" fmla="*/ 358 w 483"/>
                <a:gd name="T71" fmla="*/ 80 h 401"/>
                <a:gd name="T72" fmla="*/ 467 w 483"/>
                <a:gd name="T73" fmla="*/ 112 h 401"/>
                <a:gd name="T74" fmla="*/ 481 w 483"/>
                <a:gd name="T75" fmla="*/ 128 h 401"/>
                <a:gd name="T76" fmla="*/ 469 w 483"/>
                <a:gd name="T77" fmla="*/ 156 h 401"/>
                <a:gd name="T78" fmla="*/ 452 w 483"/>
                <a:gd name="T79" fmla="*/ 183 h 401"/>
                <a:gd name="T80" fmla="*/ 438 w 483"/>
                <a:gd name="T81" fmla="*/ 198 h 401"/>
                <a:gd name="T82" fmla="*/ 423 w 483"/>
                <a:gd name="T83" fmla="*/ 227 h 401"/>
                <a:gd name="T84" fmla="*/ 434 w 483"/>
                <a:gd name="T85" fmla="*/ 235 h 401"/>
                <a:gd name="T86" fmla="*/ 433 w 483"/>
                <a:gd name="T87" fmla="*/ 251 h 401"/>
                <a:gd name="T88" fmla="*/ 424 w 483"/>
                <a:gd name="T89" fmla="*/ 266 h 401"/>
                <a:gd name="T90" fmla="*/ 233 w 483"/>
                <a:gd name="T91" fmla="*/ 364 h 401"/>
                <a:gd name="T92" fmla="*/ 7 w 483"/>
                <a:gd name="T93" fmla="*/ 304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3" h="401">
                  <a:moveTo>
                    <a:pt x="7" y="304"/>
                  </a:moveTo>
                  <a:lnTo>
                    <a:pt x="2" y="294"/>
                  </a:lnTo>
                  <a:lnTo>
                    <a:pt x="0" y="275"/>
                  </a:lnTo>
                  <a:lnTo>
                    <a:pt x="3" y="269"/>
                  </a:lnTo>
                  <a:lnTo>
                    <a:pt x="4" y="264"/>
                  </a:lnTo>
                  <a:lnTo>
                    <a:pt x="8" y="259"/>
                  </a:lnTo>
                  <a:lnTo>
                    <a:pt x="9" y="254"/>
                  </a:lnTo>
                  <a:lnTo>
                    <a:pt x="7" y="244"/>
                  </a:lnTo>
                  <a:lnTo>
                    <a:pt x="7" y="235"/>
                  </a:lnTo>
                  <a:lnTo>
                    <a:pt x="17" y="222"/>
                  </a:lnTo>
                  <a:lnTo>
                    <a:pt x="25" y="202"/>
                  </a:lnTo>
                  <a:lnTo>
                    <a:pt x="28" y="207"/>
                  </a:lnTo>
                  <a:lnTo>
                    <a:pt x="29" y="202"/>
                  </a:lnTo>
                  <a:lnTo>
                    <a:pt x="34" y="200"/>
                  </a:lnTo>
                  <a:lnTo>
                    <a:pt x="34" y="200"/>
                  </a:lnTo>
                  <a:lnTo>
                    <a:pt x="35" y="203"/>
                  </a:lnTo>
                  <a:lnTo>
                    <a:pt x="37" y="200"/>
                  </a:lnTo>
                  <a:lnTo>
                    <a:pt x="34" y="200"/>
                  </a:lnTo>
                  <a:lnTo>
                    <a:pt x="34" y="198"/>
                  </a:lnTo>
                  <a:lnTo>
                    <a:pt x="34" y="200"/>
                  </a:lnTo>
                  <a:lnTo>
                    <a:pt x="32" y="198"/>
                  </a:lnTo>
                  <a:lnTo>
                    <a:pt x="34" y="193"/>
                  </a:lnTo>
                  <a:lnTo>
                    <a:pt x="39" y="185"/>
                  </a:lnTo>
                  <a:lnTo>
                    <a:pt x="44" y="180"/>
                  </a:lnTo>
                  <a:lnTo>
                    <a:pt x="49" y="180"/>
                  </a:lnTo>
                  <a:lnTo>
                    <a:pt x="48" y="177"/>
                  </a:lnTo>
                  <a:lnTo>
                    <a:pt x="43" y="180"/>
                  </a:lnTo>
                  <a:lnTo>
                    <a:pt x="44" y="175"/>
                  </a:lnTo>
                  <a:lnTo>
                    <a:pt x="48" y="169"/>
                  </a:lnTo>
                  <a:lnTo>
                    <a:pt x="57" y="144"/>
                  </a:lnTo>
                  <a:lnTo>
                    <a:pt x="61" y="136"/>
                  </a:lnTo>
                  <a:lnTo>
                    <a:pt x="63" y="131"/>
                  </a:lnTo>
                  <a:lnTo>
                    <a:pt x="67" y="128"/>
                  </a:lnTo>
                  <a:lnTo>
                    <a:pt x="67" y="125"/>
                  </a:lnTo>
                  <a:lnTo>
                    <a:pt x="66" y="120"/>
                  </a:lnTo>
                  <a:lnTo>
                    <a:pt x="71" y="112"/>
                  </a:lnTo>
                  <a:lnTo>
                    <a:pt x="72" y="102"/>
                  </a:lnTo>
                  <a:lnTo>
                    <a:pt x="80" y="88"/>
                  </a:lnTo>
                  <a:lnTo>
                    <a:pt x="81" y="83"/>
                  </a:lnTo>
                  <a:lnTo>
                    <a:pt x="86" y="75"/>
                  </a:lnTo>
                  <a:lnTo>
                    <a:pt x="87" y="70"/>
                  </a:lnTo>
                  <a:lnTo>
                    <a:pt x="90" y="65"/>
                  </a:lnTo>
                  <a:lnTo>
                    <a:pt x="90" y="60"/>
                  </a:lnTo>
                  <a:lnTo>
                    <a:pt x="92" y="55"/>
                  </a:lnTo>
                  <a:lnTo>
                    <a:pt x="92" y="51"/>
                  </a:lnTo>
                  <a:lnTo>
                    <a:pt x="97" y="53"/>
                  </a:lnTo>
                  <a:lnTo>
                    <a:pt x="95" y="47"/>
                  </a:lnTo>
                  <a:lnTo>
                    <a:pt x="96" y="42"/>
                  </a:lnTo>
                  <a:lnTo>
                    <a:pt x="101" y="37"/>
                  </a:lnTo>
                  <a:lnTo>
                    <a:pt x="98" y="35"/>
                  </a:lnTo>
                  <a:lnTo>
                    <a:pt x="98" y="30"/>
                  </a:lnTo>
                  <a:lnTo>
                    <a:pt x="101" y="25"/>
                  </a:lnTo>
                  <a:lnTo>
                    <a:pt x="102" y="20"/>
                  </a:lnTo>
                  <a:lnTo>
                    <a:pt x="101" y="20"/>
                  </a:lnTo>
                  <a:lnTo>
                    <a:pt x="105" y="15"/>
                  </a:lnTo>
                  <a:lnTo>
                    <a:pt x="107" y="5"/>
                  </a:lnTo>
                  <a:lnTo>
                    <a:pt x="108" y="0"/>
                  </a:lnTo>
                  <a:lnTo>
                    <a:pt x="113" y="3"/>
                  </a:lnTo>
                  <a:lnTo>
                    <a:pt x="115" y="5"/>
                  </a:lnTo>
                  <a:lnTo>
                    <a:pt x="116" y="6"/>
                  </a:lnTo>
                  <a:lnTo>
                    <a:pt x="113" y="3"/>
                  </a:lnTo>
                  <a:lnTo>
                    <a:pt x="115" y="1"/>
                  </a:lnTo>
                  <a:lnTo>
                    <a:pt x="119" y="2"/>
                  </a:lnTo>
                  <a:lnTo>
                    <a:pt x="120" y="5"/>
                  </a:lnTo>
                  <a:lnTo>
                    <a:pt x="124" y="5"/>
                  </a:lnTo>
                  <a:lnTo>
                    <a:pt x="129" y="3"/>
                  </a:lnTo>
                  <a:lnTo>
                    <a:pt x="134" y="7"/>
                  </a:lnTo>
                  <a:lnTo>
                    <a:pt x="136" y="11"/>
                  </a:lnTo>
                  <a:lnTo>
                    <a:pt x="137" y="12"/>
                  </a:lnTo>
                  <a:lnTo>
                    <a:pt x="142" y="14"/>
                  </a:lnTo>
                  <a:lnTo>
                    <a:pt x="147" y="12"/>
                  </a:lnTo>
                  <a:lnTo>
                    <a:pt x="151" y="14"/>
                  </a:lnTo>
                  <a:lnTo>
                    <a:pt x="154" y="17"/>
                  </a:lnTo>
                  <a:lnTo>
                    <a:pt x="159" y="22"/>
                  </a:lnTo>
                  <a:lnTo>
                    <a:pt x="161" y="32"/>
                  </a:lnTo>
                  <a:lnTo>
                    <a:pt x="159" y="58"/>
                  </a:lnTo>
                  <a:lnTo>
                    <a:pt x="160" y="60"/>
                  </a:lnTo>
                  <a:lnTo>
                    <a:pt x="168" y="64"/>
                  </a:lnTo>
                  <a:lnTo>
                    <a:pt x="173" y="66"/>
                  </a:lnTo>
                  <a:lnTo>
                    <a:pt x="175" y="68"/>
                  </a:lnTo>
                  <a:lnTo>
                    <a:pt x="180" y="70"/>
                  </a:lnTo>
                  <a:lnTo>
                    <a:pt x="185" y="71"/>
                  </a:lnTo>
                  <a:lnTo>
                    <a:pt x="195" y="70"/>
                  </a:lnTo>
                  <a:lnTo>
                    <a:pt x="199" y="69"/>
                  </a:lnTo>
                  <a:lnTo>
                    <a:pt x="204" y="66"/>
                  </a:lnTo>
                  <a:lnTo>
                    <a:pt x="209" y="66"/>
                  </a:lnTo>
                  <a:lnTo>
                    <a:pt x="214" y="68"/>
                  </a:lnTo>
                  <a:lnTo>
                    <a:pt x="223" y="69"/>
                  </a:lnTo>
                  <a:lnTo>
                    <a:pt x="228" y="71"/>
                  </a:lnTo>
                  <a:lnTo>
                    <a:pt x="232" y="73"/>
                  </a:lnTo>
                  <a:lnTo>
                    <a:pt x="238" y="76"/>
                  </a:lnTo>
                  <a:lnTo>
                    <a:pt x="238" y="80"/>
                  </a:lnTo>
                  <a:lnTo>
                    <a:pt x="248" y="80"/>
                  </a:lnTo>
                  <a:lnTo>
                    <a:pt x="253" y="81"/>
                  </a:lnTo>
                  <a:lnTo>
                    <a:pt x="268" y="79"/>
                  </a:lnTo>
                  <a:lnTo>
                    <a:pt x="273" y="80"/>
                  </a:lnTo>
                  <a:lnTo>
                    <a:pt x="278" y="84"/>
                  </a:lnTo>
                  <a:lnTo>
                    <a:pt x="282" y="85"/>
                  </a:lnTo>
                  <a:lnTo>
                    <a:pt x="287" y="85"/>
                  </a:lnTo>
                  <a:lnTo>
                    <a:pt x="297" y="83"/>
                  </a:lnTo>
                  <a:lnTo>
                    <a:pt x="307" y="81"/>
                  </a:lnTo>
                  <a:lnTo>
                    <a:pt x="322" y="81"/>
                  </a:lnTo>
                  <a:lnTo>
                    <a:pt x="327" y="79"/>
                  </a:lnTo>
                  <a:lnTo>
                    <a:pt x="331" y="80"/>
                  </a:lnTo>
                  <a:lnTo>
                    <a:pt x="342" y="81"/>
                  </a:lnTo>
                  <a:lnTo>
                    <a:pt x="347" y="83"/>
                  </a:lnTo>
                  <a:lnTo>
                    <a:pt x="352" y="84"/>
                  </a:lnTo>
                  <a:lnTo>
                    <a:pt x="358" y="80"/>
                  </a:lnTo>
                  <a:lnTo>
                    <a:pt x="405" y="92"/>
                  </a:lnTo>
                  <a:lnTo>
                    <a:pt x="467" y="104"/>
                  </a:lnTo>
                  <a:lnTo>
                    <a:pt x="467" y="112"/>
                  </a:lnTo>
                  <a:lnTo>
                    <a:pt x="469" y="117"/>
                  </a:lnTo>
                  <a:lnTo>
                    <a:pt x="472" y="119"/>
                  </a:lnTo>
                  <a:lnTo>
                    <a:pt x="481" y="128"/>
                  </a:lnTo>
                  <a:lnTo>
                    <a:pt x="483" y="138"/>
                  </a:lnTo>
                  <a:lnTo>
                    <a:pt x="480" y="143"/>
                  </a:lnTo>
                  <a:lnTo>
                    <a:pt x="469" y="156"/>
                  </a:lnTo>
                  <a:lnTo>
                    <a:pt x="462" y="169"/>
                  </a:lnTo>
                  <a:lnTo>
                    <a:pt x="453" y="180"/>
                  </a:lnTo>
                  <a:lnTo>
                    <a:pt x="452" y="183"/>
                  </a:lnTo>
                  <a:lnTo>
                    <a:pt x="449" y="188"/>
                  </a:lnTo>
                  <a:lnTo>
                    <a:pt x="446" y="193"/>
                  </a:lnTo>
                  <a:lnTo>
                    <a:pt x="438" y="198"/>
                  </a:lnTo>
                  <a:lnTo>
                    <a:pt x="432" y="208"/>
                  </a:lnTo>
                  <a:lnTo>
                    <a:pt x="427" y="212"/>
                  </a:lnTo>
                  <a:lnTo>
                    <a:pt x="423" y="227"/>
                  </a:lnTo>
                  <a:lnTo>
                    <a:pt x="425" y="231"/>
                  </a:lnTo>
                  <a:lnTo>
                    <a:pt x="430" y="232"/>
                  </a:lnTo>
                  <a:lnTo>
                    <a:pt x="434" y="235"/>
                  </a:lnTo>
                  <a:lnTo>
                    <a:pt x="438" y="240"/>
                  </a:lnTo>
                  <a:lnTo>
                    <a:pt x="434" y="245"/>
                  </a:lnTo>
                  <a:lnTo>
                    <a:pt x="433" y="251"/>
                  </a:lnTo>
                  <a:lnTo>
                    <a:pt x="429" y="261"/>
                  </a:lnTo>
                  <a:lnTo>
                    <a:pt x="427" y="263"/>
                  </a:lnTo>
                  <a:lnTo>
                    <a:pt x="424" y="266"/>
                  </a:lnTo>
                  <a:lnTo>
                    <a:pt x="397" y="401"/>
                  </a:lnTo>
                  <a:lnTo>
                    <a:pt x="329" y="387"/>
                  </a:lnTo>
                  <a:lnTo>
                    <a:pt x="233" y="364"/>
                  </a:lnTo>
                  <a:lnTo>
                    <a:pt x="130" y="338"/>
                  </a:lnTo>
                  <a:lnTo>
                    <a:pt x="8" y="304"/>
                  </a:lnTo>
                  <a:lnTo>
                    <a:pt x="7" y="304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/>
            <a:lstStyle>
              <a:defPPr>
                <a:defRPr lang="fr-FR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6" name="TextBox 225"/>
            <p:cNvSpPr txBox="1"/>
            <p:nvPr/>
          </p:nvSpPr>
          <p:spPr>
            <a:xfrm>
              <a:off x="174139" y="5507611"/>
              <a:ext cx="1281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/>
                <a:t>Oregon</a:t>
              </a:r>
              <a:endParaRPr lang="en-US" sz="1200" b="1" dirty="0"/>
            </a:p>
          </p:txBody>
        </p:sp>
        <p:sp>
          <p:nvSpPr>
            <p:cNvPr id="219" name="Freeform 218"/>
            <p:cNvSpPr>
              <a:spLocks/>
            </p:cNvSpPr>
            <p:nvPr/>
          </p:nvSpPr>
          <p:spPr bwMode="auto">
            <a:xfrm>
              <a:off x="508543" y="5784610"/>
              <a:ext cx="177157" cy="356451"/>
            </a:xfrm>
            <a:custGeom>
              <a:avLst/>
              <a:gdLst>
                <a:gd name="T0" fmla="*/ 0 w 100"/>
                <a:gd name="T1" fmla="*/ 25 h 191"/>
                <a:gd name="T2" fmla="*/ 17 w 100"/>
                <a:gd name="T3" fmla="*/ 20 h 191"/>
                <a:gd name="T4" fmla="*/ 95 w 100"/>
                <a:gd name="T5" fmla="*/ 0 h 191"/>
                <a:gd name="T6" fmla="*/ 94 w 100"/>
                <a:gd name="T7" fmla="*/ 1 h 191"/>
                <a:gd name="T8" fmla="*/ 97 w 100"/>
                <a:gd name="T9" fmla="*/ 9 h 191"/>
                <a:gd name="T10" fmla="*/ 94 w 100"/>
                <a:gd name="T11" fmla="*/ 19 h 191"/>
                <a:gd name="T12" fmla="*/ 95 w 100"/>
                <a:gd name="T13" fmla="*/ 24 h 191"/>
                <a:gd name="T14" fmla="*/ 99 w 100"/>
                <a:gd name="T15" fmla="*/ 29 h 191"/>
                <a:gd name="T16" fmla="*/ 100 w 100"/>
                <a:gd name="T17" fmla="*/ 33 h 191"/>
                <a:gd name="T18" fmla="*/ 100 w 100"/>
                <a:gd name="T19" fmla="*/ 38 h 191"/>
                <a:gd name="T20" fmla="*/ 97 w 100"/>
                <a:gd name="T21" fmla="*/ 45 h 191"/>
                <a:gd name="T22" fmla="*/ 88 w 100"/>
                <a:gd name="T23" fmla="*/ 54 h 191"/>
                <a:gd name="T24" fmla="*/ 87 w 100"/>
                <a:gd name="T25" fmla="*/ 55 h 191"/>
                <a:gd name="T26" fmla="*/ 82 w 100"/>
                <a:gd name="T27" fmla="*/ 59 h 191"/>
                <a:gd name="T28" fmla="*/ 82 w 100"/>
                <a:gd name="T29" fmla="*/ 64 h 191"/>
                <a:gd name="T30" fmla="*/ 85 w 100"/>
                <a:gd name="T31" fmla="*/ 74 h 191"/>
                <a:gd name="T32" fmla="*/ 83 w 100"/>
                <a:gd name="T33" fmla="*/ 83 h 191"/>
                <a:gd name="T34" fmla="*/ 84 w 100"/>
                <a:gd name="T35" fmla="*/ 88 h 191"/>
                <a:gd name="T36" fmla="*/ 82 w 100"/>
                <a:gd name="T37" fmla="*/ 93 h 191"/>
                <a:gd name="T38" fmla="*/ 83 w 100"/>
                <a:gd name="T39" fmla="*/ 98 h 191"/>
                <a:gd name="T40" fmla="*/ 82 w 100"/>
                <a:gd name="T41" fmla="*/ 103 h 191"/>
                <a:gd name="T42" fmla="*/ 78 w 100"/>
                <a:gd name="T43" fmla="*/ 108 h 191"/>
                <a:gd name="T44" fmla="*/ 79 w 100"/>
                <a:gd name="T45" fmla="*/ 116 h 191"/>
                <a:gd name="T46" fmla="*/ 77 w 100"/>
                <a:gd name="T47" fmla="*/ 119 h 191"/>
                <a:gd name="T48" fmla="*/ 82 w 100"/>
                <a:gd name="T49" fmla="*/ 137 h 191"/>
                <a:gd name="T50" fmla="*/ 82 w 100"/>
                <a:gd name="T51" fmla="*/ 147 h 191"/>
                <a:gd name="T52" fmla="*/ 84 w 100"/>
                <a:gd name="T53" fmla="*/ 161 h 191"/>
                <a:gd name="T54" fmla="*/ 82 w 100"/>
                <a:gd name="T55" fmla="*/ 166 h 191"/>
                <a:gd name="T56" fmla="*/ 82 w 100"/>
                <a:gd name="T57" fmla="*/ 171 h 191"/>
                <a:gd name="T58" fmla="*/ 84 w 100"/>
                <a:gd name="T59" fmla="*/ 177 h 191"/>
                <a:gd name="T60" fmla="*/ 89 w 100"/>
                <a:gd name="T61" fmla="*/ 181 h 191"/>
                <a:gd name="T62" fmla="*/ 46 w 100"/>
                <a:gd name="T63" fmla="*/ 191 h 191"/>
                <a:gd name="T64" fmla="*/ 44 w 100"/>
                <a:gd name="T65" fmla="*/ 186 h 191"/>
                <a:gd name="T66" fmla="*/ 44 w 100"/>
                <a:gd name="T67" fmla="*/ 182 h 191"/>
                <a:gd name="T68" fmla="*/ 33 w 100"/>
                <a:gd name="T69" fmla="*/ 133 h 191"/>
                <a:gd name="T70" fmla="*/ 25 w 100"/>
                <a:gd name="T71" fmla="*/ 127 h 191"/>
                <a:gd name="T72" fmla="*/ 24 w 100"/>
                <a:gd name="T73" fmla="*/ 132 h 191"/>
                <a:gd name="T74" fmla="*/ 21 w 100"/>
                <a:gd name="T75" fmla="*/ 127 h 191"/>
                <a:gd name="T76" fmla="*/ 21 w 100"/>
                <a:gd name="T77" fmla="*/ 119 h 191"/>
                <a:gd name="T78" fmla="*/ 19 w 100"/>
                <a:gd name="T79" fmla="*/ 109 h 191"/>
                <a:gd name="T80" fmla="*/ 16 w 100"/>
                <a:gd name="T81" fmla="*/ 104 h 191"/>
                <a:gd name="T82" fmla="*/ 12 w 100"/>
                <a:gd name="T83" fmla="*/ 94 h 191"/>
                <a:gd name="T84" fmla="*/ 12 w 100"/>
                <a:gd name="T85" fmla="*/ 84 h 191"/>
                <a:gd name="T86" fmla="*/ 15 w 100"/>
                <a:gd name="T87" fmla="*/ 83 h 191"/>
                <a:gd name="T88" fmla="*/ 14 w 100"/>
                <a:gd name="T89" fmla="*/ 78 h 191"/>
                <a:gd name="T90" fmla="*/ 12 w 100"/>
                <a:gd name="T91" fmla="*/ 73 h 191"/>
                <a:gd name="T92" fmla="*/ 12 w 100"/>
                <a:gd name="T93" fmla="*/ 68 h 191"/>
                <a:gd name="T94" fmla="*/ 11 w 100"/>
                <a:gd name="T95" fmla="*/ 63 h 191"/>
                <a:gd name="T96" fmla="*/ 6 w 100"/>
                <a:gd name="T97" fmla="*/ 58 h 191"/>
                <a:gd name="T98" fmla="*/ 5 w 100"/>
                <a:gd name="T99" fmla="*/ 53 h 191"/>
                <a:gd name="T100" fmla="*/ 5 w 100"/>
                <a:gd name="T101" fmla="*/ 41 h 191"/>
                <a:gd name="T102" fmla="*/ 1 w 100"/>
                <a:gd name="T103" fmla="*/ 36 h 191"/>
                <a:gd name="T104" fmla="*/ 1 w 100"/>
                <a:gd name="T105" fmla="*/ 31 h 191"/>
                <a:gd name="T106" fmla="*/ 0 w 100"/>
                <a:gd name="T107" fmla="*/ 28 h 191"/>
                <a:gd name="T108" fmla="*/ 0 w 100"/>
                <a:gd name="T109" fmla="*/ 2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0" h="191">
                  <a:moveTo>
                    <a:pt x="0" y="25"/>
                  </a:moveTo>
                  <a:lnTo>
                    <a:pt x="17" y="20"/>
                  </a:lnTo>
                  <a:lnTo>
                    <a:pt x="95" y="0"/>
                  </a:lnTo>
                  <a:lnTo>
                    <a:pt x="94" y="1"/>
                  </a:lnTo>
                  <a:lnTo>
                    <a:pt x="97" y="9"/>
                  </a:lnTo>
                  <a:lnTo>
                    <a:pt x="94" y="19"/>
                  </a:lnTo>
                  <a:lnTo>
                    <a:pt x="95" y="24"/>
                  </a:lnTo>
                  <a:lnTo>
                    <a:pt x="99" y="29"/>
                  </a:lnTo>
                  <a:lnTo>
                    <a:pt x="100" y="33"/>
                  </a:lnTo>
                  <a:lnTo>
                    <a:pt x="100" y="38"/>
                  </a:lnTo>
                  <a:lnTo>
                    <a:pt x="97" y="45"/>
                  </a:lnTo>
                  <a:lnTo>
                    <a:pt x="88" y="54"/>
                  </a:lnTo>
                  <a:lnTo>
                    <a:pt x="87" y="55"/>
                  </a:lnTo>
                  <a:lnTo>
                    <a:pt x="82" y="59"/>
                  </a:lnTo>
                  <a:lnTo>
                    <a:pt x="82" y="64"/>
                  </a:lnTo>
                  <a:lnTo>
                    <a:pt x="85" y="74"/>
                  </a:lnTo>
                  <a:lnTo>
                    <a:pt x="83" y="83"/>
                  </a:lnTo>
                  <a:lnTo>
                    <a:pt x="84" y="88"/>
                  </a:lnTo>
                  <a:lnTo>
                    <a:pt x="82" y="93"/>
                  </a:lnTo>
                  <a:lnTo>
                    <a:pt x="83" y="98"/>
                  </a:lnTo>
                  <a:lnTo>
                    <a:pt x="82" y="103"/>
                  </a:lnTo>
                  <a:lnTo>
                    <a:pt x="78" y="108"/>
                  </a:lnTo>
                  <a:lnTo>
                    <a:pt x="79" y="116"/>
                  </a:lnTo>
                  <a:lnTo>
                    <a:pt x="77" y="119"/>
                  </a:lnTo>
                  <a:lnTo>
                    <a:pt x="82" y="137"/>
                  </a:lnTo>
                  <a:lnTo>
                    <a:pt x="82" y="147"/>
                  </a:lnTo>
                  <a:lnTo>
                    <a:pt x="84" y="161"/>
                  </a:lnTo>
                  <a:lnTo>
                    <a:pt x="82" y="166"/>
                  </a:lnTo>
                  <a:lnTo>
                    <a:pt x="82" y="171"/>
                  </a:lnTo>
                  <a:lnTo>
                    <a:pt x="84" y="177"/>
                  </a:lnTo>
                  <a:lnTo>
                    <a:pt x="89" y="181"/>
                  </a:lnTo>
                  <a:lnTo>
                    <a:pt x="46" y="191"/>
                  </a:lnTo>
                  <a:lnTo>
                    <a:pt x="44" y="186"/>
                  </a:lnTo>
                  <a:lnTo>
                    <a:pt x="44" y="182"/>
                  </a:lnTo>
                  <a:lnTo>
                    <a:pt x="33" y="133"/>
                  </a:lnTo>
                  <a:lnTo>
                    <a:pt x="25" y="127"/>
                  </a:lnTo>
                  <a:lnTo>
                    <a:pt x="24" y="132"/>
                  </a:lnTo>
                  <a:lnTo>
                    <a:pt x="21" y="127"/>
                  </a:lnTo>
                  <a:lnTo>
                    <a:pt x="21" y="119"/>
                  </a:lnTo>
                  <a:lnTo>
                    <a:pt x="19" y="109"/>
                  </a:lnTo>
                  <a:lnTo>
                    <a:pt x="16" y="104"/>
                  </a:lnTo>
                  <a:lnTo>
                    <a:pt x="12" y="94"/>
                  </a:lnTo>
                  <a:lnTo>
                    <a:pt x="12" y="84"/>
                  </a:lnTo>
                  <a:lnTo>
                    <a:pt x="15" y="83"/>
                  </a:lnTo>
                  <a:lnTo>
                    <a:pt x="14" y="78"/>
                  </a:lnTo>
                  <a:lnTo>
                    <a:pt x="12" y="73"/>
                  </a:lnTo>
                  <a:lnTo>
                    <a:pt x="12" y="68"/>
                  </a:lnTo>
                  <a:lnTo>
                    <a:pt x="11" y="63"/>
                  </a:lnTo>
                  <a:lnTo>
                    <a:pt x="6" y="58"/>
                  </a:lnTo>
                  <a:lnTo>
                    <a:pt x="5" y="53"/>
                  </a:lnTo>
                  <a:lnTo>
                    <a:pt x="5" y="41"/>
                  </a:lnTo>
                  <a:lnTo>
                    <a:pt x="1" y="36"/>
                  </a:lnTo>
                  <a:lnTo>
                    <a:pt x="1" y="31"/>
                  </a:lnTo>
                  <a:lnTo>
                    <a:pt x="0" y="28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/>
            <a:lstStyle>
              <a:defPPr>
                <a:defRPr lang="fr-FR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27" name="TextBox 226"/>
            <p:cNvSpPr txBox="1"/>
            <p:nvPr/>
          </p:nvSpPr>
          <p:spPr>
            <a:xfrm>
              <a:off x="174139" y="6069883"/>
              <a:ext cx="1281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/>
                <a:t>Vermont</a:t>
              </a:r>
              <a:endParaRPr lang="en-US" sz="1200" b="1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226876" y="1262539"/>
              <a:ext cx="102393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/>
                <a:t>Patient centered medical homes</a:t>
              </a:r>
            </a:p>
          </p:txBody>
        </p:sp>
        <p:sp>
          <p:nvSpPr>
            <p:cNvPr id="229" name="TextBox 228"/>
            <p:cNvSpPr txBox="1"/>
            <p:nvPr/>
          </p:nvSpPr>
          <p:spPr>
            <a:xfrm>
              <a:off x="2054580" y="1631871"/>
              <a:ext cx="102393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/>
                <a:t>Health homes</a:t>
              </a:r>
            </a:p>
          </p:txBody>
        </p:sp>
        <p:sp>
          <p:nvSpPr>
            <p:cNvPr id="230" name="TextBox 229"/>
            <p:cNvSpPr txBox="1"/>
            <p:nvPr/>
          </p:nvSpPr>
          <p:spPr>
            <a:xfrm>
              <a:off x="2882284" y="1631871"/>
              <a:ext cx="102393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/>
                <a:t>Accountable care</a:t>
              </a:r>
            </a:p>
          </p:txBody>
        </p:sp>
        <p:sp>
          <p:nvSpPr>
            <p:cNvPr id="231" name="TextBox 230"/>
            <p:cNvSpPr txBox="1"/>
            <p:nvPr/>
          </p:nvSpPr>
          <p:spPr>
            <a:xfrm>
              <a:off x="3709987" y="1816537"/>
              <a:ext cx="10239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/>
                <a:t>Episodes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1624061" y="2224837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9" name="Oval 238"/>
            <p:cNvSpPr/>
            <p:nvPr/>
          </p:nvSpPr>
          <p:spPr>
            <a:xfrm>
              <a:off x="1624061" y="2976585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Oval 239"/>
            <p:cNvSpPr/>
            <p:nvPr/>
          </p:nvSpPr>
          <p:spPr>
            <a:xfrm>
              <a:off x="1624061" y="3709595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1" name="Oval 240"/>
            <p:cNvSpPr/>
            <p:nvPr/>
          </p:nvSpPr>
          <p:spPr>
            <a:xfrm>
              <a:off x="1624061" y="4455898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Oval 241"/>
            <p:cNvSpPr/>
            <p:nvPr/>
          </p:nvSpPr>
          <p:spPr>
            <a:xfrm>
              <a:off x="1624061" y="5220390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3" name="Oval 242"/>
            <p:cNvSpPr/>
            <p:nvPr/>
          </p:nvSpPr>
          <p:spPr>
            <a:xfrm>
              <a:off x="1624061" y="5856822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4" name="Oval 243"/>
            <p:cNvSpPr/>
            <p:nvPr/>
          </p:nvSpPr>
          <p:spPr>
            <a:xfrm>
              <a:off x="2451765" y="2224837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5" name="Oval 244"/>
            <p:cNvSpPr/>
            <p:nvPr/>
          </p:nvSpPr>
          <p:spPr>
            <a:xfrm>
              <a:off x="2451765" y="2976585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6" name="Oval 245"/>
            <p:cNvSpPr/>
            <p:nvPr/>
          </p:nvSpPr>
          <p:spPr>
            <a:xfrm>
              <a:off x="2451765" y="3709595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7" name="Oval 246"/>
            <p:cNvSpPr/>
            <p:nvPr/>
          </p:nvSpPr>
          <p:spPr>
            <a:xfrm>
              <a:off x="2451765" y="4455898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Oval 247"/>
            <p:cNvSpPr/>
            <p:nvPr/>
          </p:nvSpPr>
          <p:spPr>
            <a:xfrm>
              <a:off x="2451765" y="5856822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9" name="Oval 248"/>
            <p:cNvSpPr/>
            <p:nvPr/>
          </p:nvSpPr>
          <p:spPr>
            <a:xfrm>
              <a:off x="3279469" y="2976585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0" name="Oval 249"/>
            <p:cNvSpPr/>
            <p:nvPr/>
          </p:nvSpPr>
          <p:spPr>
            <a:xfrm>
              <a:off x="3279469" y="3709595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1" name="Oval 250"/>
            <p:cNvSpPr/>
            <p:nvPr/>
          </p:nvSpPr>
          <p:spPr>
            <a:xfrm>
              <a:off x="3279469" y="4455898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2" name="Oval 251"/>
            <p:cNvSpPr/>
            <p:nvPr/>
          </p:nvSpPr>
          <p:spPr>
            <a:xfrm>
              <a:off x="3279469" y="5856822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3" name="Oval 252"/>
            <p:cNvSpPr/>
            <p:nvPr/>
          </p:nvSpPr>
          <p:spPr>
            <a:xfrm>
              <a:off x="4107172" y="2224837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Oval 253"/>
            <p:cNvSpPr/>
            <p:nvPr/>
          </p:nvSpPr>
          <p:spPr>
            <a:xfrm>
              <a:off x="4107172" y="5856822"/>
              <a:ext cx="229567" cy="229567"/>
            </a:xfrm>
            <a:prstGeom prst="ellipse">
              <a:avLst/>
            </a:prstGeom>
            <a:gradFill>
              <a:gsLst>
                <a:gs pos="0">
                  <a:srgbClr val="00B05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" name="Straight Connector 21"/>
            <p:cNvCxnSpPr/>
            <p:nvPr/>
          </p:nvCxnSpPr>
          <p:spPr>
            <a:xfrm>
              <a:off x="180975" y="2064961"/>
              <a:ext cx="4362450" cy="0"/>
            </a:xfrm>
            <a:prstGeom prst="line">
              <a:avLst/>
            </a:prstGeom>
            <a:ln w="9525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/>
            <p:cNvSpPr/>
            <p:nvPr/>
          </p:nvSpPr>
          <p:spPr>
            <a:xfrm>
              <a:off x="69588" y="767834"/>
              <a:ext cx="4664337" cy="5579048"/>
            </a:xfrm>
            <a:prstGeom prst="rect">
              <a:avLst/>
            </a:prstGeom>
            <a:noFill/>
            <a:ln w="254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943475" y="767834"/>
            <a:ext cx="4048125" cy="5579048"/>
            <a:chOff x="4857750" y="767834"/>
            <a:chExt cx="4048125" cy="5579048"/>
          </a:xfrm>
        </p:grpSpPr>
        <p:sp>
          <p:nvSpPr>
            <p:cNvPr id="3" name="Content Placeholder 2"/>
            <p:cNvSpPr txBox="1">
              <a:spLocks/>
            </p:cNvSpPr>
            <p:nvPr/>
          </p:nvSpPr>
          <p:spPr bwMode="auto">
            <a:xfrm>
              <a:off x="4857750" y="1604565"/>
              <a:ext cx="3965738" cy="45364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Myriad Pro"/>
                  <a:ea typeface="ＭＳ Ｐゴシック" pitchFamily="-112" charset="-128"/>
                  <a:cs typeface="Myriad Pro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Myriad Pro"/>
                  <a:ea typeface="ＭＳ Ｐゴシック" pitchFamily="-112" charset="-128"/>
                  <a:cs typeface="Myriad Pro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Myriad Pro"/>
                  <a:ea typeface="ＭＳ Ｐゴシック" pitchFamily="-112" charset="-128"/>
                  <a:cs typeface="Myriad Pro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Myriad Pro"/>
                  <a:ea typeface="ＭＳ Ｐゴシック" pitchFamily="-112" charset="-128"/>
                  <a:cs typeface="Myriad Pro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Myriad Pro"/>
                  <a:ea typeface="ＭＳ Ｐゴシック" pitchFamily="-112" charset="-128"/>
                  <a:cs typeface="Myriad Pro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Font typeface="Wingdings" panose="05000000000000000000" pitchFamily="2" charset="2"/>
                <a:buChar char="Ø"/>
              </a:pPr>
              <a:r>
                <a:rPr lang="en-US" sz="1800" b="1" dirty="0" smtClean="0">
                  <a:latin typeface="+mj-lt"/>
                </a:rPr>
                <a:t>Current CMMI objectives</a:t>
              </a:r>
            </a:p>
            <a:p>
              <a:pPr lvl="1">
                <a:buFont typeface="Wingdings" panose="05000000000000000000" pitchFamily="2" charset="2"/>
                <a:buChar char="§"/>
              </a:pPr>
              <a:r>
                <a:rPr lang="en-US" sz="1800" dirty="0" smtClean="0">
                  <a:latin typeface="+mj-lt"/>
                </a:rPr>
                <a:t>Establish project milestones and success metrics</a:t>
              </a:r>
            </a:p>
            <a:p>
              <a:pPr lvl="1">
                <a:buFont typeface="Wingdings" panose="05000000000000000000" pitchFamily="2" charset="2"/>
                <a:buChar char="§"/>
              </a:pPr>
              <a:endParaRPr lang="en-US" sz="1800" dirty="0">
                <a:latin typeface="+mj-lt"/>
              </a:endParaRPr>
            </a:p>
            <a:p>
              <a:pPr lvl="1">
                <a:buFont typeface="Wingdings" panose="05000000000000000000" pitchFamily="2" charset="2"/>
                <a:buChar char="§"/>
              </a:pPr>
              <a:r>
                <a:rPr lang="en-US" sz="1800" dirty="0" smtClean="0">
                  <a:latin typeface="+mj-lt"/>
                </a:rPr>
                <a:t>Review Operational Plans for launch of Test Year 1</a:t>
              </a:r>
            </a:p>
            <a:p>
              <a:pPr lvl="1">
                <a:buFont typeface="Wingdings" panose="05000000000000000000" pitchFamily="2" charset="2"/>
                <a:buChar char="§"/>
              </a:pPr>
              <a:endParaRPr lang="en-US" sz="1800" dirty="0">
                <a:latin typeface="+mj-lt"/>
              </a:endParaRPr>
            </a:p>
            <a:p>
              <a:pPr lvl="1">
                <a:buFont typeface="Wingdings" panose="05000000000000000000" pitchFamily="2" charset="2"/>
                <a:buChar char="§"/>
              </a:pPr>
              <a:r>
                <a:rPr lang="en-US" sz="1800" dirty="0" smtClean="0">
                  <a:latin typeface="+mj-lt"/>
                </a:rPr>
                <a:t>Establish and cement relationships amongst R1 and R2 states and TA partners</a:t>
              </a:r>
            </a:p>
            <a:p>
              <a:pPr lvl="1">
                <a:buFont typeface="Wingdings" panose="05000000000000000000" pitchFamily="2" charset="2"/>
                <a:buChar char="§"/>
              </a:pPr>
              <a:endParaRPr lang="en-US" sz="1800" dirty="0">
                <a:latin typeface="+mj-lt"/>
              </a:endParaRPr>
            </a:p>
            <a:p>
              <a:pPr lvl="1">
                <a:buFont typeface="Wingdings" panose="05000000000000000000" pitchFamily="2" charset="2"/>
                <a:buChar char="§"/>
              </a:pPr>
              <a:r>
                <a:rPr lang="en-US" sz="1800" dirty="0" smtClean="0">
                  <a:latin typeface="+mj-lt"/>
                </a:rPr>
                <a:t>Develop streamlined reporting system (thanks for </a:t>
              </a:r>
              <a:r>
                <a:rPr lang="en-US" sz="1800" smtClean="0">
                  <a:latin typeface="+mj-lt"/>
                </a:rPr>
                <a:t>your help!)</a:t>
              </a:r>
              <a:endParaRPr lang="en-US" sz="1800" dirty="0" smtClean="0">
                <a:latin typeface="+mj-lt"/>
              </a:endParaRPr>
            </a:p>
            <a:p>
              <a:pPr lvl="1">
                <a:buFont typeface="Wingdings" panose="05000000000000000000" pitchFamily="2" charset="2"/>
                <a:buChar char="§"/>
              </a:pPr>
              <a:endParaRPr lang="en-US" sz="1800" dirty="0" smtClean="0">
                <a:latin typeface="+mj-lt"/>
              </a:endParaRPr>
            </a:p>
            <a:p>
              <a:pPr lvl="1">
                <a:buFont typeface="Wingdings" panose="05000000000000000000" pitchFamily="2" charset="2"/>
                <a:buChar char="§"/>
              </a:pPr>
              <a:endParaRPr lang="en-US" sz="1800" dirty="0">
                <a:latin typeface="+mj-lt"/>
              </a:endParaRPr>
            </a:p>
            <a:p>
              <a:pPr>
                <a:buFont typeface="Wingdings" panose="05000000000000000000" pitchFamily="2" charset="2"/>
                <a:buChar char="§"/>
              </a:pPr>
              <a:endParaRPr lang="en-US" sz="1800" dirty="0">
                <a:latin typeface="+mj-lt"/>
              </a:endParaRPr>
            </a:p>
          </p:txBody>
        </p:sp>
        <p:sp>
          <p:nvSpPr>
            <p:cNvPr id="211" name="TextBox 210"/>
            <p:cNvSpPr txBox="1"/>
            <p:nvPr/>
          </p:nvSpPr>
          <p:spPr>
            <a:xfrm>
              <a:off x="4857750" y="834509"/>
              <a:ext cx="396573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tx2"/>
                  </a:solidFill>
                </a:rPr>
                <a:t>Round 2 States designing interventions </a:t>
              </a:r>
              <a:endParaRPr 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263" name="Rectangle 262"/>
            <p:cNvSpPr/>
            <p:nvPr/>
          </p:nvSpPr>
          <p:spPr>
            <a:xfrm>
              <a:off x="4857750" y="767834"/>
              <a:ext cx="4048125" cy="5579048"/>
            </a:xfrm>
            <a:prstGeom prst="rect">
              <a:avLst/>
            </a:prstGeom>
            <a:noFill/>
            <a:ln w="254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8059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 to Run On…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8600" y="1428750"/>
            <a:ext cx="8686800" cy="3443289"/>
          </a:xfrm>
        </p:spPr>
        <p:txBody>
          <a:bodyPr/>
          <a:lstStyle/>
          <a:p>
            <a:pPr lvl="1"/>
            <a:r>
              <a:rPr lang="en-US" sz="3200" dirty="0" smtClean="0"/>
              <a:t>Where are we now?</a:t>
            </a:r>
          </a:p>
          <a:p>
            <a:pPr lvl="1"/>
            <a:r>
              <a:rPr lang="en-US" sz="3200" dirty="0" smtClean="0"/>
              <a:t>Where are we going?</a:t>
            </a:r>
          </a:p>
          <a:p>
            <a:pPr lvl="1"/>
            <a:r>
              <a:rPr lang="en-US" sz="3200" dirty="0" smtClean="0"/>
              <a:t>How does SIM fit in to all this delivery system reform?</a:t>
            </a:r>
          </a:p>
          <a:p>
            <a:pPr lvl="1"/>
            <a:r>
              <a:rPr lang="en-US" sz="3200" dirty="0" smtClean="0"/>
              <a:t>What are some options for innovation sustainability?</a:t>
            </a:r>
          </a:p>
          <a:p>
            <a:pPr marL="457200" lvl="1" indent="0">
              <a:buNone/>
            </a:pPr>
            <a:endParaRPr lang="en-US" dirty="0" smtClean="0"/>
          </a:p>
          <a:p>
            <a:pPr marL="457200" lvl="1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0341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888" y="-538610"/>
            <a:ext cx="8558212" cy="1767923"/>
          </a:xfrm>
        </p:spPr>
        <p:txBody>
          <a:bodyPr>
            <a:normAutofit/>
          </a:bodyPr>
          <a:lstStyle/>
          <a:p>
            <a:pPr marL="290513"/>
            <a:r>
              <a:rPr lang="en-US" sz="2000" b="1" dirty="0" smtClean="0"/>
              <a:t>R1 test states </a:t>
            </a:r>
            <a:r>
              <a:rPr lang="en-US" sz="2000" b="1" dirty="0"/>
              <a:t>are integrating community services </a:t>
            </a:r>
            <a:r>
              <a:rPr lang="en-US" sz="2000" b="1" dirty="0" smtClean="0"/>
              <a:t>and population health</a:t>
            </a:r>
            <a:endParaRPr lang="en-US" sz="2000" b="1" dirty="0"/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877364" y="4643148"/>
            <a:ext cx="538133" cy="447238"/>
          </a:xfrm>
          <a:custGeom>
            <a:avLst/>
            <a:gdLst>
              <a:gd name="T0" fmla="*/ 0 w 483"/>
              <a:gd name="T1" fmla="*/ 275 h 401"/>
              <a:gd name="T2" fmla="*/ 8 w 483"/>
              <a:gd name="T3" fmla="*/ 259 h 401"/>
              <a:gd name="T4" fmla="*/ 7 w 483"/>
              <a:gd name="T5" fmla="*/ 235 h 401"/>
              <a:gd name="T6" fmla="*/ 28 w 483"/>
              <a:gd name="T7" fmla="*/ 207 h 401"/>
              <a:gd name="T8" fmla="*/ 34 w 483"/>
              <a:gd name="T9" fmla="*/ 200 h 401"/>
              <a:gd name="T10" fmla="*/ 34 w 483"/>
              <a:gd name="T11" fmla="*/ 200 h 401"/>
              <a:gd name="T12" fmla="*/ 32 w 483"/>
              <a:gd name="T13" fmla="*/ 198 h 401"/>
              <a:gd name="T14" fmla="*/ 44 w 483"/>
              <a:gd name="T15" fmla="*/ 180 h 401"/>
              <a:gd name="T16" fmla="*/ 43 w 483"/>
              <a:gd name="T17" fmla="*/ 180 h 401"/>
              <a:gd name="T18" fmla="*/ 57 w 483"/>
              <a:gd name="T19" fmla="*/ 144 h 401"/>
              <a:gd name="T20" fmla="*/ 67 w 483"/>
              <a:gd name="T21" fmla="*/ 128 h 401"/>
              <a:gd name="T22" fmla="*/ 71 w 483"/>
              <a:gd name="T23" fmla="*/ 112 h 401"/>
              <a:gd name="T24" fmla="*/ 81 w 483"/>
              <a:gd name="T25" fmla="*/ 83 h 401"/>
              <a:gd name="T26" fmla="*/ 90 w 483"/>
              <a:gd name="T27" fmla="*/ 65 h 401"/>
              <a:gd name="T28" fmla="*/ 92 w 483"/>
              <a:gd name="T29" fmla="*/ 51 h 401"/>
              <a:gd name="T30" fmla="*/ 96 w 483"/>
              <a:gd name="T31" fmla="*/ 42 h 401"/>
              <a:gd name="T32" fmla="*/ 98 w 483"/>
              <a:gd name="T33" fmla="*/ 30 h 401"/>
              <a:gd name="T34" fmla="*/ 101 w 483"/>
              <a:gd name="T35" fmla="*/ 20 h 401"/>
              <a:gd name="T36" fmla="*/ 108 w 483"/>
              <a:gd name="T37" fmla="*/ 0 h 401"/>
              <a:gd name="T38" fmla="*/ 116 w 483"/>
              <a:gd name="T39" fmla="*/ 6 h 401"/>
              <a:gd name="T40" fmla="*/ 119 w 483"/>
              <a:gd name="T41" fmla="*/ 2 h 401"/>
              <a:gd name="T42" fmla="*/ 129 w 483"/>
              <a:gd name="T43" fmla="*/ 3 h 401"/>
              <a:gd name="T44" fmla="*/ 137 w 483"/>
              <a:gd name="T45" fmla="*/ 12 h 401"/>
              <a:gd name="T46" fmla="*/ 151 w 483"/>
              <a:gd name="T47" fmla="*/ 14 h 401"/>
              <a:gd name="T48" fmla="*/ 161 w 483"/>
              <a:gd name="T49" fmla="*/ 32 h 401"/>
              <a:gd name="T50" fmla="*/ 168 w 483"/>
              <a:gd name="T51" fmla="*/ 64 h 401"/>
              <a:gd name="T52" fmla="*/ 180 w 483"/>
              <a:gd name="T53" fmla="*/ 70 h 401"/>
              <a:gd name="T54" fmla="*/ 199 w 483"/>
              <a:gd name="T55" fmla="*/ 69 h 401"/>
              <a:gd name="T56" fmla="*/ 214 w 483"/>
              <a:gd name="T57" fmla="*/ 68 h 401"/>
              <a:gd name="T58" fmla="*/ 232 w 483"/>
              <a:gd name="T59" fmla="*/ 73 h 401"/>
              <a:gd name="T60" fmla="*/ 248 w 483"/>
              <a:gd name="T61" fmla="*/ 80 h 401"/>
              <a:gd name="T62" fmla="*/ 273 w 483"/>
              <a:gd name="T63" fmla="*/ 80 h 401"/>
              <a:gd name="T64" fmla="*/ 287 w 483"/>
              <a:gd name="T65" fmla="*/ 85 h 401"/>
              <a:gd name="T66" fmla="*/ 322 w 483"/>
              <a:gd name="T67" fmla="*/ 81 h 401"/>
              <a:gd name="T68" fmla="*/ 342 w 483"/>
              <a:gd name="T69" fmla="*/ 81 h 401"/>
              <a:gd name="T70" fmla="*/ 358 w 483"/>
              <a:gd name="T71" fmla="*/ 80 h 401"/>
              <a:gd name="T72" fmla="*/ 467 w 483"/>
              <a:gd name="T73" fmla="*/ 112 h 401"/>
              <a:gd name="T74" fmla="*/ 481 w 483"/>
              <a:gd name="T75" fmla="*/ 128 h 401"/>
              <a:gd name="T76" fmla="*/ 469 w 483"/>
              <a:gd name="T77" fmla="*/ 156 h 401"/>
              <a:gd name="T78" fmla="*/ 452 w 483"/>
              <a:gd name="T79" fmla="*/ 183 h 401"/>
              <a:gd name="T80" fmla="*/ 438 w 483"/>
              <a:gd name="T81" fmla="*/ 198 h 401"/>
              <a:gd name="T82" fmla="*/ 423 w 483"/>
              <a:gd name="T83" fmla="*/ 227 h 401"/>
              <a:gd name="T84" fmla="*/ 434 w 483"/>
              <a:gd name="T85" fmla="*/ 235 h 401"/>
              <a:gd name="T86" fmla="*/ 433 w 483"/>
              <a:gd name="T87" fmla="*/ 251 h 401"/>
              <a:gd name="T88" fmla="*/ 424 w 483"/>
              <a:gd name="T89" fmla="*/ 266 h 401"/>
              <a:gd name="T90" fmla="*/ 233 w 483"/>
              <a:gd name="T91" fmla="*/ 364 h 401"/>
              <a:gd name="T92" fmla="*/ 7 w 483"/>
              <a:gd name="T93" fmla="*/ 304 h 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83" h="401">
                <a:moveTo>
                  <a:pt x="7" y="304"/>
                </a:moveTo>
                <a:lnTo>
                  <a:pt x="2" y="294"/>
                </a:lnTo>
                <a:lnTo>
                  <a:pt x="0" y="275"/>
                </a:lnTo>
                <a:lnTo>
                  <a:pt x="3" y="269"/>
                </a:lnTo>
                <a:lnTo>
                  <a:pt x="4" y="264"/>
                </a:lnTo>
                <a:lnTo>
                  <a:pt x="8" y="259"/>
                </a:lnTo>
                <a:lnTo>
                  <a:pt x="9" y="254"/>
                </a:lnTo>
                <a:lnTo>
                  <a:pt x="7" y="244"/>
                </a:lnTo>
                <a:lnTo>
                  <a:pt x="7" y="235"/>
                </a:lnTo>
                <a:lnTo>
                  <a:pt x="17" y="222"/>
                </a:lnTo>
                <a:lnTo>
                  <a:pt x="25" y="202"/>
                </a:lnTo>
                <a:lnTo>
                  <a:pt x="28" y="207"/>
                </a:lnTo>
                <a:lnTo>
                  <a:pt x="29" y="202"/>
                </a:lnTo>
                <a:lnTo>
                  <a:pt x="34" y="200"/>
                </a:lnTo>
                <a:lnTo>
                  <a:pt x="34" y="200"/>
                </a:lnTo>
                <a:lnTo>
                  <a:pt x="35" y="203"/>
                </a:lnTo>
                <a:lnTo>
                  <a:pt x="37" y="200"/>
                </a:lnTo>
                <a:lnTo>
                  <a:pt x="34" y="200"/>
                </a:lnTo>
                <a:lnTo>
                  <a:pt x="34" y="198"/>
                </a:lnTo>
                <a:lnTo>
                  <a:pt x="34" y="200"/>
                </a:lnTo>
                <a:lnTo>
                  <a:pt x="32" y="198"/>
                </a:lnTo>
                <a:lnTo>
                  <a:pt x="34" y="193"/>
                </a:lnTo>
                <a:lnTo>
                  <a:pt x="39" y="185"/>
                </a:lnTo>
                <a:lnTo>
                  <a:pt x="44" y="180"/>
                </a:lnTo>
                <a:lnTo>
                  <a:pt x="49" y="180"/>
                </a:lnTo>
                <a:lnTo>
                  <a:pt x="48" y="177"/>
                </a:lnTo>
                <a:lnTo>
                  <a:pt x="43" y="180"/>
                </a:lnTo>
                <a:lnTo>
                  <a:pt x="44" y="175"/>
                </a:lnTo>
                <a:lnTo>
                  <a:pt x="48" y="169"/>
                </a:lnTo>
                <a:lnTo>
                  <a:pt x="57" y="144"/>
                </a:lnTo>
                <a:lnTo>
                  <a:pt x="61" y="136"/>
                </a:lnTo>
                <a:lnTo>
                  <a:pt x="63" y="131"/>
                </a:lnTo>
                <a:lnTo>
                  <a:pt x="67" y="128"/>
                </a:lnTo>
                <a:lnTo>
                  <a:pt x="67" y="125"/>
                </a:lnTo>
                <a:lnTo>
                  <a:pt x="66" y="120"/>
                </a:lnTo>
                <a:lnTo>
                  <a:pt x="71" y="112"/>
                </a:lnTo>
                <a:lnTo>
                  <a:pt x="72" y="102"/>
                </a:lnTo>
                <a:lnTo>
                  <a:pt x="80" y="88"/>
                </a:lnTo>
                <a:lnTo>
                  <a:pt x="81" y="83"/>
                </a:lnTo>
                <a:lnTo>
                  <a:pt x="86" y="75"/>
                </a:lnTo>
                <a:lnTo>
                  <a:pt x="87" y="70"/>
                </a:lnTo>
                <a:lnTo>
                  <a:pt x="90" y="65"/>
                </a:lnTo>
                <a:lnTo>
                  <a:pt x="90" y="60"/>
                </a:lnTo>
                <a:lnTo>
                  <a:pt x="92" y="55"/>
                </a:lnTo>
                <a:lnTo>
                  <a:pt x="92" y="51"/>
                </a:lnTo>
                <a:lnTo>
                  <a:pt x="97" y="53"/>
                </a:lnTo>
                <a:lnTo>
                  <a:pt x="95" y="47"/>
                </a:lnTo>
                <a:lnTo>
                  <a:pt x="96" y="42"/>
                </a:lnTo>
                <a:lnTo>
                  <a:pt x="101" y="37"/>
                </a:lnTo>
                <a:lnTo>
                  <a:pt x="98" y="35"/>
                </a:lnTo>
                <a:lnTo>
                  <a:pt x="98" y="30"/>
                </a:lnTo>
                <a:lnTo>
                  <a:pt x="101" y="25"/>
                </a:lnTo>
                <a:lnTo>
                  <a:pt x="102" y="20"/>
                </a:lnTo>
                <a:lnTo>
                  <a:pt x="101" y="20"/>
                </a:lnTo>
                <a:lnTo>
                  <a:pt x="105" y="15"/>
                </a:lnTo>
                <a:lnTo>
                  <a:pt x="107" y="5"/>
                </a:lnTo>
                <a:lnTo>
                  <a:pt x="108" y="0"/>
                </a:lnTo>
                <a:lnTo>
                  <a:pt x="113" y="3"/>
                </a:lnTo>
                <a:lnTo>
                  <a:pt x="115" y="5"/>
                </a:lnTo>
                <a:lnTo>
                  <a:pt x="116" y="6"/>
                </a:lnTo>
                <a:lnTo>
                  <a:pt x="113" y="3"/>
                </a:lnTo>
                <a:lnTo>
                  <a:pt x="115" y="1"/>
                </a:lnTo>
                <a:lnTo>
                  <a:pt x="119" y="2"/>
                </a:lnTo>
                <a:lnTo>
                  <a:pt x="120" y="5"/>
                </a:lnTo>
                <a:lnTo>
                  <a:pt x="124" y="5"/>
                </a:lnTo>
                <a:lnTo>
                  <a:pt x="129" y="3"/>
                </a:lnTo>
                <a:lnTo>
                  <a:pt x="134" y="7"/>
                </a:lnTo>
                <a:lnTo>
                  <a:pt x="136" y="11"/>
                </a:lnTo>
                <a:lnTo>
                  <a:pt x="137" y="12"/>
                </a:lnTo>
                <a:lnTo>
                  <a:pt x="142" y="14"/>
                </a:lnTo>
                <a:lnTo>
                  <a:pt x="147" y="12"/>
                </a:lnTo>
                <a:lnTo>
                  <a:pt x="151" y="14"/>
                </a:lnTo>
                <a:lnTo>
                  <a:pt x="154" y="17"/>
                </a:lnTo>
                <a:lnTo>
                  <a:pt x="159" y="22"/>
                </a:lnTo>
                <a:lnTo>
                  <a:pt x="161" y="32"/>
                </a:lnTo>
                <a:lnTo>
                  <a:pt x="159" y="58"/>
                </a:lnTo>
                <a:lnTo>
                  <a:pt x="160" y="60"/>
                </a:lnTo>
                <a:lnTo>
                  <a:pt x="168" y="64"/>
                </a:lnTo>
                <a:lnTo>
                  <a:pt x="173" y="66"/>
                </a:lnTo>
                <a:lnTo>
                  <a:pt x="175" y="68"/>
                </a:lnTo>
                <a:lnTo>
                  <a:pt x="180" y="70"/>
                </a:lnTo>
                <a:lnTo>
                  <a:pt x="185" y="71"/>
                </a:lnTo>
                <a:lnTo>
                  <a:pt x="195" y="70"/>
                </a:lnTo>
                <a:lnTo>
                  <a:pt x="199" y="69"/>
                </a:lnTo>
                <a:lnTo>
                  <a:pt x="204" y="66"/>
                </a:lnTo>
                <a:lnTo>
                  <a:pt x="209" y="66"/>
                </a:lnTo>
                <a:lnTo>
                  <a:pt x="214" y="68"/>
                </a:lnTo>
                <a:lnTo>
                  <a:pt x="223" y="69"/>
                </a:lnTo>
                <a:lnTo>
                  <a:pt x="228" y="71"/>
                </a:lnTo>
                <a:lnTo>
                  <a:pt x="232" y="73"/>
                </a:lnTo>
                <a:lnTo>
                  <a:pt x="238" y="76"/>
                </a:lnTo>
                <a:lnTo>
                  <a:pt x="238" y="80"/>
                </a:lnTo>
                <a:lnTo>
                  <a:pt x="248" y="80"/>
                </a:lnTo>
                <a:lnTo>
                  <a:pt x="253" y="81"/>
                </a:lnTo>
                <a:lnTo>
                  <a:pt x="268" y="79"/>
                </a:lnTo>
                <a:lnTo>
                  <a:pt x="273" y="80"/>
                </a:lnTo>
                <a:lnTo>
                  <a:pt x="278" y="84"/>
                </a:lnTo>
                <a:lnTo>
                  <a:pt x="282" y="85"/>
                </a:lnTo>
                <a:lnTo>
                  <a:pt x="287" y="85"/>
                </a:lnTo>
                <a:lnTo>
                  <a:pt x="297" y="83"/>
                </a:lnTo>
                <a:lnTo>
                  <a:pt x="307" y="81"/>
                </a:lnTo>
                <a:lnTo>
                  <a:pt x="322" y="81"/>
                </a:lnTo>
                <a:lnTo>
                  <a:pt x="327" y="79"/>
                </a:lnTo>
                <a:lnTo>
                  <a:pt x="331" y="80"/>
                </a:lnTo>
                <a:lnTo>
                  <a:pt x="342" y="81"/>
                </a:lnTo>
                <a:lnTo>
                  <a:pt x="347" y="83"/>
                </a:lnTo>
                <a:lnTo>
                  <a:pt x="352" y="84"/>
                </a:lnTo>
                <a:lnTo>
                  <a:pt x="358" y="80"/>
                </a:lnTo>
                <a:lnTo>
                  <a:pt x="405" y="92"/>
                </a:lnTo>
                <a:lnTo>
                  <a:pt x="467" y="104"/>
                </a:lnTo>
                <a:lnTo>
                  <a:pt x="467" y="112"/>
                </a:lnTo>
                <a:lnTo>
                  <a:pt x="469" y="117"/>
                </a:lnTo>
                <a:lnTo>
                  <a:pt x="472" y="119"/>
                </a:lnTo>
                <a:lnTo>
                  <a:pt x="481" y="128"/>
                </a:lnTo>
                <a:lnTo>
                  <a:pt x="483" y="138"/>
                </a:lnTo>
                <a:lnTo>
                  <a:pt x="480" y="143"/>
                </a:lnTo>
                <a:lnTo>
                  <a:pt x="469" y="156"/>
                </a:lnTo>
                <a:lnTo>
                  <a:pt x="462" y="169"/>
                </a:lnTo>
                <a:lnTo>
                  <a:pt x="453" y="180"/>
                </a:lnTo>
                <a:lnTo>
                  <a:pt x="452" y="183"/>
                </a:lnTo>
                <a:lnTo>
                  <a:pt x="449" y="188"/>
                </a:lnTo>
                <a:lnTo>
                  <a:pt x="446" y="193"/>
                </a:lnTo>
                <a:lnTo>
                  <a:pt x="438" y="198"/>
                </a:lnTo>
                <a:lnTo>
                  <a:pt x="432" y="208"/>
                </a:lnTo>
                <a:lnTo>
                  <a:pt x="427" y="212"/>
                </a:lnTo>
                <a:lnTo>
                  <a:pt x="423" y="227"/>
                </a:lnTo>
                <a:lnTo>
                  <a:pt x="425" y="231"/>
                </a:lnTo>
                <a:lnTo>
                  <a:pt x="430" y="232"/>
                </a:lnTo>
                <a:lnTo>
                  <a:pt x="434" y="235"/>
                </a:lnTo>
                <a:lnTo>
                  <a:pt x="438" y="240"/>
                </a:lnTo>
                <a:lnTo>
                  <a:pt x="434" y="245"/>
                </a:lnTo>
                <a:lnTo>
                  <a:pt x="433" y="251"/>
                </a:lnTo>
                <a:lnTo>
                  <a:pt x="429" y="261"/>
                </a:lnTo>
                <a:lnTo>
                  <a:pt x="427" y="263"/>
                </a:lnTo>
                <a:lnTo>
                  <a:pt x="424" y="266"/>
                </a:lnTo>
                <a:lnTo>
                  <a:pt x="397" y="401"/>
                </a:lnTo>
                <a:lnTo>
                  <a:pt x="329" y="387"/>
                </a:lnTo>
                <a:lnTo>
                  <a:pt x="233" y="364"/>
                </a:lnTo>
                <a:lnTo>
                  <a:pt x="130" y="338"/>
                </a:lnTo>
                <a:lnTo>
                  <a:pt x="8" y="304"/>
                </a:lnTo>
                <a:lnTo>
                  <a:pt x="7" y="304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/>
          <a:lstStyle>
            <a:defPPr>
              <a:defRPr lang="fr-FR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977051" y="3782979"/>
            <a:ext cx="512927" cy="579749"/>
          </a:xfrm>
          <a:custGeom>
            <a:avLst/>
            <a:gdLst>
              <a:gd name="T0" fmla="*/ 104 w 394"/>
              <a:gd name="T1" fmla="*/ 28 h 445"/>
              <a:gd name="T2" fmla="*/ 108 w 394"/>
              <a:gd name="T3" fmla="*/ 1 h 445"/>
              <a:gd name="T4" fmla="*/ 125 w 394"/>
              <a:gd name="T5" fmla="*/ 22 h 445"/>
              <a:gd name="T6" fmla="*/ 132 w 394"/>
              <a:gd name="T7" fmla="*/ 48 h 445"/>
              <a:gd name="T8" fmla="*/ 152 w 394"/>
              <a:gd name="T9" fmla="*/ 53 h 445"/>
              <a:gd name="T10" fmla="*/ 180 w 394"/>
              <a:gd name="T11" fmla="*/ 63 h 445"/>
              <a:gd name="T12" fmla="*/ 198 w 394"/>
              <a:gd name="T13" fmla="*/ 54 h 445"/>
              <a:gd name="T14" fmla="*/ 205 w 394"/>
              <a:gd name="T15" fmla="*/ 53 h 445"/>
              <a:gd name="T16" fmla="*/ 234 w 394"/>
              <a:gd name="T17" fmla="*/ 66 h 445"/>
              <a:gd name="T18" fmla="*/ 244 w 394"/>
              <a:gd name="T19" fmla="*/ 74 h 445"/>
              <a:gd name="T20" fmla="*/ 254 w 394"/>
              <a:gd name="T21" fmla="*/ 73 h 445"/>
              <a:gd name="T22" fmla="*/ 268 w 394"/>
              <a:gd name="T23" fmla="*/ 78 h 445"/>
              <a:gd name="T24" fmla="*/ 292 w 394"/>
              <a:gd name="T25" fmla="*/ 92 h 445"/>
              <a:gd name="T26" fmla="*/ 313 w 394"/>
              <a:gd name="T27" fmla="*/ 83 h 445"/>
              <a:gd name="T28" fmla="*/ 327 w 394"/>
              <a:gd name="T29" fmla="*/ 79 h 445"/>
              <a:gd name="T30" fmla="*/ 336 w 394"/>
              <a:gd name="T31" fmla="*/ 86 h 445"/>
              <a:gd name="T32" fmla="*/ 356 w 394"/>
              <a:gd name="T33" fmla="*/ 83 h 445"/>
              <a:gd name="T34" fmla="*/ 371 w 394"/>
              <a:gd name="T35" fmla="*/ 89 h 445"/>
              <a:gd name="T36" fmla="*/ 394 w 394"/>
              <a:gd name="T37" fmla="*/ 89 h 445"/>
              <a:gd name="T38" fmla="*/ 379 w 394"/>
              <a:gd name="T39" fmla="*/ 100 h 445"/>
              <a:gd name="T40" fmla="*/ 348 w 394"/>
              <a:gd name="T41" fmla="*/ 113 h 445"/>
              <a:gd name="T42" fmla="*/ 311 w 394"/>
              <a:gd name="T43" fmla="*/ 149 h 445"/>
              <a:gd name="T44" fmla="*/ 289 w 394"/>
              <a:gd name="T45" fmla="*/ 171 h 445"/>
              <a:gd name="T46" fmla="*/ 268 w 394"/>
              <a:gd name="T47" fmla="*/ 190 h 445"/>
              <a:gd name="T48" fmla="*/ 263 w 394"/>
              <a:gd name="T49" fmla="*/ 199 h 445"/>
              <a:gd name="T50" fmla="*/ 260 w 394"/>
              <a:gd name="T51" fmla="*/ 243 h 445"/>
              <a:gd name="T52" fmla="*/ 238 w 394"/>
              <a:gd name="T53" fmla="*/ 259 h 445"/>
              <a:gd name="T54" fmla="*/ 230 w 394"/>
              <a:gd name="T55" fmla="*/ 273 h 445"/>
              <a:gd name="T56" fmla="*/ 239 w 394"/>
              <a:gd name="T57" fmla="*/ 284 h 445"/>
              <a:gd name="T58" fmla="*/ 240 w 394"/>
              <a:gd name="T59" fmla="*/ 316 h 445"/>
              <a:gd name="T60" fmla="*/ 240 w 394"/>
              <a:gd name="T61" fmla="*/ 340 h 445"/>
              <a:gd name="T62" fmla="*/ 250 w 394"/>
              <a:gd name="T63" fmla="*/ 355 h 445"/>
              <a:gd name="T64" fmla="*/ 267 w 394"/>
              <a:gd name="T65" fmla="*/ 365 h 445"/>
              <a:gd name="T66" fmla="*/ 286 w 394"/>
              <a:gd name="T67" fmla="*/ 374 h 445"/>
              <a:gd name="T68" fmla="*/ 307 w 394"/>
              <a:gd name="T69" fmla="*/ 395 h 445"/>
              <a:gd name="T70" fmla="*/ 321 w 394"/>
              <a:gd name="T71" fmla="*/ 405 h 445"/>
              <a:gd name="T72" fmla="*/ 328 w 394"/>
              <a:gd name="T73" fmla="*/ 429 h 445"/>
              <a:gd name="T74" fmla="*/ 272 w 394"/>
              <a:gd name="T75" fmla="*/ 439 h 445"/>
              <a:gd name="T76" fmla="*/ 43 w 394"/>
              <a:gd name="T77" fmla="*/ 445 h 445"/>
              <a:gd name="T78" fmla="*/ 33 w 394"/>
              <a:gd name="T79" fmla="*/ 301 h 445"/>
              <a:gd name="T80" fmla="*/ 19 w 394"/>
              <a:gd name="T81" fmla="*/ 286 h 445"/>
              <a:gd name="T82" fmla="*/ 30 w 394"/>
              <a:gd name="T83" fmla="*/ 274 h 445"/>
              <a:gd name="T84" fmla="*/ 35 w 394"/>
              <a:gd name="T85" fmla="*/ 254 h 445"/>
              <a:gd name="T86" fmla="*/ 34 w 394"/>
              <a:gd name="T87" fmla="*/ 235 h 445"/>
              <a:gd name="T88" fmla="*/ 25 w 394"/>
              <a:gd name="T89" fmla="*/ 218 h 445"/>
              <a:gd name="T90" fmla="*/ 23 w 394"/>
              <a:gd name="T91" fmla="*/ 190 h 445"/>
              <a:gd name="T92" fmla="*/ 21 w 394"/>
              <a:gd name="T93" fmla="*/ 173 h 445"/>
              <a:gd name="T94" fmla="*/ 19 w 394"/>
              <a:gd name="T95" fmla="*/ 147 h 445"/>
              <a:gd name="T96" fmla="*/ 18 w 394"/>
              <a:gd name="T97" fmla="*/ 127 h 445"/>
              <a:gd name="T98" fmla="*/ 6 w 394"/>
              <a:gd name="T99" fmla="*/ 95 h 445"/>
              <a:gd name="T100" fmla="*/ 5 w 394"/>
              <a:gd name="T101" fmla="*/ 77 h 445"/>
              <a:gd name="T102" fmla="*/ 8 w 394"/>
              <a:gd name="T103" fmla="*/ 54 h 445"/>
              <a:gd name="T104" fmla="*/ 0 w 394"/>
              <a:gd name="T105" fmla="*/ 3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4" h="445">
                <a:moveTo>
                  <a:pt x="1" y="29"/>
                </a:moveTo>
                <a:lnTo>
                  <a:pt x="67" y="29"/>
                </a:lnTo>
                <a:lnTo>
                  <a:pt x="104" y="28"/>
                </a:lnTo>
                <a:lnTo>
                  <a:pt x="106" y="23"/>
                </a:lnTo>
                <a:lnTo>
                  <a:pt x="104" y="0"/>
                </a:lnTo>
                <a:lnTo>
                  <a:pt x="108" y="1"/>
                </a:lnTo>
                <a:lnTo>
                  <a:pt x="118" y="3"/>
                </a:lnTo>
                <a:lnTo>
                  <a:pt x="122" y="6"/>
                </a:lnTo>
                <a:lnTo>
                  <a:pt x="125" y="22"/>
                </a:lnTo>
                <a:lnTo>
                  <a:pt x="128" y="35"/>
                </a:lnTo>
                <a:lnTo>
                  <a:pt x="128" y="43"/>
                </a:lnTo>
                <a:lnTo>
                  <a:pt x="132" y="48"/>
                </a:lnTo>
                <a:lnTo>
                  <a:pt x="137" y="49"/>
                </a:lnTo>
                <a:lnTo>
                  <a:pt x="147" y="49"/>
                </a:lnTo>
                <a:lnTo>
                  <a:pt x="152" y="53"/>
                </a:lnTo>
                <a:lnTo>
                  <a:pt x="172" y="56"/>
                </a:lnTo>
                <a:lnTo>
                  <a:pt x="175" y="59"/>
                </a:lnTo>
                <a:lnTo>
                  <a:pt x="180" y="63"/>
                </a:lnTo>
                <a:lnTo>
                  <a:pt x="191" y="59"/>
                </a:lnTo>
                <a:lnTo>
                  <a:pt x="195" y="56"/>
                </a:lnTo>
                <a:lnTo>
                  <a:pt x="198" y="54"/>
                </a:lnTo>
                <a:lnTo>
                  <a:pt x="199" y="54"/>
                </a:lnTo>
                <a:lnTo>
                  <a:pt x="200" y="53"/>
                </a:lnTo>
                <a:lnTo>
                  <a:pt x="205" y="53"/>
                </a:lnTo>
                <a:lnTo>
                  <a:pt x="216" y="53"/>
                </a:lnTo>
                <a:lnTo>
                  <a:pt x="235" y="61"/>
                </a:lnTo>
                <a:lnTo>
                  <a:pt x="234" y="66"/>
                </a:lnTo>
                <a:lnTo>
                  <a:pt x="239" y="66"/>
                </a:lnTo>
                <a:lnTo>
                  <a:pt x="244" y="69"/>
                </a:lnTo>
                <a:lnTo>
                  <a:pt x="244" y="74"/>
                </a:lnTo>
                <a:lnTo>
                  <a:pt x="248" y="78"/>
                </a:lnTo>
                <a:lnTo>
                  <a:pt x="253" y="79"/>
                </a:lnTo>
                <a:lnTo>
                  <a:pt x="254" y="73"/>
                </a:lnTo>
                <a:lnTo>
                  <a:pt x="262" y="72"/>
                </a:lnTo>
                <a:lnTo>
                  <a:pt x="267" y="73"/>
                </a:lnTo>
                <a:lnTo>
                  <a:pt x="268" y="78"/>
                </a:lnTo>
                <a:lnTo>
                  <a:pt x="283" y="83"/>
                </a:lnTo>
                <a:lnTo>
                  <a:pt x="283" y="87"/>
                </a:lnTo>
                <a:lnTo>
                  <a:pt x="292" y="92"/>
                </a:lnTo>
                <a:lnTo>
                  <a:pt x="298" y="93"/>
                </a:lnTo>
                <a:lnTo>
                  <a:pt x="308" y="88"/>
                </a:lnTo>
                <a:lnTo>
                  <a:pt x="313" y="83"/>
                </a:lnTo>
                <a:lnTo>
                  <a:pt x="323" y="77"/>
                </a:lnTo>
                <a:lnTo>
                  <a:pt x="328" y="77"/>
                </a:lnTo>
                <a:lnTo>
                  <a:pt x="327" y="79"/>
                </a:lnTo>
                <a:lnTo>
                  <a:pt x="331" y="82"/>
                </a:lnTo>
                <a:lnTo>
                  <a:pt x="332" y="86"/>
                </a:lnTo>
                <a:lnTo>
                  <a:pt x="336" y="86"/>
                </a:lnTo>
                <a:lnTo>
                  <a:pt x="342" y="84"/>
                </a:lnTo>
                <a:lnTo>
                  <a:pt x="351" y="86"/>
                </a:lnTo>
                <a:lnTo>
                  <a:pt x="356" y="83"/>
                </a:lnTo>
                <a:lnTo>
                  <a:pt x="366" y="83"/>
                </a:lnTo>
                <a:lnTo>
                  <a:pt x="371" y="87"/>
                </a:lnTo>
                <a:lnTo>
                  <a:pt x="371" y="89"/>
                </a:lnTo>
                <a:lnTo>
                  <a:pt x="376" y="91"/>
                </a:lnTo>
                <a:lnTo>
                  <a:pt x="381" y="89"/>
                </a:lnTo>
                <a:lnTo>
                  <a:pt x="394" y="89"/>
                </a:lnTo>
                <a:lnTo>
                  <a:pt x="389" y="92"/>
                </a:lnTo>
                <a:lnTo>
                  <a:pt x="384" y="97"/>
                </a:lnTo>
                <a:lnTo>
                  <a:pt x="379" y="100"/>
                </a:lnTo>
                <a:lnTo>
                  <a:pt x="364" y="108"/>
                </a:lnTo>
                <a:lnTo>
                  <a:pt x="359" y="110"/>
                </a:lnTo>
                <a:lnTo>
                  <a:pt x="348" y="113"/>
                </a:lnTo>
                <a:lnTo>
                  <a:pt x="333" y="122"/>
                </a:lnTo>
                <a:lnTo>
                  <a:pt x="316" y="141"/>
                </a:lnTo>
                <a:lnTo>
                  <a:pt x="311" y="149"/>
                </a:lnTo>
                <a:lnTo>
                  <a:pt x="298" y="162"/>
                </a:lnTo>
                <a:lnTo>
                  <a:pt x="292" y="167"/>
                </a:lnTo>
                <a:lnTo>
                  <a:pt x="289" y="171"/>
                </a:lnTo>
                <a:lnTo>
                  <a:pt x="284" y="175"/>
                </a:lnTo>
                <a:lnTo>
                  <a:pt x="270" y="186"/>
                </a:lnTo>
                <a:lnTo>
                  <a:pt x="268" y="190"/>
                </a:lnTo>
                <a:lnTo>
                  <a:pt x="267" y="193"/>
                </a:lnTo>
                <a:lnTo>
                  <a:pt x="265" y="194"/>
                </a:lnTo>
                <a:lnTo>
                  <a:pt x="263" y="199"/>
                </a:lnTo>
                <a:lnTo>
                  <a:pt x="259" y="199"/>
                </a:lnTo>
                <a:lnTo>
                  <a:pt x="260" y="238"/>
                </a:lnTo>
                <a:lnTo>
                  <a:pt x="260" y="243"/>
                </a:lnTo>
                <a:lnTo>
                  <a:pt x="258" y="248"/>
                </a:lnTo>
                <a:lnTo>
                  <a:pt x="248" y="253"/>
                </a:lnTo>
                <a:lnTo>
                  <a:pt x="238" y="259"/>
                </a:lnTo>
                <a:lnTo>
                  <a:pt x="237" y="264"/>
                </a:lnTo>
                <a:lnTo>
                  <a:pt x="234" y="269"/>
                </a:lnTo>
                <a:lnTo>
                  <a:pt x="230" y="273"/>
                </a:lnTo>
                <a:lnTo>
                  <a:pt x="230" y="278"/>
                </a:lnTo>
                <a:lnTo>
                  <a:pt x="234" y="283"/>
                </a:lnTo>
                <a:lnTo>
                  <a:pt x="239" y="284"/>
                </a:lnTo>
                <a:lnTo>
                  <a:pt x="244" y="295"/>
                </a:lnTo>
                <a:lnTo>
                  <a:pt x="239" y="307"/>
                </a:lnTo>
                <a:lnTo>
                  <a:pt x="240" y="316"/>
                </a:lnTo>
                <a:lnTo>
                  <a:pt x="238" y="321"/>
                </a:lnTo>
                <a:lnTo>
                  <a:pt x="240" y="331"/>
                </a:lnTo>
                <a:lnTo>
                  <a:pt x="240" y="340"/>
                </a:lnTo>
                <a:lnTo>
                  <a:pt x="238" y="345"/>
                </a:lnTo>
                <a:lnTo>
                  <a:pt x="245" y="351"/>
                </a:lnTo>
                <a:lnTo>
                  <a:pt x="250" y="355"/>
                </a:lnTo>
                <a:lnTo>
                  <a:pt x="255" y="357"/>
                </a:lnTo>
                <a:lnTo>
                  <a:pt x="264" y="359"/>
                </a:lnTo>
                <a:lnTo>
                  <a:pt x="267" y="365"/>
                </a:lnTo>
                <a:lnTo>
                  <a:pt x="272" y="367"/>
                </a:lnTo>
                <a:lnTo>
                  <a:pt x="278" y="370"/>
                </a:lnTo>
                <a:lnTo>
                  <a:pt x="286" y="374"/>
                </a:lnTo>
                <a:lnTo>
                  <a:pt x="292" y="385"/>
                </a:lnTo>
                <a:lnTo>
                  <a:pt x="302" y="393"/>
                </a:lnTo>
                <a:lnTo>
                  <a:pt x="307" y="395"/>
                </a:lnTo>
                <a:lnTo>
                  <a:pt x="311" y="396"/>
                </a:lnTo>
                <a:lnTo>
                  <a:pt x="316" y="400"/>
                </a:lnTo>
                <a:lnTo>
                  <a:pt x="321" y="405"/>
                </a:lnTo>
                <a:lnTo>
                  <a:pt x="325" y="410"/>
                </a:lnTo>
                <a:lnTo>
                  <a:pt x="327" y="424"/>
                </a:lnTo>
                <a:lnTo>
                  <a:pt x="328" y="429"/>
                </a:lnTo>
                <a:lnTo>
                  <a:pt x="327" y="430"/>
                </a:lnTo>
                <a:lnTo>
                  <a:pt x="330" y="437"/>
                </a:lnTo>
                <a:lnTo>
                  <a:pt x="272" y="439"/>
                </a:lnTo>
                <a:lnTo>
                  <a:pt x="194" y="443"/>
                </a:lnTo>
                <a:lnTo>
                  <a:pt x="99" y="445"/>
                </a:lnTo>
                <a:lnTo>
                  <a:pt x="43" y="445"/>
                </a:lnTo>
                <a:lnTo>
                  <a:pt x="42" y="308"/>
                </a:lnTo>
                <a:lnTo>
                  <a:pt x="38" y="303"/>
                </a:lnTo>
                <a:lnTo>
                  <a:pt x="33" y="301"/>
                </a:lnTo>
                <a:lnTo>
                  <a:pt x="29" y="301"/>
                </a:lnTo>
                <a:lnTo>
                  <a:pt x="23" y="291"/>
                </a:lnTo>
                <a:lnTo>
                  <a:pt x="19" y="286"/>
                </a:lnTo>
                <a:lnTo>
                  <a:pt x="20" y="282"/>
                </a:lnTo>
                <a:lnTo>
                  <a:pt x="25" y="278"/>
                </a:lnTo>
                <a:lnTo>
                  <a:pt x="30" y="274"/>
                </a:lnTo>
                <a:lnTo>
                  <a:pt x="33" y="269"/>
                </a:lnTo>
                <a:lnTo>
                  <a:pt x="35" y="259"/>
                </a:lnTo>
                <a:lnTo>
                  <a:pt x="35" y="254"/>
                </a:lnTo>
                <a:lnTo>
                  <a:pt x="35" y="250"/>
                </a:lnTo>
                <a:lnTo>
                  <a:pt x="34" y="240"/>
                </a:lnTo>
                <a:lnTo>
                  <a:pt x="34" y="235"/>
                </a:lnTo>
                <a:lnTo>
                  <a:pt x="33" y="230"/>
                </a:lnTo>
                <a:lnTo>
                  <a:pt x="28" y="223"/>
                </a:lnTo>
                <a:lnTo>
                  <a:pt x="25" y="218"/>
                </a:lnTo>
                <a:lnTo>
                  <a:pt x="26" y="213"/>
                </a:lnTo>
                <a:lnTo>
                  <a:pt x="24" y="208"/>
                </a:lnTo>
                <a:lnTo>
                  <a:pt x="23" y="190"/>
                </a:lnTo>
                <a:lnTo>
                  <a:pt x="24" y="185"/>
                </a:lnTo>
                <a:lnTo>
                  <a:pt x="21" y="180"/>
                </a:lnTo>
                <a:lnTo>
                  <a:pt x="21" y="173"/>
                </a:lnTo>
                <a:lnTo>
                  <a:pt x="20" y="162"/>
                </a:lnTo>
                <a:lnTo>
                  <a:pt x="20" y="152"/>
                </a:lnTo>
                <a:lnTo>
                  <a:pt x="19" y="147"/>
                </a:lnTo>
                <a:lnTo>
                  <a:pt x="20" y="144"/>
                </a:lnTo>
                <a:lnTo>
                  <a:pt x="20" y="139"/>
                </a:lnTo>
                <a:lnTo>
                  <a:pt x="18" y="127"/>
                </a:lnTo>
                <a:lnTo>
                  <a:pt x="11" y="113"/>
                </a:lnTo>
                <a:lnTo>
                  <a:pt x="11" y="111"/>
                </a:lnTo>
                <a:lnTo>
                  <a:pt x="6" y="95"/>
                </a:lnTo>
                <a:lnTo>
                  <a:pt x="5" y="89"/>
                </a:lnTo>
                <a:lnTo>
                  <a:pt x="6" y="79"/>
                </a:lnTo>
                <a:lnTo>
                  <a:pt x="5" y="77"/>
                </a:lnTo>
                <a:lnTo>
                  <a:pt x="6" y="73"/>
                </a:lnTo>
                <a:lnTo>
                  <a:pt x="4" y="63"/>
                </a:lnTo>
                <a:lnTo>
                  <a:pt x="8" y="54"/>
                </a:lnTo>
                <a:lnTo>
                  <a:pt x="5" y="49"/>
                </a:lnTo>
                <a:lnTo>
                  <a:pt x="3" y="35"/>
                </a:lnTo>
                <a:lnTo>
                  <a:pt x="0" y="32"/>
                </a:lnTo>
                <a:lnTo>
                  <a:pt x="0" y="32"/>
                </a:lnTo>
                <a:lnTo>
                  <a:pt x="1" y="29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/>
          <a:lstStyle>
            <a:defPPr>
              <a:defRPr lang="fr-FR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940079" y="1392525"/>
            <a:ext cx="499786" cy="459133"/>
          </a:xfrm>
          <a:custGeom>
            <a:avLst/>
            <a:gdLst>
              <a:gd name="T0" fmla="*/ 60 w 302"/>
              <a:gd name="T1" fmla="*/ 10 h 278"/>
              <a:gd name="T2" fmla="*/ 267 w 302"/>
              <a:gd name="T3" fmla="*/ 0 h 278"/>
              <a:gd name="T4" fmla="*/ 274 w 302"/>
              <a:gd name="T5" fmla="*/ 6 h 278"/>
              <a:gd name="T6" fmla="*/ 276 w 302"/>
              <a:gd name="T7" fmla="*/ 16 h 278"/>
              <a:gd name="T8" fmla="*/ 267 w 302"/>
              <a:gd name="T9" fmla="*/ 23 h 278"/>
              <a:gd name="T10" fmla="*/ 262 w 302"/>
              <a:gd name="T11" fmla="*/ 34 h 278"/>
              <a:gd name="T12" fmla="*/ 298 w 302"/>
              <a:gd name="T13" fmla="*/ 35 h 278"/>
              <a:gd name="T14" fmla="*/ 302 w 302"/>
              <a:gd name="T15" fmla="*/ 42 h 278"/>
              <a:gd name="T16" fmla="*/ 299 w 302"/>
              <a:gd name="T17" fmla="*/ 50 h 278"/>
              <a:gd name="T18" fmla="*/ 289 w 302"/>
              <a:gd name="T19" fmla="*/ 56 h 278"/>
              <a:gd name="T20" fmla="*/ 287 w 302"/>
              <a:gd name="T21" fmla="*/ 60 h 278"/>
              <a:gd name="T22" fmla="*/ 287 w 302"/>
              <a:gd name="T23" fmla="*/ 67 h 278"/>
              <a:gd name="T24" fmla="*/ 282 w 302"/>
              <a:gd name="T25" fmla="*/ 73 h 278"/>
              <a:gd name="T26" fmla="*/ 283 w 302"/>
              <a:gd name="T27" fmla="*/ 81 h 278"/>
              <a:gd name="T28" fmla="*/ 276 w 302"/>
              <a:gd name="T29" fmla="*/ 80 h 278"/>
              <a:gd name="T30" fmla="*/ 279 w 302"/>
              <a:gd name="T31" fmla="*/ 84 h 278"/>
              <a:gd name="T32" fmla="*/ 282 w 302"/>
              <a:gd name="T33" fmla="*/ 101 h 278"/>
              <a:gd name="T34" fmla="*/ 276 w 302"/>
              <a:gd name="T35" fmla="*/ 105 h 278"/>
              <a:gd name="T36" fmla="*/ 269 w 302"/>
              <a:gd name="T37" fmla="*/ 113 h 278"/>
              <a:gd name="T38" fmla="*/ 270 w 302"/>
              <a:gd name="T39" fmla="*/ 115 h 278"/>
              <a:gd name="T40" fmla="*/ 267 w 302"/>
              <a:gd name="T41" fmla="*/ 125 h 278"/>
              <a:gd name="T42" fmla="*/ 259 w 302"/>
              <a:gd name="T43" fmla="*/ 124 h 278"/>
              <a:gd name="T44" fmla="*/ 257 w 302"/>
              <a:gd name="T45" fmla="*/ 135 h 278"/>
              <a:gd name="T46" fmla="*/ 255 w 302"/>
              <a:gd name="T47" fmla="*/ 137 h 278"/>
              <a:gd name="T48" fmla="*/ 255 w 302"/>
              <a:gd name="T49" fmla="*/ 142 h 278"/>
              <a:gd name="T50" fmla="*/ 254 w 302"/>
              <a:gd name="T51" fmla="*/ 145 h 278"/>
              <a:gd name="T52" fmla="*/ 254 w 302"/>
              <a:gd name="T53" fmla="*/ 153 h 278"/>
              <a:gd name="T54" fmla="*/ 252 w 302"/>
              <a:gd name="T55" fmla="*/ 163 h 278"/>
              <a:gd name="T56" fmla="*/ 244 w 302"/>
              <a:gd name="T57" fmla="*/ 164 h 278"/>
              <a:gd name="T58" fmla="*/ 240 w 302"/>
              <a:gd name="T59" fmla="*/ 173 h 278"/>
              <a:gd name="T60" fmla="*/ 234 w 302"/>
              <a:gd name="T61" fmla="*/ 174 h 278"/>
              <a:gd name="T62" fmla="*/ 235 w 302"/>
              <a:gd name="T63" fmla="*/ 179 h 278"/>
              <a:gd name="T64" fmla="*/ 238 w 302"/>
              <a:gd name="T65" fmla="*/ 190 h 278"/>
              <a:gd name="T66" fmla="*/ 229 w 302"/>
              <a:gd name="T67" fmla="*/ 197 h 278"/>
              <a:gd name="T68" fmla="*/ 229 w 302"/>
              <a:gd name="T69" fmla="*/ 207 h 278"/>
              <a:gd name="T70" fmla="*/ 223 w 302"/>
              <a:gd name="T71" fmla="*/ 210 h 278"/>
              <a:gd name="T72" fmla="*/ 228 w 302"/>
              <a:gd name="T73" fmla="*/ 215 h 278"/>
              <a:gd name="T74" fmla="*/ 221 w 302"/>
              <a:gd name="T75" fmla="*/ 216 h 278"/>
              <a:gd name="T76" fmla="*/ 223 w 302"/>
              <a:gd name="T77" fmla="*/ 222 h 278"/>
              <a:gd name="T78" fmla="*/ 220 w 302"/>
              <a:gd name="T79" fmla="*/ 231 h 278"/>
              <a:gd name="T80" fmla="*/ 223 w 302"/>
              <a:gd name="T81" fmla="*/ 231 h 278"/>
              <a:gd name="T82" fmla="*/ 220 w 302"/>
              <a:gd name="T83" fmla="*/ 237 h 278"/>
              <a:gd name="T84" fmla="*/ 226 w 302"/>
              <a:gd name="T85" fmla="*/ 239 h 278"/>
              <a:gd name="T86" fmla="*/ 226 w 302"/>
              <a:gd name="T87" fmla="*/ 249 h 278"/>
              <a:gd name="T88" fmla="*/ 229 w 302"/>
              <a:gd name="T89" fmla="*/ 257 h 278"/>
              <a:gd name="T90" fmla="*/ 224 w 302"/>
              <a:gd name="T91" fmla="*/ 259 h 278"/>
              <a:gd name="T92" fmla="*/ 224 w 302"/>
              <a:gd name="T93" fmla="*/ 269 h 278"/>
              <a:gd name="T94" fmla="*/ 43 w 302"/>
              <a:gd name="T95" fmla="*/ 278 h 278"/>
              <a:gd name="T96" fmla="*/ 26 w 302"/>
              <a:gd name="T97" fmla="*/ 234 h 278"/>
              <a:gd name="T98" fmla="*/ 16 w 302"/>
              <a:gd name="T99" fmla="*/ 234 h 278"/>
              <a:gd name="T100" fmla="*/ 14 w 302"/>
              <a:gd name="T101" fmla="*/ 230 h 278"/>
              <a:gd name="T102" fmla="*/ 11 w 302"/>
              <a:gd name="T103" fmla="*/ 76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02" h="278">
                <a:moveTo>
                  <a:pt x="0" y="12"/>
                </a:moveTo>
                <a:lnTo>
                  <a:pt x="60" y="10"/>
                </a:lnTo>
                <a:lnTo>
                  <a:pt x="156" y="6"/>
                </a:lnTo>
                <a:lnTo>
                  <a:pt x="267" y="0"/>
                </a:lnTo>
                <a:lnTo>
                  <a:pt x="270" y="2"/>
                </a:lnTo>
                <a:lnTo>
                  <a:pt x="274" y="6"/>
                </a:lnTo>
                <a:lnTo>
                  <a:pt x="276" y="11"/>
                </a:lnTo>
                <a:lnTo>
                  <a:pt x="276" y="16"/>
                </a:lnTo>
                <a:lnTo>
                  <a:pt x="272" y="21"/>
                </a:lnTo>
                <a:lnTo>
                  <a:pt x="267" y="23"/>
                </a:lnTo>
                <a:lnTo>
                  <a:pt x="263" y="28"/>
                </a:lnTo>
                <a:lnTo>
                  <a:pt x="262" y="34"/>
                </a:lnTo>
                <a:lnTo>
                  <a:pt x="263" y="39"/>
                </a:lnTo>
                <a:lnTo>
                  <a:pt x="298" y="35"/>
                </a:lnTo>
                <a:lnTo>
                  <a:pt x="301" y="37"/>
                </a:lnTo>
                <a:lnTo>
                  <a:pt x="302" y="42"/>
                </a:lnTo>
                <a:lnTo>
                  <a:pt x="296" y="45"/>
                </a:lnTo>
                <a:lnTo>
                  <a:pt x="299" y="50"/>
                </a:lnTo>
                <a:lnTo>
                  <a:pt x="294" y="54"/>
                </a:lnTo>
                <a:lnTo>
                  <a:pt x="289" y="56"/>
                </a:lnTo>
                <a:lnTo>
                  <a:pt x="287" y="59"/>
                </a:lnTo>
                <a:lnTo>
                  <a:pt x="287" y="60"/>
                </a:lnTo>
                <a:lnTo>
                  <a:pt x="291" y="64"/>
                </a:lnTo>
                <a:lnTo>
                  <a:pt x="287" y="67"/>
                </a:lnTo>
                <a:lnTo>
                  <a:pt x="286" y="70"/>
                </a:lnTo>
                <a:lnTo>
                  <a:pt x="282" y="73"/>
                </a:lnTo>
                <a:lnTo>
                  <a:pt x="284" y="76"/>
                </a:lnTo>
                <a:lnTo>
                  <a:pt x="283" y="81"/>
                </a:lnTo>
                <a:lnTo>
                  <a:pt x="281" y="78"/>
                </a:lnTo>
                <a:lnTo>
                  <a:pt x="276" y="80"/>
                </a:lnTo>
                <a:lnTo>
                  <a:pt x="276" y="85"/>
                </a:lnTo>
                <a:lnTo>
                  <a:pt x="279" y="84"/>
                </a:lnTo>
                <a:lnTo>
                  <a:pt x="279" y="89"/>
                </a:lnTo>
                <a:lnTo>
                  <a:pt x="282" y="101"/>
                </a:lnTo>
                <a:lnTo>
                  <a:pt x="281" y="104"/>
                </a:lnTo>
                <a:lnTo>
                  <a:pt x="276" y="105"/>
                </a:lnTo>
                <a:lnTo>
                  <a:pt x="274" y="110"/>
                </a:lnTo>
                <a:lnTo>
                  <a:pt x="269" y="113"/>
                </a:lnTo>
                <a:lnTo>
                  <a:pt x="268" y="114"/>
                </a:lnTo>
                <a:lnTo>
                  <a:pt x="270" y="115"/>
                </a:lnTo>
                <a:lnTo>
                  <a:pt x="272" y="120"/>
                </a:lnTo>
                <a:lnTo>
                  <a:pt x="267" y="125"/>
                </a:lnTo>
                <a:lnTo>
                  <a:pt x="262" y="128"/>
                </a:lnTo>
                <a:lnTo>
                  <a:pt x="259" y="124"/>
                </a:lnTo>
                <a:lnTo>
                  <a:pt x="260" y="135"/>
                </a:lnTo>
                <a:lnTo>
                  <a:pt x="257" y="135"/>
                </a:lnTo>
                <a:lnTo>
                  <a:pt x="255" y="130"/>
                </a:lnTo>
                <a:lnTo>
                  <a:pt x="255" y="137"/>
                </a:lnTo>
                <a:lnTo>
                  <a:pt x="260" y="140"/>
                </a:lnTo>
                <a:lnTo>
                  <a:pt x="255" y="142"/>
                </a:lnTo>
                <a:lnTo>
                  <a:pt x="254" y="138"/>
                </a:lnTo>
                <a:lnTo>
                  <a:pt x="254" y="145"/>
                </a:lnTo>
                <a:lnTo>
                  <a:pt x="257" y="148"/>
                </a:lnTo>
                <a:lnTo>
                  <a:pt x="254" y="153"/>
                </a:lnTo>
                <a:lnTo>
                  <a:pt x="255" y="157"/>
                </a:lnTo>
                <a:lnTo>
                  <a:pt x="252" y="163"/>
                </a:lnTo>
                <a:lnTo>
                  <a:pt x="248" y="164"/>
                </a:lnTo>
                <a:lnTo>
                  <a:pt x="244" y="164"/>
                </a:lnTo>
                <a:lnTo>
                  <a:pt x="244" y="168"/>
                </a:lnTo>
                <a:lnTo>
                  <a:pt x="240" y="173"/>
                </a:lnTo>
                <a:lnTo>
                  <a:pt x="239" y="176"/>
                </a:lnTo>
                <a:lnTo>
                  <a:pt x="234" y="174"/>
                </a:lnTo>
                <a:lnTo>
                  <a:pt x="238" y="178"/>
                </a:lnTo>
                <a:lnTo>
                  <a:pt x="235" y="179"/>
                </a:lnTo>
                <a:lnTo>
                  <a:pt x="235" y="184"/>
                </a:lnTo>
                <a:lnTo>
                  <a:pt x="238" y="190"/>
                </a:lnTo>
                <a:lnTo>
                  <a:pt x="225" y="195"/>
                </a:lnTo>
                <a:lnTo>
                  <a:pt x="229" y="197"/>
                </a:lnTo>
                <a:lnTo>
                  <a:pt x="228" y="202"/>
                </a:lnTo>
                <a:lnTo>
                  <a:pt x="229" y="207"/>
                </a:lnTo>
                <a:lnTo>
                  <a:pt x="228" y="210"/>
                </a:lnTo>
                <a:lnTo>
                  <a:pt x="223" y="210"/>
                </a:lnTo>
                <a:lnTo>
                  <a:pt x="223" y="213"/>
                </a:lnTo>
                <a:lnTo>
                  <a:pt x="228" y="215"/>
                </a:lnTo>
                <a:lnTo>
                  <a:pt x="223" y="217"/>
                </a:lnTo>
                <a:lnTo>
                  <a:pt x="221" y="216"/>
                </a:lnTo>
                <a:lnTo>
                  <a:pt x="219" y="217"/>
                </a:lnTo>
                <a:lnTo>
                  <a:pt x="223" y="222"/>
                </a:lnTo>
                <a:lnTo>
                  <a:pt x="218" y="226"/>
                </a:lnTo>
                <a:lnTo>
                  <a:pt x="220" y="231"/>
                </a:lnTo>
                <a:lnTo>
                  <a:pt x="218" y="236"/>
                </a:lnTo>
                <a:lnTo>
                  <a:pt x="223" y="231"/>
                </a:lnTo>
                <a:lnTo>
                  <a:pt x="225" y="235"/>
                </a:lnTo>
                <a:lnTo>
                  <a:pt x="220" y="237"/>
                </a:lnTo>
                <a:lnTo>
                  <a:pt x="225" y="240"/>
                </a:lnTo>
                <a:lnTo>
                  <a:pt x="226" y="239"/>
                </a:lnTo>
                <a:lnTo>
                  <a:pt x="224" y="244"/>
                </a:lnTo>
                <a:lnTo>
                  <a:pt x="226" y="249"/>
                </a:lnTo>
                <a:lnTo>
                  <a:pt x="228" y="250"/>
                </a:lnTo>
                <a:lnTo>
                  <a:pt x="229" y="257"/>
                </a:lnTo>
                <a:lnTo>
                  <a:pt x="229" y="259"/>
                </a:lnTo>
                <a:lnTo>
                  <a:pt x="224" y="259"/>
                </a:lnTo>
                <a:lnTo>
                  <a:pt x="225" y="262"/>
                </a:lnTo>
                <a:lnTo>
                  <a:pt x="224" y="269"/>
                </a:lnTo>
                <a:lnTo>
                  <a:pt x="122" y="275"/>
                </a:lnTo>
                <a:lnTo>
                  <a:pt x="43" y="278"/>
                </a:lnTo>
                <a:lnTo>
                  <a:pt x="42" y="236"/>
                </a:lnTo>
                <a:lnTo>
                  <a:pt x="26" y="234"/>
                </a:lnTo>
                <a:lnTo>
                  <a:pt x="21" y="237"/>
                </a:lnTo>
                <a:lnTo>
                  <a:pt x="16" y="234"/>
                </a:lnTo>
                <a:lnTo>
                  <a:pt x="16" y="231"/>
                </a:lnTo>
                <a:lnTo>
                  <a:pt x="14" y="230"/>
                </a:lnTo>
                <a:lnTo>
                  <a:pt x="13" y="96"/>
                </a:lnTo>
                <a:lnTo>
                  <a:pt x="11" y="76"/>
                </a:lnTo>
                <a:lnTo>
                  <a:pt x="0" y="1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/>
          <a:lstStyle>
            <a:defPPr>
              <a:defRPr lang="fr-FR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1072366" y="5422539"/>
            <a:ext cx="177157" cy="338910"/>
          </a:xfrm>
          <a:custGeom>
            <a:avLst/>
            <a:gdLst>
              <a:gd name="T0" fmla="*/ 0 w 100"/>
              <a:gd name="T1" fmla="*/ 25 h 191"/>
              <a:gd name="T2" fmla="*/ 17 w 100"/>
              <a:gd name="T3" fmla="*/ 20 h 191"/>
              <a:gd name="T4" fmla="*/ 95 w 100"/>
              <a:gd name="T5" fmla="*/ 0 h 191"/>
              <a:gd name="T6" fmla="*/ 94 w 100"/>
              <a:gd name="T7" fmla="*/ 1 h 191"/>
              <a:gd name="T8" fmla="*/ 97 w 100"/>
              <a:gd name="T9" fmla="*/ 9 h 191"/>
              <a:gd name="T10" fmla="*/ 94 w 100"/>
              <a:gd name="T11" fmla="*/ 19 h 191"/>
              <a:gd name="T12" fmla="*/ 95 w 100"/>
              <a:gd name="T13" fmla="*/ 24 h 191"/>
              <a:gd name="T14" fmla="*/ 99 w 100"/>
              <a:gd name="T15" fmla="*/ 29 h 191"/>
              <a:gd name="T16" fmla="*/ 100 w 100"/>
              <a:gd name="T17" fmla="*/ 33 h 191"/>
              <a:gd name="T18" fmla="*/ 100 w 100"/>
              <a:gd name="T19" fmla="*/ 38 h 191"/>
              <a:gd name="T20" fmla="*/ 97 w 100"/>
              <a:gd name="T21" fmla="*/ 45 h 191"/>
              <a:gd name="T22" fmla="*/ 88 w 100"/>
              <a:gd name="T23" fmla="*/ 54 h 191"/>
              <a:gd name="T24" fmla="*/ 87 w 100"/>
              <a:gd name="T25" fmla="*/ 55 h 191"/>
              <a:gd name="T26" fmla="*/ 82 w 100"/>
              <a:gd name="T27" fmla="*/ 59 h 191"/>
              <a:gd name="T28" fmla="*/ 82 w 100"/>
              <a:gd name="T29" fmla="*/ 64 h 191"/>
              <a:gd name="T30" fmla="*/ 85 w 100"/>
              <a:gd name="T31" fmla="*/ 74 h 191"/>
              <a:gd name="T32" fmla="*/ 83 w 100"/>
              <a:gd name="T33" fmla="*/ 83 h 191"/>
              <a:gd name="T34" fmla="*/ 84 w 100"/>
              <a:gd name="T35" fmla="*/ 88 h 191"/>
              <a:gd name="T36" fmla="*/ 82 w 100"/>
              <a:gd name="T37" fmla="*/ 93 h 191"/>
              <a:gd name="T38" fmla="*/ 83 w 100"/>
              <a:gd name="T39" fmla="*/ 98 h 191"/>
              <a:gd name="T40" fmla="*/ 82 w 100"/>
              <a:gd name="T41" fmla="*/ 103 h 191"/>
              <a:gd name="T42" fmla="*/ 78 w 100"/>
              <a:gd name="T43" fmla="*/ 108 h 191"/>
              <a:gd name="T44" fmla="*/ 79 w 100"/>
              <a:gd name="T45" fmla="*/ 116 h 191"/>
              <a:gd name="T46" fmla="*/ 77 w 100"/>
              <a:gd name="T47" fmla="*/ 119 h 191"/>
              <a:gd name="T48" fmla="*/ 82 w 100"/>
              <a:gd name="T49" fmla="*/ 137 h 191"/>
              <a:gd name="T50" fmla="*/ 82 w 100"/>
              <a:gd name="T51" fmla="*/ 147 h 191"/>
              <a:gd name="T52" fmla="*/ 84 w 100"/>
              <a:gd name="T53" fmla="*/ 161 h 191"/>
              <a:gd name="T54" fmla="*/ 82 w 100"/>
              <a:gd name="T55" fmla="*/ 166 h 191"/>
              <a:gd name="T56" fmla="*/ 82 w 100"/>
              <a:gd name="T57" fmla="*/ 171 h 191"/>
              <a:gd name="T58" fmla="*/ 84 w 100"/>
              <a:gd name="T59" fmla="*/ 177 h 191"/>
              <a:gd name="T60" fmla="*/ 89 w 100"/>
              <a:gd name="T61" fmla="*/ 181 h 191"/>
              <a:gd name="T62" fmla="*/ 46 w 100"/>
              <a:gd name="T63" fmla="*/ 191 h 191"/>
              <a:gd name="T64" fmla="*/ 44 w 100"/>
              <a:gd name="T65" fmla="*/ 186 h 191"/>
              <a:gd name="T66" fmla="*/ 44 w 100"/>
              <a:gd name="T67" fmla="*/ 182 h 191"/>
              <a:gd name="T68" fmla="*/ 33 w 100"/>
              <a:gd name="T69" fmla="*/ 133 h 191"/>
              <a:gd name="T70" fmla="*/ 25 w 100"/>
              <a:gd name="T71" fmla="*/ 127 h 191"/>
              <a:gd name="T72" fmla="*/ 24 w 100"/>
              <a:gd name="T73" fmla="*/ 132 h 191"/>
              <a:gd name="T74" fmla="*/ 21 w 100"/>
              <a:gd name="T75" fmla="*/ 127 h 191"/>
              <a:gd name="T76" fmla="*/ 21 w 100"/>
              <a:gd name="T77" fmla="*/ 119 h 191"/>
              <a:gd name="T78" fmla="*/ 19 w 100"/>
              <a:gd name="T79" fmla="*/ 109 h 191"/>
              <a:gd name="T80" fmla="*/ 16 w 100"/>
              <a:gd name="T81" fmla="*/ 104 h 191"/>
              <a:gd name="T82" fmla="*/ 12 w 100"/>
              <a:gd name="T83" fmla="*/ 94 h 191"/>
              <a:gd name="T84" fmla="*/ 12 w 100"/>
              <a:gd name="T85" fmla="*/ 84 h 191"/>
              <a:gd name="T86" fmla="*/ 15 w 100"/>
              <a:gd name="T87" fmla="*/ 83 h 191"/>
              <a:gd name="T88" fmla="*/ 14 w 100"/>
              <a:gd name="T89" fmla="*/ 78 h 191"/>
              <a:gd name="T90" fmla="*/ 12 w 100"/>
              <a:gd name="T91" fmla="*/ 73 h 191"/>
              <a:gd name="T92" fmla="*/ 12 w 100"/>
              <a:gd name="T93" fmla="*/ 68 h 191"/>
              <a:gd name="T94" fmla="*/ 11 w 100"/>
              <a:gd name="T95" fmla="*/ 63 h 191"/>
              <a:gd name="T96" fmla="*/ 6 w 100"/>
              <a:gd name="T97" fmla="*/ 58 h 191"/>
              <a:gd name="T98" fmla="*/ 5 w 100"/>
              <a:gd name="T99" fmla="*/ 53 h 191"/>
              <a:gd name="T100" fmla="*/ 5 w 100"/>
              <a:gd name="T101" fmla="*/ 41 h 191"/>
              <a:gd name="T102" fmla="*/ 1 w 100"/>
              <a:gd name="T103" fmla="*/ 36 h 191"/>
              <a:gd name="T104" fmla="*/ 1 w 100"/>
              <a:gd name="T105" fmla="*/ 31 h 191"/>
              <a:gd name="T106" fmla="*/ 0 w 100"/>
              <a:gd name="T107" fmla="*/ 28 h 191"/>
              <a:gd name="T108" fmla="*/ 0 w 100"/>
              <a:gd name="T109" fmla="*/ 25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0" h="191">
                <a:moveTo>
                  <a:pt x="0" y="25"/>
                </a:moveTo>
                <a:lnTo>
                  <a:pt x="17" y="20"/>
                </a:lnTo>
                <a:lnTo>
                  <a:pt x="95" y="0"/>
                </a:lnTo>
                <a:lnTo>
                  <a:pt x="94" y="1"/>
                </a:lnTo>
                <a:lnTo>
                  <a:pt x="97" y="9"/>
                </a:lnTo>
                <a:lnTo>
                  <a:pt x="94" y="19"/>
                </a:lnTo>
                <a:lnTo>
                  <a:pt x="95" y="24"/>
                </a:lnTo>
                <a:lnTo>
                  <a:pt x="99" y="29"/>
                </a:lnTo>
                <a:lnTo>
                  <a:pt x="100" y="33"/>
                </a:lnTo>
                <a:lnTo>
                  <a:pt x="100" y="38"/>
                </a:lnTo>
                <a:lnTo>
                  <a:pt x="97" y="45"/>
                </a:lnTo>
                <a:lnTo>
                  <a:pt x="88" y="54"/>
                </a:lnTo>
                <a:lnTo>
                  <a:pt x="87" y="55"/>
                </a:lnTo>
                <a:lnTo>
                  <a:pt x="82" y="59"/>
                </a:lnTo>
                <a:lnTo>
                  <a:pt x="82" y="64"/>
                </a:lnTo>
                <a:lnTo>
                  <a:pt x="85" y="74"/>
                </a:lnTo>
                <a:lnTo>
                  <a:pt x="83" y="83"/>
                </a:lnTo>
                <a:lnTo>
                  <a:pt x="84" y="88"/>
                </a:lnTo>
                <a:lnTo>
                  <a:pt x="82" y="93"/>
                </a:lnTo>
                <a:lnTo>
                  <a:pt x="83" y="98"/>
                </a:lnTo>
                <a:lnTo>
                  <a:pt x="82" y="103"/>
                </a:lnTo>
                <a:lnTo>
                  <a:pt x="78" y="108"/>
                </a:lnTo>
                <a:lnTo>
                  <a:pt x="79" y="116"/>
                </a:lnTo>
                <a:lnTo>
                  <a:pt x="77" y="119"/>
                </a:lnTo>
                <a:lnTo>
                  <a:pt x="82" y="137"/>
                </a:lnTo>
                <a:lnTo>
                  <a:pt x="82" y="147"/>
                </a:lnTo>
                <a:lnTo>
                  <a:pt x="84" y="161"/>
                </a:lnTo>
                <a:lnTo>
                  <a:pt x="82" y="166"/>
                </a:lnTo>
                <a:lnTo>
                  <a:pt x="82" y="171"/>
                </a:lnTo>
                <a:lnTo>
                  <a:pt x="84" y="177"/>
                </a:lnTo>
                <a:lnTo>
                  <a:pt x="89" y="181"/>
                </a:lnTo>
                <a:lnTo>
                  <a:pt x="46" y="191"/>
                </a:lnTo>
                <a:lnTo>
                  <a:pt x="44" y="186"/>
                </a:lnTo>
                <a:lnTo>
                  <a:pt x="44" y="182"/>
                </a:lnTo>
                <a:lnTo>
                  <a:pt x="33" y="133"/>
                </a:lnTo>
                <a:lnTo>
                  <a:pt x="25" y="127"/>
                </a:lnTo>
                <a:lnTo>
                  <a:pt x="24" y="132"/>
                </a:lnTo>
                <a:lnTo>
                  <a:pt x="21" y="127"/>
                </a:lnTo>
                <a:lnTo>
                  <a:pt x="21" y="119"/>
                </a:lnTo>
                <a:lnTo>
                  <a:pt x="19" y="109"/>
                </a:lnTo>
                <a:lnTo>
                  <a:pt x="16" y="104"/>
                </a:lnTo>
                <a:lnTo>
                  <a:pt x="12" y="94"/>
                </a:lnTo>
                <a:lnTo>
                  <a:pt x="12" y="84"/>
                </a:lnTo>
                <a:lnTo>
                  <a:pt x="15" y="83"/>
                </a:lnTo>
                <a:lnTo>
                  <a:pt x="14" y="78"/>
                </a:lnTo>
                <a:lnTo>
                  <a:pt x="12" y="73"/>
                </a:lnTo>
                <a:lnTo>
                  <a:pt x="12" y="68"/>
                </a:lnTo>
                <a:lnTo>
                  <a:pt x="11" y="63"/>
                </a:lnTo>
                <a:lnTo>
                  <a:pt x="6" y="58"/>
                </a:lnTo>
                <a:lnTo>
                  <a:pt x="5" y="53"/>
                </a:lnTo>
                <a:lnTo>
                  <a:pt x="5" y="41"/>
                </a:lnTo>
                <a:lnTo>
                  <a:pt x="1" y="36"/>
                </a:lnTo>
                <a:lnTo>
                  <a:pt x="1" y="31"/>
                </a:lnTo>
                <a:lnTo>
                  <a:pt x="0" y="28"/>
                </a:lnTo>
                <a:lnTo>
                  <a:pt x="0" y="25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/>
          <a:lstStyle>
            <a:defPPr>
              <a:defRPr lang="fr-FR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9" name="Freeform 8"/>
          <p:cNvSpPr>
            <a:spLocks noEditPoints="1"/>
          </p:cNvSpPr>
          <p:nvPr/>
        </p:nvSpPr>
        <p:spPr bwMode="auto">
          <a:xfrm>
            <a:off x="904531" y="3053482"/>
            <a:ext cx="657967" cy="352725"/>
          </a:xfrm>
          <a:custGeom>
            <a:avLst/>
            <a:gdLst>
              <a:gd name="T0" fmla="*/ 199 w 210"/>
              <a:gd name="T1" fmla="*/ 62 h 113"/>
              <a:gd name="T2" fmla="*/ 188 w 210"/>
              <a:gd name="T3" fmla="*/ 49 h 113"/>
              <a:gd name="T4" fmla="*/ 177 w 210"/>
              <a:gd name="T5" fmla="*/ 49 h 113"/>
              <a:gd name="T6" fmla="*/ 188 w 210"/>
              <a:gd name="T7" fmla="*/ 53 h 113"/>
              <a:gd name="T8" fmla="*/ 194 w 210"/>
              <a:gd name="T9" fmla="*/ 58 h 113"/>
              <a:gd name="T10" fmla="*/ 191 w 210"/>
              <a:gd name="T11" fmla="*/ 70 h 113"/>
              <a:gd name="T12" fmla="*/ 177 w 210"/>
              <a:gd name="T13" fmla="*/ 77 h 113"/>
              <a:gd name="T14" fmla="*/ 169 w 210"/>
              <a:gd name="T15" fmla="*/ 76 h 113"/>
              <a:gd name="T16" fmla="*/ 160 w 210"/>
              <a:gd name="T17" fmla="*/ 64 h 113"/>
              <a:gd name="T18" fmla="*/ 155 w 210"/>
              <a:gd name="T19" fmla="*/ 58 h 113"/>
              <a:gd name="T20" fmla="*/ 156 w 210"/>
              <a:gd name="T21" fmla="*/ 54 h 113"/>
              <a:gd name="T22" fmla="*/ 141 w 210"/>
              <a:gd name="T23" fmla="*/ 45 h 113"/>
              <a:gd name="T24" fmla="*/ 131 w 210"/>
              <a:gd name="T25" fmla="*/ 45 h 113"/>
              <a:gd name="T26" fmla="*/ 133 w 210"/>
              <a:gd name="T27" fmla="*/ 40 h 113"/>
              <a:gd name="T28" fmla="*/ 135 w 210"/>
              <a:gd name="T29" fmla="*/ 30 h 113"/>
              <a:gd name="T30" fmla="*/ 136 w 210"/>
              <a:gd name="T31" fmla="*/ 24 h 113"/>
              <a:gd name="T32" fmla="*/ 147 w 210"/>
              <a:gd name="T33" fmla="*/ 13 h 113"/>
              <a:gd name="T34" fmla="*/ 144 w 210"/>
              <a:gd name="T35" fmla="*/ 14 h 113"/>
              <a:gd name="T36" fmla="*/ 133 w 210"/>
              <a:gd name="T37" fmla="*/ 11 h 113"/>
              <a:gd name="T38" fmla="*/ 128 w 210"/>
              <a:gd name="T39" fmla="*/ 4 h 113"/>
              <a:gd name="T40" fmla="*/ 127 w 210"/>
              <a:gd name="T41" fmla="*/ 0 h 113"/>
              <a:gd name="T42" fmla="*/ 120 w 210"/>
              <a:gd name="T43" fmla="*/ 4 h 113"/>
              <a:gd name="T44" fmla="*/ 116 w 210"/>
              <a:gd name="T45" fmla="*/ 8 h 113"/>
              <a:gd name="T46" fmla="*/ 107 w 210"/>
              <a:gd name="T47" fmla="*/ 20 h 113"/>
              <a:gd name="T48" fmla="*/ 1 w 210"/>
              <a:gd name="T49" fmla="*/ 44 h 113"/>
              <a:gd name="T50" fmla="*/ 0 w 210"/>
              <a:gd name="T51" fmla="*/ 96 h 113"/>
              <a:gd name="T52" fmla="*/ 34 w 210"/>
              <a:gd name="T53" fmla="*/ 92 h 113"/>
              <a:gd name="T54" fmla="*/ 48 w 210"/>
              <a:gd name="T55" fmla="*/ 88 h 113"/>
              <a:gd name="T56" fmla="*/ 57 w 210"/>
              <a:gd name="T57" fmla="*/ 86 h 113"/>
              <a:gd name="T58" fmla="*/ 91 w 210"/>
              <a:gd name="T59" fmla="*/ 78 h 113"/>
              <a:gd name="T60" fmla="*/ 113 w 210"/>
              <a:gd name="T61" fmla="*/ 73 h 113"/>
              <a:gd name="T62" fmla="*/ 120 w 210"/>
              <a:gd name="T63" fmla="*/ 81 h 113"/>
              <a:gd name="T64" fmla="*/ 123 w 210"/>
              <a:gd name="T65" fmla="*/ 86 h 113"/>
              <a:gd name="T66" fmla="*/ 127 w 210"/>
              <a:gd name="T67" fmla="*/ 89 h 113"/>
              <a:gd name="T68" fmla="*/ 133 w 210"/>
              <a:gd name="T69" fmla="*/ 94 h 113"/>
              <a:gd name="T70" fmla="*/ 140 w 210"/>
              <a:gd name="T71" fmla="*/ 102 h 113"/>
              <a:gd name="T72" fmla="*/ 144 w 210"/>
              <a:gd name="T73" fmla="*/ 101 h 113"/>
              <a:gd name="T74" fmla="*/ 151 w 210"/>
              <a:gd name="T75" fmla="*/ 93 h 113"/>
              <a:gd name="T76" fmla="*/ 159 w 210"/>
              <a:gd name="T77" fmla="*/ 84 h 113"/>
              <a:gd name="T78" fmla="*/ 164 w 210"/>
              <a:gd name="T79" fmla="*/ 86 h 113"/>
              <a:gd name="T80" fmla="*/ 171 w 210"/>
              <a:gd name="T81" fmla="*/ 93 h 113"/>
              <a:gd name="T82" fmla="*/ 176 w 210"/>
              <a:gd name="T83" fmla="*/ 86 h 113"/>
              <a:gd name="T84" fmla="*/ 193 w 210"/>
              <a:gd name="T85" fmla="*/ 78 h 113"/>
              <a:gd name="T86" fmla="*/ 201 w 210"/>
              <a:gd name="T87" fmla="*/ 72 h 113"/>
              <a:gd name="T88" fmla="*/ 203 w 210"/>
              <a:gd name="T89" fmla="*/ 98 h 113"/>
              <a:gd name="T90" fmla="*/ 203 w 210"/>
              <a:gd name="T91" fmla="*/ 104 h 113"/>
              <a:gd name="T92" fmla="*/ 208 w 210"/>
              <a:gd name="T93" fmla="*/ 107 h 113"/>
              <a:gd name="T94" fmla="*/ 206 w 210"/>
              <a:gd name="T95" fmla="*/ 101 h 113"/>
              <a:gd name="T96" fmla="*/ 166 w 210"/>
              <a:gd name="T97" fmla="*/ 104 h 113"/>
              <a:gd name="T98" fmla="*/ 171 w 210"/>
              <a:gd name="T99" fmla="*/ 108 h 113"/>
              <a:gd name="T100" fmla="*/ 172 w 210"/>
              <a:gd name="T101" fmla="*/ 99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10" h="113">
                <a:moveTo>
                  <a:pt x="201" y="72"/>
                </a:moveTo>
                <a:lnTo>
                  <a:pt x="199" y="62"/>
                </a:lnTo>
                <a:lnTo>
                  <a:pt x="193" y="53"/>
                </a:lnTo>
                <a:lnTo>
                  <a:pt x="188" y="49"/>
                </a:lnTo>
                <a:lnTo>
                  <a:pt x="183" y="48"/>
                </a:lnTo>
                <a:lnTo>
                  <a:pt x="177" y="49"/>
                </a:lnTo>
                <a:lnTo>
                  <a:pt x="183" y="49"/>
                </a:lnTo>
                <a:lnTo>
                  <a:pt x="188" y="53"/>
                </a:lnTo>
                <a:lnTo>
                  <a:pt x="189" y="58"/>
                </a:lnTo>
                <a:lnTo>
                  <a:pt x="194" y="58"/>
                </a:lnTo>
                <a:lnTo>
                  <a:pt x="196" y="65"/>
                </a:lnTo>
                <a:lnTo>
                  <a:pt x="191" y="70"/>
                </a:lnTo>
                <a:lnTo>
                  <a:pt x="183" y="78"/>
                </a:lnTo>
                <a:lnTo>
                  <a:pt x="177" y="77"/>
                </a:lnTo>
                <a:lnTo>
                  <a:pt x="172" y="77"/>
                </a:lnTo>
                <a:lnTo>
                  <a:pt x="169" y="76"/>
                </a:lnTo>
                <a:lnTo>
                  <a:pt x="165" y="65"/>
                </a:lnTo>
                <a:lnTo>
                  <a:pt x="160" y="64"/>
                </a:lnTo>
                <a:lnTo>
                  <a:pt x="155" y="62"/>
                </a:lnTo>
                <a:lnTo>
                  <a:pt x="155" y="58"/>
                </a:lnTo>
                <a:lnTo>
                  <a:pt x="160" y="60"/>
                </a:lnTo>
                <a:lnTo>
                  <a:pt x="156" y="54"/>
                </a:lnTo>
                <a:lnTo>
                  <a:pt x="146" y="45"/>
                </a:lnTo>
                <a:lnTo>
                  <a:pt x="141" y="45"/>
                </a:lnTo>
                <a:lnTo>
                  <a:pt x="136" y="48"/>
                </a:lnTo>
                <a:lnTo>
                  <a:pt x="131" y="45"/>
                </a:lnTo>
                <a:lnTo>
                  <a:pt x="128" y="40"/>
                </a:lnTo>
                <a:lnTo>
                  <a:pt x="133" y="40"/>
                </a:lnTo>
                <a:lnTo>
                  <a:pt x="131" y="35"/>
                </a:lnTo>
                <a:lnTo>
                  <a:pt x="135" y="30"/>
                </a:lnTo>
                <a:lnTo>
                  <a:pt x="135" y="29"/>
                </a:lnTo>
                <a:lnTo>
                  <a:pt x="136" y="24"/>
                </a:lnTo>
                <a:lnTo>
                  <a:pt x="146" y="18"/>
                </a:lnTo>
                <a:lnTo>
                  <a:pt x="147" y="13"/>
                </a:lnTo>
                <a:lnTo>
                  <a:pt x="142" y="13"/>
                </a:lnTo>
                <a:lnTo>
                  <a:pt x="144" y="14"/>
                </a:lnTo>
                <a:lnTo>
                  <a:pt x="138" y="15"/>
                </a:lnTo>
                <a:lnTo>
                  <a:pt x="133" y="11"/>
                </a:lnTo>
                <a:lnTo>
                  <a:pt x="132" y="6"/>
                </a:lnTo>
                <a:lnTo>
                  <a:pt x="128" y="4"/>
                </a:lnTo>
                <a:lnTo>
                  <a:pt x="130" y="0"/>
                </a:lnTo>
                <a:lnTo>
                  <a:pt x="127" y="0"/>
                </a:lnTo>
                <a:lnTo>
                  <a:pt x="125" y="0"/>
                </a:lnTo>
                <a:lnTo>
                  <a:pt x="120" y="4"/>
                </a:lnTo>
                <a:lnTo>
                  <a:pt x="117" y="9"/>
                </a:lnTo>
                <a:lnTo>
                  <a:pt x="116" y="8"/>
                </a:lnTo>
                <a:lnTo>
                  <a:pt x="112" y="13"/>
                </a:lnTo>
                <a:lnTo>
                  <a:pt x="107" y="20"/>
                </a:lnTo>
                <a:lnTo>
                  <a:pt x="44" y="34"/>
                </a:lnTo>
                <a:lnTo>
                  <a:pt x="1" y="44"/>
                </a:lnTo>
                <a:lnTo>
                  <a:pt x="0" y="49"/>
                </a:lnTo>
                <a:lnTo>
                  <a:pt x="0" y="96"/>
                </a:lnTo>
                <a:lnTo>
                  <a:pt x="3" y="98"/>
                </a:lnTo>
                <a:lnTo>
                  <a:pt x="34" y="92"/>
                </a:lnTo>
                <a:lnTo>
                  <a:pt x="39" y="92"/>
                </a:lnTo>
                <a:lnTo>
                  <a:pt x="48" y="88"/>
                </a:lnTo>
                <a:lnTo>
                  <a:pt x="52" y="88"/>
                </a:lnTo>
                <a:lnTo>
                  <a:pt x="57" y="86"/>
                </a:lnTo>
                <a:lnTo>
                  <a:pt x="84" y="79"/>
                </a:lnTo>
                <a:lnTo>
                  <a:pt x="91" y="78"/>
                </a:lnTo>
                <a:lnTo>
                  <a:pt x="94" y="78"/>
                </a:lnTo>
                <a:lnTo>
                  <a:pt x="113" y="73"/>
                </a:lnTo>
                <a:lnTo>
                  <a:pt x="117" y="76"/>
                </a:lnTo>
                <a:lnTo>
                  <a:pt x="120" y="81"/>
                </a:lnTo>
                <a:lnTo>
                  <a:pt x="122" y="82"/>
                </a:lnTo>
                <a:lnTo>
                  <a:pt x="123" y="86"/>
                </a:lnTo>
                <a:lnTo>
                  <a:pt x="126" y="89"/>
                </a:lnTo>
                <a:lnTo>
                  <a:pt x="127" y="89"/>
                </a:lnTo>
                <a:lnTo>
                  <a:pt x="131" y="92"/>
                </a:lnTo>
                <a:lnTo>
                  <a:pt x="133" y="94"/>
                </a:lnTo>
                <a:lnTo>
                  <a:pt x="138" y="96"/>
                </a:lnTo>
                <a:lnTo>
                  <a:pt x="140" y="102"/>
                </a:lnTo>
                <a:lnTo>
                  <a:pt x="141" y="106"/>
                </a:lnTo>
                <a:lnTo>
                  <a:pt x="144" y="101"/>
                </a:lnTo>
                <a:lnTo>
                  <a:pt x="149" y="101"/>
                </a:lnTo>
                <a:lnTo>
                  <a:pt x="151" y="93"/>
                </a:lnTo>
                <a:lnTo>
                  <a:pt x="156" y="89"/>
                </a:lnTo>
                <a:lnTo>
                  <a:pt x="159" y="84"/>
                </a:lnTo>
                <a:lnTo>
                  <a:pt x="164" y="81"/>
                </a:lnTo>
                <a:lnTo>
                  <a:pt x="164" y="86"/>
                </a:lnTo>
                <a:lnTo>
                  <a:pt x="165" y="96"/>
                </a:lnTo>
                <a:lnTo>
                  <a:pt x="171" y="93"/>
                </a:lnTo>
                <a:lnTo>
                  <a:pt x="175" y="91"/>
                </a:lnTo>
                <a:lnTo>
                  <a:pt x="176" y="86"/>
                </a:lnTo>
                <a:lnTo>
                  <a:pt x="179" y="86"/>
                </a:lnTo>
                <a:lnTo>
                  <a:pt x="193" y="78"/>
                </a:lnTo>
                <a:lnTo>
                  <a:pt x="199" y="77"/>
                </a:lnTo>
                <a:lnTo>
                  <a:pt x="201" y="72"/>
                </a:lnTo>
                <a:close/>
                <a:moveTo>
                  <a:pt x="206" y="101"/>
                </a:moveTo>
                <a:lnTo>
                  <a:pt x="203" y="98"/>
                </a:lnTo>
                <a:lnTo>
                  <a:pt x="204" y="99"/>
                </a:lnTo>
                <a:lnTo>
                  <a:pt x="203" y="104"/>
                </a:lnTo>
                <a:lnTo>
                  <a:pt x="199" y="108"/>
                </a:lnTo>
                <a:lnTo>
                  <a:pt x="208" y="107"/>
                </a:lnTo>
                <a:lnTo>
                  <a:pt x="210" y="106"/>
                </a:lnTo>
                <a:lnTo>
                  <a:pt x="206" y="101"/>
                </a:lnTo>
                <a:close/>
                <a:moveTo>
                  <a:pt x="169" y="101"/>
                </a:moveTo>
                <a:lnTo>
                  <a:pt x="166" y="104"/>
                </a:lnTo>
                <a:lnTo>
                  <a:pt x="162" y="113"/>
                </a:lnTo>
                <a:lnTo>
                  <a:pt x="171" y="108"/>
                </a:lnTo>
                <a:lnTo>
                  <a:pt x="176" y="104"/>
                </a:lnTo>
                <a:lnTo>
                  <a:pt x="172" y="99"/>
                </a:lnTo>
                <a:lnTo>
                  <a:pt x="169" y="101"/>
                </a:lnTo>
                <a:close/>
              </a:path>
            </a:pathLst>
          </a:custGeom>
          <a:solidFill>
            <a:schemeClr val="tx2"/>
          </a:solidFill>
          <a:ln w="4763">
            <a:solidFill>
              <a:schemeClr val="tx1"/>
            </a:solidFill>
            <a:prstDash val="solid"/>
            <a:round/>
            <a:headEnd/>
            <a:tailEnd/>
          </a:ln>
          <a:effectLst/>
          <a:extLst/>
        </p:spPr>
        <p:txBody>
          <a:bodyPr/>
          <a:lstStyle>
            <a:defPPr>
              <a:defRPr lang="fr-FR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0" name="Freeform 9"/>
          <p:cNvSpPr>
            <a:spLocks noEditPoints="1"/>
          </p:cNvSpPr>
          <p:nvPr/>
        </p:nvSpPr>
        <p:spPr bwMode="auto">
          <a:xfrm>
            <a:off x="949408" y="2151900"/>
            <a:ext cx="394045" cy="583234"/>
          </a:xfrm>
          <a:custGeom>
            <a:avLst/>
            <a:gdLst>
              <a:gd name="T0" fmla="*/ 209 w 236"/>
              <a:gd name="T1" fmla="*/ 160 h 350"/>
              <a:gd name="T2" fmla="*/ 205 w 236"/>
              <a:gd name="T3" fmla="*/ 142 h 350"/>
              <a:gd name="T4" fmla="*/ 197 w 236"/>
              <a:gd name="T5" fmla="*/ 141 h 350"/>
              <a:gd name="T6" fmla="*/ 186 w 236"/>
              <a:gd name="T7" fmla="*/ 136 h 350"/>
              <a:gd name="T8" fmla="*/ 181 w 236"/>
              <a:gd name="T9" fmla="*/ 121 h 350"/>
              <a:gd name="T10" fmla="*/ 173 w 236"/>
              <a:gd name="T11" fmla="*/ 116 h 350"/>
              <a:gd name="T12" fmla="*/ 160 w 236"/>
              <a:gd name="T13" fmla="*/ 113 h 350"/>
              <a:gd name="T14" fmla="*/ 156 w 236"/>
              <a:gd name="T15" fmla="*/ 99 h 350"/>
              <a:gd name="T16" fmla="*/ 128 w 236"/>
              <a:gd name="T17" fmla="*/ 14 h 350"/>
              <a:gd name="T18" fmla="*/ 104 w 236"/>
              <a:gd name="T19" fmla="*/ 2 h 350"/>
              <a:gd name="T20" fmla="*/ 89 w 236"/>
              <a:gd name="T21" fmla="*/ 8 h 350"/>
              <a:gd name="T22" fmla="*/ 77 w 236"/>
              <a:gd name="T23" fmla="*/ 18 h 350"/>
              <a:gd name="T24" fmla="*/ 60 w 236"/>
              <a:gd name="T25" fmla="*/ 16 h 350"/>
              <a:gd name="T26" fmla="*/ 48 w 236"/>
              <a:gd name="T27" fmla="*/ 8 h 350"/>
              <a:gd name="T28" fmla="*/ 25 w 236"/>
              <a:gd name="T29" fmla="*/ 101 h 350"/>
              <a:gd name="T30" fmla="*/ 25 w 236"/>
              <a:gd name="T31" fmla="*/ 130 h 350"/>
              <a:gd name="T32" fmla="*/ 26 w 236"/>
              <a:gd name="T33" fmla="*/ 148 h 350"/>
              <a:gd name="T34" fmla="*/ 14 w 236"/>
              <a:gd name="T35" fmla="*/ 169 h 350"/>
              <a:gd name="T36" fmla="*/ 14 w 236"/>
              <a:gd name="T37" fmla="*/ 177 h 350"/>
              <a:gd name="T38" fmla="*/ 12 w 236"/>
              <a:gd name="T39" fmla="*/ 187 h 350"/>
              <a:gd name="T40" fmla="*/ 0 w 236"/>
              <a:gd name="T41" fmla="*/ 191 h 350"/>
              <a:gd name="T42" fmla="*/ 41 w 236"/>
              <a:gd name="T43" fmla="*/ 318 h 350"/>
              <a:gd name="T44" fmla="*/ 45 w 236"/>
              <a:gd name="T45" fmla="*/ 332 h 350"/>
              <a:gd name="T46" fmla="*/ 56 w 236"/>
              <a:gd name="T47" fmla="*/ 343 h 350"/>
              <a:gd name="T48" fmla="*/ 68 w 236"/>
              <a:gd name="T49" fmla="*/ 345 h 350"/>
              <a:gd name="T50" fmla="*/ 68 w 236"/>
              <a:gd name="T51" fmla="*/ 330 h 350"/>
              <a:gd name="T52" fmla="*/ 74 w 236"/>
              <a:gd name="T53" fmla="*/ 312 h 350"/>
              <a:gd name="T54" fmla="*/ 77 w 236"/>
              <a:gd name="T55" fmla="*/ 296 h 350"/>
              <a:gd name="T56" fmla="*/ 88 w 236"/>
              <a:gd name="T57" fmla="*/ 289 h 350"/>
              <a:gd name="T58" fmla="*/ 92 w 236"/>
              <a:gd name="T59" fmla="*/ 284 h 350"/>
              <a:gd name="T60" fmla="*/ 98 w 236"/>
              <a:gd name="T61" fmla="*/ 289 h 350"/>
              <a:gd name="T62" fmla="*/ 90 w 236"/>
              <a:gd name="T63" fmla="*/ 272 h 350"/>
              <a:gd name="T64" fmla="*/ 93 w 236"/>
              <a:gd name="T65" fmla="*/ 267 h 350"/>
              <a:gd name="T66" fmla="*/ 98 w 236"/>
              <a:gd name="T67" fmla="*/ 273 h 350"/>
              <a:gd name="T68" fmla="*/ 104 w 236"/>
              <a:gd name="T69" fmla="*/ 270 h 350"/>
              <a:gd name="T70" fmla="*/ 105 w 236"/>
              <a:gd name="T71" fmla="*/ 268 h 350"/>
              <a:gd name="T72" fmla="*/ 107 w 236"/>
              <a:gd name="T73" fmla="*/ 267 h 350"/>
              <a:gd name="T74" fmla="*/ 113 w 236"/>
              <a:gd name="T75" fmla="*/ 270 h 350"/>
              <a:gd name="T76" fmla="*/ 119 w 236"/>
              <a:gd name="T77" fmla="*/ 260 h 350"/>
              <a:gd name="T78" fmla="*/ 129 w 236"/>
              <a:gd name="T79" fmla="*/ 252 h 350"/>
              <a:gd name="T80" fmla="*/ 128 w 236"/>
              <a:gd name="T81" fmla="*/ 236 h 350"/>
              <a:gd name="T82" fmla="*/ 127 w 236"/>
              <a:gd name="T83" fmla="*/ 223 h 350"/>
              <a:gd name="T84" fmla="*/ 137 w 236"/>
              <a:gd name="T85" fmla="*/ 215 h 350"/>
              <a:gd name="T86" fmla="*/ 139 w 236"/>
              <a:gd name="T87" fmla="*/ 224 h 350"/>
              <a:gd name="T88" fmla="*/ 155 w 236"/>
              <a:gd name="T89" fmla="*/ 230 h 350"/>
              <a:gd name="T90" fmla="*/ 152 w 236"/>
              <a:gd name="T91" fmla="*/ 215 h 350"/>
              <a:gd name="T92" fmla="*/ 161 w 236"/>
              <a:gd name="T93" fmla="*/ 211 h 350"/>
              <a:gd name="T94" fmla="*/ 176 w 236"/>
              <a:gd name="T95" fmla="*/ 215 h 350"/>
              <a:gd name="T96" fmla="*/ 178 w 236"/>
              <a:gd name="T97" fmla="*/ 203 h 350"/>
              <a:gd name="T98" fmla="*/ 182 w 236"/>
              <a:gd name="T99" fmla="*/ 208 h 350"/>
              <a:gd name="T100" fmla="*/ 185 w 236"/>
              <a:gd name="T101" fmla="*/ 192 h 350"/>
              <a:gd name="T102" fmla="*/ 192 w 236"/>
              <a:gd name="T103" fmla="*/ 192 h 350"/>
              <a:gd name="T104" fmla="*/ 201 w 236"/>
              <a:gd name="T105" fmla="*/ 186 h 350"/>
              <a:gd name="T106" fmla="*/ 206 w 236"/>
              <a:gd name="T107" fmla="*/ 184 h 350"/>
              <a:gd name="T108" fmla="*/ 215 w 236"/>
              <a:gd name="T109" fmla="*/ 176 h 350"/>
              <a:gd name="T110" fmla="*/ 215 w 236"/>
              <a:gd name="T111" fmla="*/ 158 h 350"/>
              <a:gd name="T112" fmla="*/ 157 w 236"/>
              <a:gd name="T113" fmla="*/ 220 h 350"/>
              <a:gd name="T114" fmla="*/ 170 w 236"/>
              <a:gd name="T115" fmla="*/ 215 h 350"/>
              <a:gd name="T116" fmla="*/ 233 w 236"/>
              <a:gd name="T117" fmla="*/ 161 h 350"/>
              <a:gd name="T118" fmla="*/ 229 w 236"/>
              <a:gd name="T119" fmla="*/ 171 h 350"/>
              <a:gd name="T120" fmla="*/ 236 w 236"/>
              <a:gd name="T121" fmla="*/ 166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36" h="350">
                <a:moveTo>
                  <a:pt x="216" y="160"/>
                </a:moveTo>
                <a:lnTo>
                  <a:pt x="212" y="165"/>
                </a:lnTo>
                <a:lnTo>
                  <a:pt x="209" y="160"/>
                </a:lnTo>
                <a:lnTo>
                  <a:pt x="214" y="152"/>
                </a:lnTo>
                <a:lnTo>
                  <a:pt x="205" y="143"/>
                </a:lnTo>
                <a:lnTo>
                  <a:pt x="205" y="142"/>
                </a:lnTo>
                <a:lnTo>
                  <a:pt x="205" y="142"/>
                </a:lnTo>
                <a:lnTo>
                  <a:pt x="201" y="141"/>
                </a:lnTo>
                <a:lnTo>
                  <a:pt x="197" y="141"/>
                </a:lnTo>
                <a:lnTo>
                  <a:pt x="194" y="145"/>
                </a:lnTo>
                <a:lnTo>
                  <a:pt x="188" y="141"/>
                </a:lnTo>
                <a:lnTo>
                  <a:pt x="186" y="136"/>
                </a:lnTo>
                <a:lnTo>
                  <a:pt x="186" y="131"/>
                </a:lnTo>
                <a:lnTo>
                  <a:pt x="182" y="126"/>
                </a:lnTo>
                <a:lnTo>
                  <a:pt x="181" y="121"/>
                </a:lnTo>
                <a:lnTo>
                  <a:pt x="182" y="116"/>
                </a:lnTo>
                <a:lnTo>
                  <a:pt x="178" y="114"/>
                </a:lnTo>
                <a:lnTo>
                  <a:pt x="173" y="116"/>
                </a:lnTo>
                <a:lnTo>
                  <a:pt x="168" y="116"/>
                </a:lnTo>
                <a:lnTo>
                  <a:pt x="163" y="112"/>
                </a:lnTo>
                <a:lnTo>
                  <a:pt x="160" y="113"/>
                </a:lnTo>
                <a:lnTo>
                  <a:pt x="157" y="108"/>
                </a:lnTo>
                <a:lnTo>
                  <a:pt x="158" y="104"/>
                </a:lnTo>
                <a:lnTo>
                  <a:pt x="156" y="99"/>
                </a:lnTo>
                <a:lnTo>
                  <a:pt x="156" y="94"/>
                </a:lnTo>
                <a:lnTo>
                  <a:pt x="149" y="78"/>
                </a:lnTo>
                <a:lnTo>
                  <a:pt x="128" y="14"/>
                </a:lnTo>
                <a:lnTo>
                  <a:pt x="124" y="13"/>
                </a:lnTo>
                <a:lnTo>
                  <a:pt x="114" y="6"/>
                </a:lnTo>
                <a:lnTo>
                  <a:pt x="104" y="2"/>
                </a:lnTo>
                <a:lnTo>
                  <a:pt x="99" y="0"/>
                </a:lnTo>
                <a:lnTo>
                  <a:pt x="93" y="2"/>
                </a:lnTo>
                <a:lnTo>
                  <a:pt x="89" y="8"/>
                </a:lnTo>
                <a:lnTo>
                  <a:pt x="85" y="10"/>
                </a:lnTo>
                <a:lnTo>
                  <a:pt x="80" y="15"/>
                </a:lnTo>
                <a:lnTo>
                  <a:pt x="77" y="18"/>
                </a:lnTo>
                <a:lnTo>
                  <a:pt x="71" y="23"/>
                </a:lnTo>
                <a:lnTo>
                  <a:pt x="65" y="20"/>
                </a:lnTo>
                <a:lnTo>
                  <a:pt x="60" y="16"/>
                </a:lnTo>
                <a:lnTo>
                  <a:pt x="58" y="6"/>
                </a:lnTo>
                <a:lnTo>
                  <a:pt x="53" y="6"/>
                </a:lnTo>
                <a:lnTo>
                  <a:pt x="48" y="8"/>
                </a:lnTo>
                <a:lnTo>
                  <a:pt x="25" y="73"/>
                </a:lnTo>
                <a:lnTo>
                  <a:pt x="29" y="94"/>
                </a:lnTo>
                <a:lnTo>
                  <a:pt x="25" y="101"/>
                </a:lnTo>
                <a:lnTo>
                  <a:pt x="22" y="116"/>
                </a:lnTo>
                <a:lnTo>
                  <a:pt x="25" y="119"/>
                </a:lnTo>
                <a:lnTo>
                  <a:pt x="25" y="130"/>
                </a:lnTo>
                <a:lnTo>
                  <a:pt x="29" y="135"/>
                </a:lnTo>
                <a:lnTo>
                  <a:pt x="24" y="145"/>
                </a:lnTo>
                <a:lnTo>
                  <a:pt x="26" y="148"/>
                </a:lnTo>
                <a:lnTo>
                  <a:pt x="17" y="158"/>
                </a:lnTo>
                <a:lnTo>
                  <a:pt x="15" y="164"/>
                </a:lnTo>
                <a:lnTo>
                  <a:pt x="14" y="169"/>
                </a:lnTo>
                <a:lnTo>
                  <a:pt x="14" y="169"/>
                </a:lnTo>
                <a:lnTo>
                  <a:pt x="19" y="179"/>
                </a:lnTo>
                <a:lnTo>
                  <a:pt x="14" y="177"/>
                </a:lnTo>
                <a:lnTo>
                  <a:pt x="12" y="177"/>
                </a:lnTo>
                <a:lnTo>
                  <a:pt x="11" y="182"/>
                </a:lnTo>
                <a:lnTo>
                  <a:pt x="12" y="187"/>
                </a:lnTo>
                <a:lnTo>
                  <a:pt x="7" y="189"/>
                </a:lnTo>
                <a:lnTo>
                  <a:pt x="4" y="186"/>
                </a:lnTo>
                <a:lnTo>
                  <a:pt x="0" y="191"/>
                </a:lnTo>
                <a:lnTo>
                  <a:pt x="0" y="194"/>
                </a:lnTo>
                <a:lnTo>
                  <a:pt x="36" y="303"/>
                </a:lnTo>
                <a:lnTo>
                  <a:pt x="41" y="318"/>
                </a:lnTo>
                <a:lnTo>
                  <a:pt x="41" y="323"/>
                </a:lnTo>
                <a:lnTo>
                  <a:pt x="44" y="327"/>
                </a:lnTo>
                <a:lnTo>
                  <a:pt x="45" y="332"/>
                </a:lnTo>
                <a:lnTo>
                  <a:pt x="50" y="336"/>
                </a:lnTo>
                <a:lnTo>
                  <a:pt x="55" y="338"/>
                </a:lnTo>
                <a:lnTo>
                  <a:pt x="56" y="343"/>
                </a:lnTo>
                <a:lnTo>
                  <a:pt x="60" y="348"/>
                </a:lnTo>
                <a:lnTo>
                  <a:pt x="63" y="350"/>
                </a:lnTo>
                <a:lnTo>
                  <a:pt x="68" y="345"/>
                </a:lnTo>
                <a:lnTo>
                  <a:pt x="69" y="340"/>
                </a:lnTo>
                <a:lnTo>
                  <a:pt x="68" y="335"/>
                </a:lnTo>
                <a:lnTo>
                  <a:pt x="68" y="330"/>
                </a:lnTo>
                <a:lnTo>
                  <a:pt x="73" y="326"/>
                </a:lnTo>
                <a:lnTo>
                  <a:pt x="77" y="316"/>
                </a:lnTo>
                <a:lnTo>
                  <a:pt x="74" y="312"/>
                </a:lnTo>
                <a:lnTo>
                  <a:pt x="80" y="302"/>
                </a:lnTo>
                <a:lnTo>
                  <a:pt x="77" y="301"/>
                </a:lnTo>
                <a:lnTo>
                  <a:pt x="77" y="296"/>
                </a:lnTo>
                <a:lnTo>
                  <a:pt x="78" y="291"/>
                </a:lnTo>
                <a:lnTo>
                  <a:pt x="85" y="280"/>
                </a:lnTo>
                <a:lnTo>
                  <a:pt x="88" y="289"/>
                </a:lnTo>
                <a:lnTo>
                  <a:pt x="88" y="284"/>
                </a:lnTo>
                <a:lnTo>
                  <a:pt x="89" y="289"/>
                </a:lnTo>
                <a:lnTo>
                  <a:pt x="92" y="284"/>
                </a:lnTo>
                <a:lnTo>
                  <a:pt x="93" y="279"/>
                </a:lnTo>
                <a:lnTo>
                  <a:pt x="94" y="279"/>
                </a:lnTo>
                <a:lnTo>
                  <a:pt x="98" y="289"/>
                </a:lnTo>
                <a:lnTo>
                  <a:pt x="99" y="284"/>
                </a:lnTo>
                <a:lnTo>
                  <a:pt x="93" y="269"/>
                </a:lnTo>
                <a:lnTo>
                  <a:pt x="90" y="272"/>
                </a:lnTo>
                <a:lnTo>
                  <a:pt x="92" y="267"/>
                </a:lnTo>
                <a:lnTo>
                  <a:pt x="93" y="262"/>
                </a:lnTo>
                <a:lnTo>
                  <a:pt x="93" y="267"/>
                </a:lnTo>
                <a:lnTo>
                  <a:pt x="100" y="283"/>
                </a:lnTo>
                <a:lnTo>
                  <a:pt x="102" y="278"/>
                </a:lnTo>
                <a:lnTo>
                  <a:pt x="98" y="273"/>
                </a:lnTo>
                <a:lnTo>
                  <a:pt x="99" y="267"/>
                </a:lnTo>
                <a:lnTo>
                  <a:pt x="102" y="265"/>
                </a:lnTo>
                <a:lnTo>
                  <a:pt x="104" y="270"/>
                </a:lnTo>
                <a:lnTo>
                  <a:pt x="103" y="275"/>
                </a:lnTo>
                <a:lnTo>
                  <a:pt x="108" y="278"/>
                </a:lnTo>
                <a:lnTo>
                  <a:pt x="105" y="268"/>
                </a:lnTo>
                <a:lnTo>
                  <a:pt x="105" y="263"/>
                </a:lnTo>
                <a:lnTo>
                  <a:pt x="107" y="262"/>
                </a:lnTo>
                <a:lnTo>
                  <a:pt x="107" y="267"/>
                </a:lnTo>
                <a:lnTo>
                  <a:pt x="108" y="272"/>
                </a:lnTo>
                <a:lnTo>
                  <a:pt x="112" y="274"/>
                </a:lnTo>
                <a:lnTo>
                  <a:pt x="113" y="270"/>
                </a:lnTo>
                <a:lnTo>
                  <a:pt x="112" y="264"/>
                </a:lnTo>
                <a:lnTo>
                  <a:pt x="114" y="260"/>
                </a:lnTo>
                <a:lnTo>
                  <a:pt x="119" y="260"/>
                </a:lnTo>
                <a:lnTo>
                  <a:pt x="124" y="263"/>
                </a:lnTo>
                <a:lnTo>
                  <a:pt x="126" y="258"/>
                </a:lnTo>
                <a:lnTo>
                  <a:pt x="129" y="252"/>
                </a:lnTo>
                <a:lnTo>
                  <a:pt x="128" y="248"/>
                </a:lnTo>
                <a:lnTo>
                  <a:pt x="128" y="243"/>
                </a:lnTo>
                <a:lnTo>
                  <a:pt x="128" y="236"/>
                </a:lnTo>
                <a:lnTo>
                  <a:pt x="129" y="233"/>
                </a:lnTo>
                <a:lnTo>
                  <a:pt x="129" y="228"/>
                </a:lnTo>
                <a:lnTo>
                  <a:pt x="127" y="223"/>
                </a:lnTo>
                <a:lnTo>
                  <a:pt x="134" y="219"/>
                </a:lnTo>
                <a:lnTo>
                  <a:pt x="133" y="210"/>
                </a:lnTo>
                <a:lnTo>
                  <a:pt x="137" y="215"/>
                </a:lnTo>
                <a:lnTo>
                  <a:pt x="136" y="220"/>
                </a:lnTo>
                <a:lnTo>
                  <a:pt x="141" y="219"/>
                </a:lnTo>
                <a:lnTo>
                  <a:pt x="139" y="224"/>
                </a:lnTo>
                <a:lnTo>
                  <a:pt x="137" y="228"/>
                </a:lnTo>
                <a:lnTo>
                  <a:pt x="147" y="228"/>
                </a:lnTo>
                <a:lnTo>
                  <a:pt x="155" y="230"/>
                </a:lnTo>
                <a:lnTo>
                  <a:pt x="152" y="225"/>
                </a:lnTo>
                <a:lnTo>
                  <a:pt x="151" y="220"/>
                </a:lnTo>
                <a:lnTo>
                  <a:pt x="152" y="215"/>
                </a:lnTo>
                <a:lnTo>
                  <a:pt x="152" y="210"/>
                </a:lnTo>
                <a:lnTo>
                  <a:pt x="156" y="215"/>
                </a:lnTo>
                <a:lnTo>
                  <a:pt x="161" y="211"/>
                </a:lnTo>
                <a:lnTo>
                  <a:pt x="160" y="206"/>
                </a:lnTo>
                <a:lnTo>
                  <a:pt x="172" y="210"/>
                </a:lnTo>
                <a:lnTo>
                  <a:pt x="176" y="215"/>
                </a:lnTo>
                <a:lnTo>
                  <a:pt x="177" y="210"/>
                </a:lnTo>
                <a:lnTo>
                  <a:pt x="176" y="205"/>
                </a:lnTo>
                <a:lnTo>
                  <a:pt x="178" y="203"/>
                </a:lnTo>
                <a:lnTo>
                  <a:pt x="180" y="208"/>
                </a:lnTo>
                <a:lnTo>
                  <a:pt x="181" y="203"/>
                </a:lnTo>
                <a:lnTo>
                  <a:pt x="182" y="208"/>
                </a:lnTo>
                <a:lnTo>
                  <a:pt x="183" y="203"/>
                </a:lnTo>
                <a:lnTo>
                  <a:pt x="181" y="197"/>
                </a:lnTo>
                <a:lnTo>
                  <a:pt x="185" y="192"/>
                </a:lnTo>
                <a:lnTo>
                  <a:pt x="188" y="197"/>
                </a:lnTo>
                <a:lnTo>
                  <a:pt x="191" y="197"/>
                </a:lnTo>
                <a:lnTo>
                  <a:pt x="192" y="192"/>
                </a:lnTo>
                <a:lnTo>
                  <a:pt x="196" y="192"/>
                </a:lnTo>
                <a:lnTo>
                  <a:pt x="196" y="189"/>
                </a:lnTo>
                <a:lnTo>
                  <a:pt x="201" y="186"/>
                </a:lnTo>
                <a:lnTo>
                  <a:pt x="201" y="186"/>
                </a:lnTo>
                <a:lnTo>
                  <a:pt x="201" y="182"/>
                </a:lnTo>
                <a:lnTo>
                  <a:pt x="206" y="184"/>
                </a:lnTo>
                <a:lnTo>
                  <a:pt x="202" y="179"/>
                </a:lnTo>
                <a:lnTo>
                  <a:pt x="210" y="180"/>
                </a:lnTo>
                <a:lnTo>
                  <a:pt x="215" y="176"/>
                </a:lnTo>
                <a:lnTo>
                  <a:pt x="220" y="167"/>
                </a:lnTo>
                <a:lnTo>
                  <a:pt x="220" y="162"/>
                </a:lnTo>
                <a:lnTo>
                  <a:pt x="215" y="158"/>
                </a:lnTo>
                <a:lnTo>
                  <a:pt x="216" y="160"/>
                </a:lnTo>
                <a:close/>
                <a:moveTo>
                  <a:pt x="163" y="211"/>
                </a:moveTo>
                <a:lnTo>
                  <a:pt x="157" y="220"/>
                </a:lnTo>
                <a:lnTo>
                  <a:pt x="160" y="225"/>
                </a:lnTo>
                <a:lnTo>
                  <a:pt x="168" y="220"/>
                </a:lnTo>
                <a:lnTo>
                  <a:pt x="170" y="215"/>
                </a:lnTo>
                <a:lnTo>
                  <a:pt x="165" y="211"/>
                </a:lnTo>
                <a:lnTo>
                  <a:pt x="163" y="211"/>
                </a:lnTo>
                <a:close/>
                <a:moveTo>
                  <a:pt x="233" y="161"/>
                </a:moveTo>
                <a:lnTo>
                  <a:pt x="233" y="161"/>
                </a:lnTo>
                <a:lnTo>
                  <a:pt x="230" y="165"/>
                </a:lnTo>
                <a:lnTo>
                  <a:pt x="229" y="171"/>
                </a:lnTo>
                <a:lnTo>
                  <a:pt x="231" y="176"/>
                </a:lnTo>
                <a:lnTo>
                  <a:pt x="236" y="171"/>
                </a:lnTo>
                <a:lnTo>
                  <a:pt x="236" y="166"/>
                </a:lnTo>
                <a:lnTo>
                  <a:pt x="233" y="161"/>
                </a:lnTo>
                <a:close/>
              </a:path>
            </a:pathLst>
          </a:custGeom>
          <a:solidFill>
            <a:schemeClr val="tx2"/>
          </a:solidFill>
          <a:ln w="4763">
            <a:solidFill>
              <a:schemeClr val="tx1"/>
            </a:solidFill>
            <a:prstDash val="solid"/>
            <a:round/>
            <a:headEnd/>
            <a:tailEnd/>
          </a:ln>
          <a:effectLst/>
          <a:extLst/>
        </p:spPr>
        <p:txBody>
          <a:bodyPr/>
          <a:lstStyle>
            <a:defPPr>
              <a:defRPr lang="fr-FR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737962" y="1813558"/>
            <a:ext cx="957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Arkansas</a:t>
            </a:r>
            <a:endParaRPr lang="en-US" sz="14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737962" y="2677984"/>
            <a:ext cx="957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Maine</a:t>
            </a:r>
            <a:endParaRPr lang="en-US" sz="14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737962" y="3391733"/>
            <a:ext cx="12813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Massachusetts</a:t>
            </a:r>
            <a:endParaRPr lang="en-US" sz="14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737962" y="4300136"/>
            <a:ext cx="12813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Minnesota</a:t>
            </a:r>
            <a:endParaRPr lang="en-US" sz="14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737962" y="5039204"/>
            <a:ext cx="12813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Oregon</a:t>
            </a:r>
            <a:endParaRPr lang="en-US" sz="14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737962" y="5709321"/>
            <a:ext cx="12813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Vermont</a:t>
            </a:r>
            <a:endParaRPr lang="en-US" sz="1400" b="1" dirty="0"/>
          </a:p>
        </p:txBody>
      </p:sp>
      <p:sp>
        <p:nvSpPr>
          <p:cNvPr id="12" name="Rectangle 11"/>
          <p:cNvSpPr/>
          <p:nvPr/>
        </p:nvSpPr>
        <p:spPr>
          <a:xfrm>
            <a:off x="2019300" y="2151900"/>
            <a:ext cx="4057650" cy="704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Piloting community health workers to address population health needs of underserved populations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762000" y="2085173"/>
            <a:ext cx="77152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762000" y="2955001"/>
            <a:ext cx="77152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762000" y="3725267"/>
            <a:ext cx="77152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762000" y="4549857"/>
            <a:ext cx="77152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762000" y="5346981"/>
            <a:ext cx="77152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/>
          <p:cNvSpPr/>
          <p:nvPr/>
        </p:nvSpPr>
        <p:spPr>
          <a:xfrm>
            <a:off x="2019300" y="2996332"/>
            <a:ext cx="4057650" cy="704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Implementing e-Referral program linking primary care to community resource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019300" y="3787582"/>
            <a:ext cx="4057650" cy="704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Testing ACOs, public health and social services working together at the community level</a:t>
            </a:r>
          </a:p>
        </p:txBody>
      </p:sp>
      <p:sp>
        <p:nvSpPr>
          <p:cNvPr id="87" name="Rectangle 86"/>
          <p:cNvSpPr/>
          <p:nvPr/>
        </p:nvSpPr>
        <p:spPr>
          <a:xfrm>
            <a:off x="2019300" y="4607914"/>
            <a:ext cx="4159078" cy="8146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CCOs forming Community Advisory Councils to develop community health assessment and health improvement plan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8" name="Content Placeholder 2"/>
          <p:cNvSpPr txBox="1">
            <a:spLocks/>
          </p:cNvSpPr>
          <p:nvPr/>
        </p:nvSpPr>
        <p:spPr>
          <a:xfrm>
            <a:off x="2372178" y="1060037"/>
            <a:ext cx="265702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 smtClean="0">
                <a:solidFill>
                  <a:schemeClr val="tx2"/>
                </a:solidFill>
              </a:rPr>
              <a:t>Community services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90" name="Straight Connector 89"/>
          <p:cNvCxnSpPr/>
          <p:nvPr/>
        </p:nvCxnSpPr>
        <p:spPr>
          <a:xfrm>
            <a:off x="2082774" y="1391269"/>
            <a:ext cx="639447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ontent Placeholder 2"/>
          <p:cNvSpPr txBox="1">
            <a:spLocks/>
          </p:cNvSpPr>
          <p:nvPr/>
        </p:nvSpPr>
        <p:spPr>
          <a:xfrm>
            <a:off x="6334578" y="1060037"/>
            <a:ext cx="265702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 smtClean="0">
                <a:solidFill>
                  <a:schemeClr val="tx2"/>
                </a:solidFill>
              </a:rPr>
              <a:t>Population health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6334578" y="1474791"/>
            <a:ext cx="2276022" cy="4542307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 dirty="0" smtClean="0">
              <a:solidFill>
                <a:schemeClr val="tx1"/>
              </a:solidFill>
            </a:endParaRPr>
          </a:p>
          <a:p>
            <a:r>
              <a:rPr lang="en-US" sz="2000" dirty="0" smtClean="0">
                <a:solidFill>
                  <a:schemeClr val="tx1"/>
                </a:solidFill>
              </a:rPr>
              <a:t>CDC is working with states to develop state-wide, targeted population health plans that will integrate health and health care delivery systems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379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98" y="57587"/>
            <a:ext cx="8915400" cy="519112"/>
          </a:xfrm>
        </p:spPr>
        <p:txBody>
          <a:bodyPr/>
          <a:lstStyle/>
          <a:p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nabling</a:t>
            </a:r>
            <a:r>
              <a:rPr lang="en-US" sz="2800" dirty="0" smtClean="0">
                <a:latin typeface="+mj-lt"/>
              </a:rPr>
              <a:t>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trategie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71462" y="1100138"/>
            <a:ext cx="8429626" cy="72943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Comprehensive &amp; Dynamic State Learning System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al time Peer to Peer Exchan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Site visi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ASC </a:t>
            </a:r>
            <a:r>
              <a:rPr lang="en-US" dirty="0" smtClean="0"/>
              <a:t>providing </a:t>
            </a:r>
            <a:r>
              <a:rPr lang="en-US" dirty="0"/>
              <a:t>multiple resour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Weekly Virtual sess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ffinity group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Workforce/CHW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Native Americans/Trib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Quality Metric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VBID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Lots more</a:t>
            </a:r>
          </a:p>
          <a:p>
            <a:r>
              <a:rPr lang="en-US" sz="2400" b="1" dirty="0" smtClean="0">
                <a:solidFill>
                  <a:schemeClr val="tx2"/>
                </a:solidFill>
              </a:rPr>
              <a:t>Office of the National Coordinator HIT State Resource Cent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PC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Meaningful u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eCQM</a:t>
            </a:r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Interoperability Roadma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HIT/E Compendiu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ots more</a:t>
            </a:r>
          </a:p>
          <a:p>
            <a:endParaRPr lang="en-US" b="1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08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</a:t>
            </a:r>
            <a:r>
              <a:rPr lang="en-US" dirty="0" smtClean="0"/>
              <a:t>ow do we keep the innovations going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54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stainability</a:t>
            </a:r>
          </a:p>
          <a:p>
            <a:endParaRPr lang="en-US" dirty="0"/>
          </a:p>
          <a:p>
            <a:pPr lvl="1"/>
            <a:r>
              <a:rPr lang="en-US" sz="3200" i="1" dirty="0" smtClean="0"/>
              <a:t>Wicked big focus </a:t>
            </a:r>
            <a:endParaRPr lang="en-US" sz="3200" i="1" dirty="0" smtClean="0"/>
          </a:p>
          <a:p>
            <a:pPr marL="457200" lvl="1" indent="0">
              <a:buNone/>
            </a:pPr>
            <a:r>
              <a:rPr lang="en-US" sz="3200" i="1" dirty="0" smtClean="0"/>
              <a:t>	…for </a:t>
            </a:r>
            <a:r>
              <a:rPr lang="en-US" sz="3200" i="1" dirty="0" smtClean="0"/>
              <a:t>us and you</a:t>
            </a:r>
          </a:p>
          <a:p>
            <a:pPr lvl="1"/>
            <a:r>
              <a:rPr lang="en-US" sz="3200" i="1" dirty="0" smtClean="0"/>
              <a:t>Maine can lead the way…</a:t>
            </a:r>
          </a:p>
          <a:p>
            <a:pPr lvl="1"/>
            <a:endParaRPr lang="en-US" sz="3200" dirty="0" smtClean="0"/>
          </a:p>
          <a:p>
            <a:pPr marL="457200" lvl="1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7863" y="1150143"/>
            <a:ext cx="3200400" cy="482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2316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 test states may submit Medicare participation ide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CMS will rely on 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the following principles </a:t>
            </a: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in 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assessing proposals for </a:t>
            </a:r>
            <a:r>
              <a:rPr lang="en-US" sz="2000" b="1" u="sng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new and novel models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 that are: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1800" dirty="0" smtClean="0">
              <a:latin typeface="+mj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</a:rPr>
              <a:t>Patient center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</a:rPr>
              <a:t>Accountable for the total cost of car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</a:rPr>
              <a:t>Transformative (</a:t>
            </a:r>
            <a:r>
              <a:rPr lang="en-US" sz="1800" i="1" dirty="0" smtClean="0">
                <a:latin typeface="+mj-lt"/>
              </a:rPr>
              <a:t>preponderance of payments</a:t>
            </a:r>
            <a:r>
              <a:rPr lang="en-US" sz="1800" dirty="0" smtClean="0">
                <a:latin typeface="+mj-lt"/>
              </a:rPr>
              <a:t>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</a:rPr>
              <a:t>Broad-based (</a:t>
            </a:r>
            <a:r>
              <a:rPr lang="en-US" sz="1800" i="1" dirty="0" smtClean="0">
                <a:latin typeface="+mj-lt"/>
              </a:rPr>
              <a:t>preponderance of providers</a:t>
            </a:r>
            <a:r>
              <a:rPr lang="en-US" sz="1800" dirty="0" smtClean="0">
                <a:latin typeface="+mj-lt"/>
              </a:rPr>
              <a:t>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</a:rPr>
              <a:t>Feasible to implemen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</a:rPr>
              <a:t>Feasible to evaluate</a:t>
            </a:r>
            <a:endParaRPr lang="en-US" sz="1800" dirty="0">
              <a:latin typeface="+mj-lt"/>
            </a:endParaRPr>
          </a:p>
        </p:txBody>
      </p:sp>
      <p:pic>
        <p:nvPicPr>
          <p:cNvPr id="4" name="Picture 2" descr="http://4vector.com/i/free-vector-population_101144_population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1" t="42471" r="14907" b="4239"/>
          <a:stretch/>
        </p:blipFill>
        <p:spPr bwMode="auto">
          <a:xfrm>
            <a:off x="3214688" y="4061288"/>
            <a:ext cx="2857500" cy="1939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5354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228600"/>
            <a:ext cx="8915400" cy="1143000"/>
          </a:xfrm>
        </p:spPr>
        <p:txBody>
          <a:bodyPr>
            <a:normAutofit/>
          </a:bodyPr>
          <a:lstStyle/>
          <a:p>
            <a:r>
              <a:rPr lang="en-US" sz="1800" b="1" smtClean="0"/>
              <a:t>Program Areas for States to consider  in their SIM ACO for Medicare Alignment</a:t>
            </a:r>
            <a:endParaRPr lang="en-US" sz="18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00703333"/>
              </p:ext>
            </p:extLst>
          </p:nvPr>
        </p:nvGraphicFramePr>
        <p:xfrm>
          <a:off x="228600" y="533400"/>
          <a:ext cx="8686800" cy="61991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9966"/>
                <a:gridCol w="6836834"/>
              </a:tblGrid>
              <a:tr h="634097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CO Design Eleme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Description</a:t>
                      </a:r>
                      <a:endParaRPr lang="en-US" dirty="0"/>
                    </a:p>
                  </a:txBody>
                  <a:tcPr/>
                </a:tc>
              </a:tr>
              <a:tr h="815267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are Coordinatio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 smtClean="0"/>
                        <a:t>States should encourage</a:t>
                      </a:r>
                      <a:r>
                        <a:rPr lang="en-US" sz="1600" baseline="0" dirty="0" smtClean="0"/>
                        <a:t>  effective care coordination in the </a:t>
                      </a:r>
                      <a:r>
                        <a:rPr lang="en-US" sz="1600" dirty="0" smtClean="0"/>
                        <a:t>ACOs across a range of primary care providers, specialists and suppliers in order to address patient needs while delivering high quality care</a:t>
                      </a:r>
                      <a:endParaRPr lang="en-US" sz="1600" dirty="0"/>
                    </a:p>
                  </a:txBody>
                  <a:tcPr/>
                </a:tc>
              </a:tr>
              <a:tr h="621333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ovider/Supplier Org Structur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es should consider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at ACOs have a 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verse set of providers and suppliers with the capacity to coordinate care for an assigned patient panel</a:t>
                      </a:r>
                      <a:endParaRPr lang="en-US" sz="1600" dirty="0" smtClean="0"/>
                    </a:p>
                  </a:txBody>
                  <a:tcPr/>
                </a:tc>
              </a:tr>
              <a:tr h="573707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overnance</a:t>
                      </a:r>
                      <a:r>
                        <a:rPr lang="en-US" sz="1600" baseline="0" dirty="0" smtClean="0"/>
                        <a:t> &amp; Leadership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 smtClean="0"/>
                        <a:t>ACOs should have a clearly defined governance structure that includes patient representatives ,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a diverse set of providers and suppliers</a:t>
                      </a:r>
                    </a:p>
                  </a:txBody>
                  <a:tcPr/>
                </a:tc>
              </a:tr>
              <a:tr h="815267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Quality Strategy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 smtClean="0"/>
                        <a:t>Alignment among the payers participating in the ACO model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 smtClean="0"/>
                        <a:t>Focus</a:t>
                      </a:r>
                      <a:r>
                        <a:rPr lang="en-US" sz="1600" baseline="0" dirty="0" smtClean="0"/>
                        <a:t> on 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inical processes, patient safety, population health, efficiency, care coordination and patient/family engagement</a:t>
                      </a:r>
                      <a:endParaRPr lang="en-US" sz="1600" dirty="0" smtClean="0"/>
                    </a:p>
                  </a:txBody>
                  <a:tcPr/>
                </a:tc>
              </a:tr>
              <a:tr h="815267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ttributio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 smtClean="0"/>
                        <a:t>Clear methodology for determining patient attribution to support care coordination, quality improvement and payment systems. Can be prospective,</a:t>
                      </a:r>
                      <a:r>
                        <a:rPr lang="en-US" sz="1600" baseline="0" dirty="0" smtClean="0"/>
                        <a:t> retrospective, voluntary, claims based</a:t>
                      </a:r>
                      <a:endParaRPr lang="en-US" sz="1600" dirty="0" smtClean="0"/>
                    </a:p>
                  </a:txBody>
                  <a:tcPr/>
                </a:tc>
              </a:tr>
              <a:tr h="1298388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ayment</a:t>
                      </a:r>
                      <a:r>
                        <a:rPr lang="en-US" sz="1600" baseline="0" dirty="0" smtClean="0"/>
                        <a:t> Methodology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/>
                        <a:t>Clear methodology</a:t>
                      </a:r>
                      <a:r>
                        <a:rPr lang="en-US" sz="1600" baseline="0" dirty="0" smtClean="0"/>
                        <a:t> for benchmarking and risk shar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der using one sided risk sharing arrangements as vehicles to promote participation from newly formed ACOs while they learn to manage the risk of their patient population with a defined timeline for transitioning to two sided risk arrangements</a:t>
                      </a:r>
                      <a:endParaRPr lang="en-US" sz="1600" dirty="0" smtClean="0"/>
                    </a:p>
                  </a:txBody>
                  <a:tcPr/>
                </a:tc>
              </a:tr>
              <a:tr h="573707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ata Sharing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/>
                        <a:t>States should consider HIE/HIT needs</a:t>
                      </a:r>
                      <a:r>
                        <a:rPr lang="en-US" sz="1600" baseline="0" dirty="0" smtClean="0"/>
                        <a:t> and capacity of ACO providers and suppliers, ensure necessary DUAs 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4297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76200" y="609600"/>
            <a:ext cx="8900550" cy="6099325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admissions rate must come done to National level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0"/>
            <a:ext cx="9067800" cy="584775"/>
          </a:xfrm>
        </p:spPr>
        <p:txBody>
          <a:bodyPr>
            <a:noAutofit/>
          </a:bodyPr>
          <a:lstStyle/>
          <a:p>
            <a:pPr marL="3175"/>
            <a:r>
              <a:rPr lang="en-US" sz="1800" b="1" dirty="0"/>
              <a:t>Program Areas </a:t>
            </a:r>
            <a:r>
              <a:rPr lang="en-US" sz="1800" b="1" dirty="0" smtClean="0"/>
              <a:t>for States to consider  in their SIM PCMH for </a:t>
            </a:r>
            <a:r>
              <a:rPr lang="en-US" sz="1800" b="1" dirty="0"/>
              <a:t>Medicare </a:t>
            </a:r>
            <a:r>
              <a:rPr lang="en-US" sz="1800" b="1" dirty="0" smtClean="0"/>
              <a:t>Alignment</a:t>
            </a:r>
            <a:endParaRPr lang="en-US" sz="18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644026" y="609600"/>
            <a:ext cx="7132320" cy="5715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sz="1600" dirty="0"/>
              <a:t>F</a:t>
            </a:r>
            <a:r>
              <a:rPr lang="en-US" sz="1600" dirty="0" smtClean="0"/>
              <a:t>ive primary </a:t>
            </a:r>
            <a:r>
              <a:rPr lang="en-US" sz="1600" dirty="0"/>
              <a:t>care functions for practices </a:t>
            </a:r>
            <a:r>
              <a:rPr lang="en-US" sz="1600" dirty="0" smtClean="0"/>
              <a:t>that </a:t>
            </a:r>
            <a:r>
              <a:rPr lang="en-US" sz="1600" dirty="0"/>
              <a:t>States should consider </a:t>
            </a:r>
            <a:r>
              <a:rPr lang="en-US" sz="1600" dirty="0" smtClean="0"/>
              <a:t> in their SIM PCMH : 1) risk stratified care management, 2) access and continuity, 3) planned care for population health, 4) Patient Engagement, 5) Coordination of Care and Services</a:t>
            </a:r>
          </a:p>
          <a:p>
            <a:r>
              <a:rPr lang="en-US" sz="1600" dirty="0" smtClean="0"/>
              <a:t>States can build broad multi-payer participation including alignment on payment arrangement, attribution, data sharing, consistent performance metrics</a:t>
            </a:r>
          </a:p>
          <a:p>
            <a:r>
              <a:rPr lang="en-US" sz="1600" dirty="0" smtClean="0"/>
              <a:t>States can consider robust data sharing with practices including requiring practices to have EHR certification, remove access to EHR, capability to receive and analyze data</a:t>
            </a:r>
          </a:p>
          <a:p>
            <a:endParaRPr lang="en-US" sz="1600" dirty="0" smtClean="0"/>
          </a:p>
          <a:p>
            <a:r>
              <a:rPr lang="en-US" sz="1600" dirty="0" smtClean="0"/>
              <a:t>States can incorporate shared </a:t>
            </a:r>
            <a:r>
              <a:rPr lang="en-US" sz="1600" dirty="0"/>
              <a:t>learning </a:t>
            </a:r>
            <a:r>
              <a:rPr lang="en-US" sz="1600" dirty="0" smtClean="0"/>
              <a:t>to </a:t>
            </a:r>
            <a:r>
              <a:rPr lang="en-US" sz="1600" dirty="0"/>
              <a:t>orient practices to understand </a:t>
            </a:r>
            <a:r>
              <a:rPr lang="en-US" sz="1600" dirty="0" smtClean="0"/>
              <a:t>model goals, </a:t>
            </a:r>
            <a:r>
              <a:rPr lang="en-US" sz="1600" dirty="0"/>
              <a:t>train practices to understand </a:t>
            </a:r>
            <a:r>
              <a:rPr lang="en-US" sz="1600" dirty="0" smtClean="0"/>
              <a:t>/ utilize </a:t>
            </a:r>
            <a:r>
              <a:rPr lang="en-US" sz="1600" dirty="0"/>
              <a:t>data for decision-making, to foster peer-to-peer learning </a:t>
            </a:r>
            <a:r>
              <a:rPr lang="en-US" sz="1600" dirty="0" smtClean="0"/>
              <a:t>and </a:t>
            </a:r>
            <a:r>
              <a:rPr lang="en-US" sz="1600" dirty="0"/>
              <a:t>provide support and guidance to build practice capabilities </a:t>
            </a:r>
            <a:endParaRPr lang="en-US" sz="1600" dirty="0" smtClean="0"/>
          </a:p>
          <a:p>
            <a:r>
              <a:rPr lang="en-US" sz="1600" dirty="0" smtClean="0"/>
              <a:t>States can consider alignment across payers, including Medicare,  on quality </a:t>
            </a:r>
            <a:r>
              <a:rPr lang="en-US" sz="1600" dirty="0"/>
              <a:t>metrics, quality reporting, and using quality to determine payment incentives</a:t>
            </a:r>
            <a:endParaRPr lang="en-US" sz="1600" dirty="0" smtClean="0"/>
          </a:p>
          <a:p>
            <a:endParaRPr lang="en-US" sz="1600" dirty="0" smtClean="0"/>
          </a:p>
          <a:p>
            <a:r>
              <a:rPr lang="en-US" sz="1600" dirty="0" smtClean="0"/>
              <a:t>States can consider a payment methodology that includes provision of care management payments and how to hold practices accountable for total cost of care of attributed patients</a:t>
            </a:r>
            <a:endParaRPr lang="en-US" sz="1600" dirty="0"/>
          </a:p>
        </p:txBody>
      </p:sp>
      <p:sp>
        <p:nvSpPr>
          <p:cNvPr id="11" name="Rectangle 10"/>
          <p:cNvSpPr/>
          <p:nvPr/>
        </p:nvSpPr>
        <p:spPr>
          <a:xfrm>
            <a:off x="285593" y="696231"/>
            <a:ext cx="1187030" cy="8749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</a:rPr>
              <a:t>Primary Care Function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85593" y="2603550"/>
            <a:ext cx="1187030" cy="8604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 smtClean="0">
                <a:solidFill>
                  <a:schemeClr val="bg1"/>
                </a:solidFill>
              </a:rPr>
              <a:t>Data Sharing between payers and practices</a:t>
            </a:r>
            <a:endParaRPr lang="en-US" sz="1300" b="1" dirty="0">
              <a:solidFill>
                <a:schemeClr val="bg1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1676400" y="1593748"/>
            <a:ext cx="694944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644026" y="4535413"/>
            <a:ext cx="694944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285593" y="1612767"/>
            <a:ext cx="1187030" cy="8749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 b="1" dirty="0" smtClean="0">
              <a:solidFill>
                <a:schemeClr val="bg1"/>
              </a:solidFill>
            </a:endParaRPr>
          </a:p>
          <a:p>
            <a:r>
              <a:rPr lang="en-US" sz="1400" b="1" dirty="0" smtClean="0">
                <a:solidFill>
                  <a:schemeClr val="bg1"/>
                </a:solidFill>
              </a:rPr>
              <a:t>Multi-Payer and provider participation</a:t>
            </a:r>
          </a:p>
          <a:p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85593" y="3581400"/>
            <a:ext cx="1187030" cy="8604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Shared Learning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80608" y="4535413"/>
            <a:ext cx="1187030" cy="8604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Quality Strategy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80608" y="5486400"/>
            <a:ext cx="1187030" cy="8604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chemeClr val="bg1"/>
                </a:solidFill>
              </a:rPr>
              <a:t>Payment Methodology</a:t>
            </a:r>
            <a:endParaRPr lang="en-US" sz="1400" b="1" dirty="0">
              <a:solidFill>
                <a:schemeClr val="bg1"/>
              </a:solidFill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676400" y="2479913"/>
            <a:ext cx="694944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644026" y="3486804"/>
            <a:ext cx="694944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1676400" y="5486400"/>
            <a:ext cx="694944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256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Maryland All-Payer Model saved $116M</a:t>
            </a: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274347" y="1128713"/>
            <a:ext cx="8749580" cy="3988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Maryland is the nation’s only </a:t>
            </a:r>
            <a:r>
              <a:rPr lang="en-US" sz="2000" b="1" dirty="0" smtClean="0">
                <a:solidFill>
                  <a:srgbClr val="4F81BD">
                    <a:lumMod val="75000"/>
                  </a:srgbClr>
                </a:solidFill>
                <a:latin typeface="Calibri"/>
                <a:cs typeface="Arial" panose="020B0604020202020204" pitchFamily="34" charset="0"/>
              </a:rPr>
              <a:t>all-payer hospital rate regulation system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1000" dirty="0">
              <a:solidFill>
                <a:prstClr val="black"/>
              </a:solidFill>
              <a:latin typeface="Calibri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Model will test whether effective accountability for both cost and quality can be achieved within all-payer system based upon </a:t>
            </a:r>
            <a:r>
              <a:rPr lang="en-US" sz="2000" b="1" dirty="0" smtClean="0">
                <a:solidFill>
                  <a:srgbClr val="4F81BD">
                    <a:lumMod val="75000"/>
                  </a:srgbClr>
                </a:solidFill>
                <a:latin typeface="Calibri"/>
                <a:cs typeface="Arial" panose="020B0604020202020204" pitchFamily="34" charset="0"/>
              </a:rPr>
              <a:t>per capita total hospital cost growth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1000" dirty="0">
              <a:solidFill>
                <a:prstClr val="black"/>
              </a:solidFill>
              <a:latin typeface="+mn-lt"/>
              <a:cs typeface="Arial" panose="020B0604020202020204" pitchFamily="34" charset="0"/>
            </a:endParaRPr>
          </a:p>
          <a:p>
            <a:pPr marL="285750" indent="-285750"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  <a:latin typeface="+mn-lt"/>
                <a:ea typeface="ＭＳ Ｐゴシック" charset="-128"/>
                <a:cs typeface="Arial" panose="020B0604020202020204" pitchFamily="34" charset="0"/>
              </a:rPr>
              <a:t>Hospitals began moving into All-Payer Global Budgets in July 2014</a:t>
            </a:r>
          </a:p>
          <a:p>
            <a:pPr lvl="1">
              <a:spcBef>
                <a:spcPct val="0"/>
              </a:spcBef>
              <a:buFontTx/>
              <a:buChar char="-"/>
            </a:pPr>
            <a:r>
              <a:rPr lang="en-US" sz="2000" dirty="0">
                <a:solidFill>
                  <a:prstClr val="black"/>
                </a:solidFill>
                <a:latin typeface="+mn-lt"/>
                <a:ea typeface="ＭＳ Ｐゴシック" charset="-128"/>
                <a:cs typeface="Arial" panose="020B0604020202020204" pitchFamily="34" charset="0"/>
              </a:rPr>
              <a:t>95% of Maryland hospital revenue will be in global budgets</a:t>
            </a:r>
          </a:p>
          <a:p>
            <a:pPr lvl="1">
              <a:spcBef>
                <a:spcPct val="0"/>
              </a:spcBef>
              <a:buFontTx/>
              <a:buChar char="-"/>
            </a:pPr>
            <a:r>
              <a:rPr lang="en-US" sz="2000" dirty="0">
                <a:solidFill>
                  <a:prstClr val="black"/>
                </a:solidFill>
                <a:latin typeface="+mn-lt"/>
                <a:ea typeface="ＭＳ Ｐゴシック" charset="-128"/>
                <a:cs typeface="Arial" panose="020B0604020202020204" pitchFamily="34" charset="0"/>
              </a:rPr>
              <a:t>All 46 MD hospitals have signed </a:t>
            </a:r>
            <a:r>
              <a:rPr lang="en-US" sz="2000" dirty="0" smtClean="0">
                <a:solidFill>
                  <a:prstClr val="black"/>
                </a:solidFill>
                <a:latin typeface="+mn-lt"/>
                <a:ea typeface="ＭＳ Ｐゴシック" charset="-128"/>
                <a:cs typeface="Arial" panose="020B0604020202020204" pitchFamily="34" charset="0"/>
              </a:rPr>
              <a:t>agreements</a:t>
            </a:r>
          </a:p>
          <a:p>
            <a:pPr lvl="1">
              <a:spcBef>
                <a:spcPct val="0"/>
              </a:spcBef>
              <a:buFontTx/>
              <a:buChar char="-"/>
            </a:pPr>
            <a:endParaRPr lang="en-US" sz="2000" dirty="0" smtClean="0">
              <a:solidFill>
                <a:prstClr val="black"/>
              </a:solidFill>
              <a:latin typeface="+mn-lt"/>
              <a:ea typeface="ＭＳ Ｐゴシック" charset="-128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latin typeface="+mn-lt"/>
                <a:ea typeface="ＭＳ Ｐゴシック" charset="-128"/>
                <a:cs typeface="Arial" panose="020B0604020202020204" pitchFamily="34" charset="0"/>
              </a:rPr>
              <a:t>In year 1, the Maryland All-Payer Model 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ＭＳ Ｐゴシック" charset="-128"/>
                <a:cs typeface="Arial" panose="020B0604020202020204" pitchFamily="34" charset="0"/>
              </a:rPr>
              <a:t>saved $116M </a:t>
            </a:r>
            <a:endParaRPr lang="en-US" sz="2000" b="1" dirty="0">
              <a:solidFill>
                <a:schemeClr val="accent1">
                  <a:lumMod val="75000"/>
                </a:schemeClr>
              </a:solidFill>
              <a:latin typeface="+mn-lt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8" name="Freeform 148"/>
          <p:cNvSpPr>
            <a:spLocks/>
          </p:cNvSpPr>
          <p:nvPr/>
        </p:nvSpPr>
        <p:spPr bwMode="auto">
          <a:xfrm rot="739571">
            <a:off x="6143140" y="4641016"/>
            <a:ext cx="2142134" cy="1056449"/>
          </a:xfrm>
          <a:custGeom>
            <a:avLst/>
            <a:gdLst>
              <a:gd name="T0" fmla="*/ 210 w 381"/>
              <a:gd name="T1" fmla="*/ 131 h 190"/>
              <a:gd name="T2" fmla="*/ 201 w 381"/>
              <a:gd name="T3" fmla="*/ 160 h 190"/>
              <a:gd name="T4" fmla="*/ 213 w 381"/>
              <a:gd name="T5" fmla="*/ 157 h 190"/>
              <a:gd name="T6" fmla="*/ 231 w 381"/>
              <a:gd name="T7" fmla="*/ 170 h 190"/>
              <a:gd name="T8" fmla="*/ 242 w 381"/>
              <a:gd name="T9" fmla="*/ 170 h 190"/>
              <a:gd name="T10" fmla="*/ 281 w 381"/>
              <a:gd name="T11" fmla="*/ 183 h 190"/>
              <a:gd name="T12" fmla="*/ 246 w 381"/>
              <a:gd name="T13" fmla="*/ 141 h 190"/>
              <a:gd name="T14" fmla="*/ 267 w 381"/>
              <a:gd name="T15" fmla="*/ 155 h 190"/>
              <a:gd name="T16" fmla="*/ 266 w 381"/>
              <a:gd name="T17" fmla="*/ 146 h 190"/>
              <a:gd name="T18" fmla="*/ 252 w 381"/>
              <a:gd name="T19" fmla="*/ 111 h 190"/>
              <a:gd name="T20" fmla="*/ 253 w 381"/>
              <a:gd name="T21" fmla="*/ 90 h 190"/>
              <a:gd name="T22" fmla="*/ 240 w 381"/>
              <a:gd name="T23" fmla="*/ 62 h 190"/>
              <a:gd name="T24" fmla="*/ 254 w 381"/>
              <a:gd name="T25" fmla="*/ 50 h 190"/>
              <a:gd name="T26" fmla="*/ 257 w 381"/>
              <a:gd name="T27" fmla="*/ 47 h 190"/>
              <a:gd name="T28" fmla="*/ 262 w 381"/>
              <a:gd name="T29" fmla="*/ 48 h 190"/>
              <a:gd name="T30" fmla="*/ 270 w 381"/>
              <a:gd name="T31" fmla="*/ 30 h 190"/>
              <a:gd name="T32" fmla="*/ 279 w 381"/>
              <a:gd name="T33" fmla="*/ 17 h 190"/>
              <a:gd name="T34" fmla="*/ 279 w 381"/>
              <a:gd name="T35" fmla="*/ 30 h 190"/>
              <a:gd name="T36" fmla="*/ 286 w 381"/>
              <a:gd name="T37" fmla="*/ 29 h 190"/>
              <a:gd name="T38" fmla="*/ 278 w 381"/>
              <a:gd name="T39" fmla="*/ 39 h 190"/>
              <a:gd name="T40" fmla="*/ 269 w 381"/>
              <a:gd name="T41" fmla="*/ 75 h 190"/>
              <a:gd name="T42" fmla="*/ 282 w 381"/>
              <a:gd name="T43" fmla="*/ 60 h 190"/>
              <a:gd name="T44" fmla="*/ 278 w 381"/>
              <a:gd name="T45" fmla="*/ 74 h 190"/>
              <a:gd name="T46" fmla="*/ 276 w 381"/>
              <a:gd name="T47" fmla="*/ 87 h 190"/>
              <a:gd name="T48" fmla="*/ 267 w 381"/>
              <a:gd name="T49" fmla="*/ 105 h 190"/>
              <a:gd name="T50" fmla="*/ 287 w 381"/>
              <a:gd name="T51" fmla="*/ 119 h 190"/>
              <a:gd name="T52" fmla="*/ 278 w 381"/>
              <a:gd name="T53" fmla="*/ 125 h 190"/>
              <a:gd name="T54" fmla="*/ 282 w 381"/>
              <a:gd name="T55" fmla="*/ 128 h 190"/>
              <a:gd name="T56" fmla="*/ 275 w 381"/>
              <a:gd name="T57" fmla="*/ 140 h 190"/>
              <a:gd name="T58" fmla="*/ 289 w 381"/>
              <a:gd name="T59" fmla="*/ 149 h 190"/>
              <a:gd name="T60" fmla="*/ 298 w 381"/>
              <a:gd name="T61" fmla="*/ 158 h 190"/>
              <a:gd name="T62" fmla="*/ 303 w 381"/>
              <a:gd name="T63" fmla="*/ 155 h 190"/>
              <a:gd name="T64" fmla="*/ 306 w 381"/>
              <a:gd name="T65" fmla="*/ 144 h 190"/>
              <a:gd name="T66" fmla="*/ 314 w 381"/>
              <a:gd name="T67" fmla="*/ 155 h 190"/>
              <a:gd name="T68" fmla="*/ 319 w 381"/>
              <a:gd name="T69" fmla="*/ 156 h 190"/>
              <a:gd name="T70" fmla="*/ 323 w 381"/>
              <a:gd name="T71" fmla="*/ 162 h 190"/>
              <a:gd name="T72" fmla="*/ 323 w 381"/>
              <a:gd name="T73" fmla="*/ 174 h 190"/>
              <a:gd name="T74" fmla="*/ 326 w 381"/>
              <a:gd name="T75" fmla="*/ 189 h 190"/>
              <a:gd name="T76" fmla="*/ 341 w 381"/>
              <a:gd name="T77" fmla="*/ 179 h 190"/>
              <a:gd name="T78" fmla="*/ 369 w 381"/>
              <a:gd name="T79" fmla="*/ 144 h 190"/>
              <a:gd name="T80" fmla="*/ 375 w 381"/>
              <a:gd name="T81" fmla="*/ 131 h 190"/>
              <a:gd name="T82" fmla="*/ 368 w 381"/>
              <a:gd name="T83" fmla="*/ 170 h 190"/>
              <a:gd name="T84" fmla="*/ 367 w 381"/>
              <a:gd name="T85" fmla="*/ 177 h 190"/>
              <a:gd name="T86" fmla="*/ 369 w 381"/>
              <a:gd name="T87" fmla="*/ 180 h 190"/>
              <a:gd name="T88" fmla="*/ 378 w 381"/>
              <a:gd name="T89" fmla="*/ 152 h 190"/>
              <a:gd name="T90" fmla="*/ 380 w 381"/>
              <a:gd name="T91" fmla="*/ 120 h 190"/>
              <a:gd name="T92" fmla="*/ 38 w 381"/>
              <a:gd name="T93" fmla="*/ 80 h 190"/>
              <a:gd name="T94" fmla="*/ 53 w 381"/>
              <a:gd name="T95" fmla="*/ 69 h 190"/>
              <a:gd name="T96" fmla="*/ 81 w 381"/>
              <a:gd name="T97" fmla="*/ 62 h 190"/>
              <a:gd name="T98" fmla="*/ 101 w 381"/>
              <a:gd name="T99" fmla="*/ 42 h 190"/>
              <a:gd name="T100" fmla="*/ 127 w 381"/>
              <a:gd name="T101" fmla="*/ 47 h 190"/>
              <a:gd name="T102" fmla="*/ 138 w 381"/>
              <a:gd name="T103" fmla="*/ 56 h 190"/>
              <a:gd name="T104" fmla="*/ 147 w 381"/>
              <a:gd name="T105" fmla="*/ 77 h 190"/>
              <a:gd name="T106" fmla="*/ 168 w 381"/>
              <a:gd name="T107" fmla="*/ 78 h 190"/>
              <a:gd name="T108" fmla="*/ 188 w 381"/>
              <a:gd name="T109" fmla="*/ 95 h 190"/>
              <a:gd name="T110" fmla="*/ 200 w 381"/>
              <a:gd name="T111" fmla="*/ 101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81" h="190">
                <a:moveTo>
                  <a:pt x="209" y="97"/>
                </a:moveTo>
                <a:lnTo>
                  <a:pt x="221" y="104"/>
                </a:lnTo>
                <a:lnTo>
                  <a:pt x="213" y="116"/>
                </a:lnTo>
                <a:lnTo>
                  <a:pt x="213" y="123"/>
                </a:lnTo>
                <a:lnTo>
                  <a:pt x="213" y="123"/>
                </a:lnTo>
                <a:lnTo>
                  <a:pt x="213" y="125"/>
                </a:lnTo>
                <a:lnTo>
                  <a:pt x="212" y="127"/>
                </a:lnTo>
                <a:lnTo>
                  <a:pt x="210" y="131"/>
                </a:lnTo>
                <a:lnTo>
                  <a:pt x="207" y="137"/>
                </a:lnTo>
                <a:lnTo>
                  <a:pt x="206" y="143"/>
                </a:lnTo>
                <a:lnTo>
                  <a:pt x="203" y="149"/>
                </a:lnTo>
                <a:lnTo>
                  <a:pt x="201" y="152"/>
                </a:lnTo>
                <a:lnTo>
                  <a:pt x="201" y="153"/>
                </a:lnTo>
                <a:lnTo>
                  <a:pt x="201" y="153"/>
                </a:lnTo>
                <a:lnTo>
                  <a:pt x="200" y="157"/>
                </a:lnTo>
                <a:lnTo>
                  <a:pt x="201" y="160"/>
                </a:lnTo>
                <a:lnTo>
                  <a:pt x="203" y="162"/>
                </a:lnTo>
                <a:lnTo>
                  <a:pt x="204" y="162"/>
                </a:lnTo>
                <a:lnTo>
                  <a:pt x="206" y="162"/>
                </a:lnTo>
                <a:lnTo>
                  <a:pt x="209" y="162"/>
                </a:lnTo>
                <a:lnTo>
                  <a:pt x="210" y="161"/>
                </a:lnTo>
                <a:lnTo>
                  <a:pt x="212" y="161"/>
                </a:lnTo>
                <a:lnTo>
                  <a:pt x="212" y="161"/>
                </a:lnTo>
                <a:lnTo>
                  <a:pt x="213" y="157"/>
                </a:lnTo>
                <a:lnTo>
                  <a:pt x="216" y="155"/>
                </a:lnTo>
                <a:lnTo>
                  <a:pt x="218" y="155"/>
                </a:lnTo>
                <a:lnTo>
                  <a:pt x="219" y="155"/>
                </a:lnTo>
                <a:lnTo>
                  <a:pt x="221" y="156"/>
                </a:lnTo>
                <a:lnTo>
                  <a:pt x="221" y="157"/>
                </a:lnTo>
                <a:lnTo>
                  <a:pt x="221" y="157"/>
                </a:lnTo>
                <a:lnTo>
                  <a:pt x="223" y="158"/>
                </a:lnTo>
                <a:lnTo>
                  <a:pt x="231" y="170"/>
                </a:lnTo>
                <a:lnTo>
                  <a:pt x="234" y="170"/>
                </a:lnTo>
                <a:lnTo>
                  <a:pt x="234" y="162"/>
                </a:lnTo>
                <a:lnTo>
                  <a:pt x="239" y="162"/>
                </a:lnTo>
                <a:lnTo>
                  <a:pt x="239" y="162"/>
                </a:lnTo>
                <a:lnTo>
                  <a:pt x="239" y="164"/>
                </a:lnTo>
                <a:lnTo>
                  <a:pt x="240" y="167"/>
                </a:lnTo>
                <a:lnTo>
                  <a:pt x="240" y="170"/>
                </a:lnTo>
                <a:lnTo>
                  <a:pt x="242" y="170"/>
                </a:lnTo>
                <a:lnTo>
                  <a:pt x="242" y="170"/>
                </a:lnTo>
                <a:lnTo>
                  <a:pt x="252" y="170"/>
                </a:lnTo>
                <a:lnTo>
                  <a:pt x="260" y="171"/>
                </a:lnTo>
                <a:lnTo>
                  <a:pt x="267" y="173"/>
                </a:lnTo>
                <a:lnTo>
                  <a:pt x="272" y="176"/>
                </a:lnTo>
                <a:lnTo>
                  <a:pt x="276" y="179"/>
                </a:lnTo>
                <a:lnTo>
                  <a:pt x="279" y="182"/>
                </a:lnTo>
                <a:lnTo>
                  <a:pt x="281" y="183"/>
                </a:lnTo>
                <a:lnTo>
                  <a:pt x="281" y="185"/>
                </a:lnTo>
                <a:lnTo>
                  <a:pt x="284" y="177"/>
                </a:lnTo>
                <a:lnTo>
                  <a:pt x="276" y="168"/>
                </a:lnTo>
                <a:lnTo>
                  <a:pt x="275" y="161"/>
                </a:lnTo>
                <a:lnTo>
                  <a:pt x="265" y="158"/>
                </a:lnTo>
                <a:lnTo>
                  <a:pt x="253" y="152"/>
                </a:lnTo>
                <a:lnTo>
                  <a:pt x="245" y="144"/>
                </a:lnTo>
                <a:lnTo>
                  <a:pt x="246" y="141"/>
                </a:lnTo>
                <a:lnTo>
                  <a:pt x="253" y="147"/>
                </a:lnTo>
                <a:lnTo>
                  <a:pt x="253" y="147"/>
                </a:lnTo>
                <a:lnTo>
                  <a:pt x="254" y="147"/>
                </a:lnTo>
                <a:lnTo>
                  <a:pt x="256" y="149"/>
                </a:lnTo>
                <a:lnTo>
                  <a:pt x="259" y="149"/>
                </a:lnTo>
                <a:lnTo>
                  <a:pt x="260" y="150"/>
                </a:lnTo>
                <a:lnTo>
                  <a:pt x="260" y="150"/>
                </a:lnTo>
                <a:lnTo>
                  <a:pt x="267" y="155"/>
                </a:lnTo>
                <a:lnTo>
                  <a:pt x="272" y="156"/>
                </a:lnTo>
                <a:lnTo>
                  <a:pt x="273" y="155"/>
                </a:lnTo>
                <a:lnTo>
                  <a:pt x="273" y="153"/>
                </a:lnTo>
                <a:lnTo>
                  <a:pt x="272" y="150"/>
                </a:lnTo>
                <a:lnTo>
                  <a:pt x="269" y="149"/>
                </a:lnTo>
                <a:lnTo>
                  <a:pt x="267" y="146"/>
                </a:lnTo>
                <a:lnTo>
                  <a:pt x="266" y="146"/>
                </a:lnTo>
                <a:lnTo>
                  <a:pt x="266" y="146"/>
                </a:lnTo>
                <a:lnTo>
                  <a:pt x="263" y="141"/>
                </a:lnTo>
                <a:lnTo>
                  <a:pt x="260" y="138"/>
                </a:lnTo>
                <a:lnTo>
                  <a:pt x="257" y="134"/>
                </a:lnTo>
                <a:lnTo>
                  <a:pt x="256" y="130"/>
                </a:lnTo>
                <a:lnTo>
                  <a:pt x="253" y="126"/>
                </a:lnTo>
                <a:lnTo>
                  <a:pt x="253" y="120"/>
                </a:lnTo>
                <a:lnTo>
                  <a:pt x="252" y="116"/>
                </a:lnTo>
                <a:lnTo>
                  <a:pt x="252" y="111"/>
                </a:lnTo>
                <a:lnTo>
                  <a:pt x="252" y="107"/>
                </a:lnTo>
                <a:lnTo>
                  <a:pt x="252" y="102"/>
                </a:lnTo>
                <a:lnTo>
                  <a:pt x="252" y="100"/>
                </a:lnTo>
                <a:lnTo>
                  <a:pt x="253" y="97"/>
                </a:lnTo>
                <a:lnTo>
                  <a:pt x="253" y="94"/>
                </a:lnTo>
                <a:lnTo>
                  <a:pt x="253" y="92"/>
                </a:lnTo>
                <a:lnTo>
                  <a:pt x="253" y="90"/>
                </a:lnTo>
                <a:lnTo>
                  <a:pt x="253" y="90"/>
                </a:lnTo>
                <a:lnTo>
                  <a:pt x="253" y="90"/>
                </a:lnTo>
                <a:lnTo>
                  <a:pt x="253" y="83"/>
                </a:lnTo>
                <a:lnTo>
                  <a:pt x="251" y="78"/>
                </a:lnTo>
                <a:lnTo>
                  <a:pt x="249" y="72"/>
                </a:lnTo>
                <a:lnTo>
                  <a:pt x="246" y="68"/>
                </a:lnTo>
                <a:lnTo>
                  <a:pt x="243" y="65"/>
                </a:lnTo>
                <a:lnTo>
                  <a:pt x="242" y="63"/>
                </a:lnTo>
                <a:lnTo>
                  <a:pt x="240" y="62"/>
                </a:lnTo>
                <a:lnTo>
                  <a:pt x="239" y="62"/>
                </a:lnTo>
                <a:lnTo>
                  <a:pt x="251" y="62"/>
                </a:lnTo>
                <a:lnTo>
                  <a:pt x="254" y="57"/>
                </a:lnTo>
                <a:lnTo>
                  <a:pt x="254" y="57"/>
                </a:lnTo>
                <a:lnTo>
                  <a:pt x="254" y="56"/>
                </a:lnTo>
                <a:lnTo>
                  <a:pt x="254" y="54"/>
                </a:lnTo>
                <a:lnTo>
                  <a:pt x="254" y="51"/>
                </a:lnTo>
                <a:lnTo>
                  <a:pt x="254" y="50"/>
                </a:lnTo>
                <a:lnTo>
                  <a:pt x="254" y="50"/>
                </a:lnTo>
                <a:lnTo>
                  <a:pt x="253" y="47"/>
                </a:lnTo>
                <a:lnTo>
                  <a:pt x="252" y="44"/>
                </a:lnTo>
                <a:lnTo>
                  <a:pt x="253" y="44"/>
                </a:lnTo>
                <a:lnTo>
                  <a:pt x="254" y="44"/>
                </a:lnTo>
                <a:lnTo>
                  <a:pt x="256" y="44"/>
                </a:lnTo>
                <a:lnTo>
                  <a:pt x="256" y="45"/>
                </a:lnTo>
                <a:lnTo>
                  <a:pt x="257" y="47"/>
                </a:lnTo>
                <a:lnTo>
                  <a:pt x="257" y="47"/>
                </a:lnTo>
                <a:lnTo>
                  <a:pt x="257" y="47"/>
                </a:lnTo>
                <a:lnTo>
                  <a:pt x="259" y="50"/>
                </a:lnTo>
                <a:lnTo>
                  <a:pt x="259" y="51"/>
                </a:lnTo>
                <a:lnTo>
                  <a:pt x="260" y="51"/>
                </a:lnTo>
                <a:lnTo>
                  <a:pt x="260" y="51"/>
                </a:lnTo>
                <a:lnTo>
                  <a:pt x="262" y="50"/>
                </a:lnTo>
                <a:lnTo>
                  <a:pt x="262" y="48"/>
                </a:lnTo>
                <a:lnTo>
                  <a:pt x="263" y="47"/>
                </a:lnTo>
                <a:lnTo>
                  <a:pt x="263" y="47"/>
                </a:lnTo>
                <a:lnTo>
                  <a:pt x="272" y="35"/>
                </a:lnTo>
                <a:lnTo>
                  <a:pt x="272" y="35"/>
                </a:lnTo>
                <a:lnTo>
                  <a:pt x="272" y="35"/>
                </a:lnTo>
                <a:lnTo>
                  <a:pt x="270" y="34"/>
                </a:lnTo>
                <a:lnTo>
                  <a:pt x="270" y="32"/>
                </a:lnTo>
                <a:lnTo>
                  <a:pt x="270" y="30"/>
                </a:lnTo>
                <a:lnTo>
                  <a:pt x="270" y="29"/>
                </a:lnTo>
                <a:lnTo>
                  <a:pt x="270" y="27"/>
                </a:lnTo>
                <a:lnTo>
                  <a:pt x="270" y="24"/>
                </a:lnTo>
                <a:lnTo>
                  <a:pt x="270" y="24"/>
                </a:lnTo>
                <a:lnTo>
                  <a:pt x="270" y="24"/>
                </a:lnTo>
                <a:lnTo>
                  <a:pt x="275" y="20"/>
                </a:lnTo>
                <a:lnTo>
                  <a:pt x="278" y="18"/>
                </a:lnTo>
                <a:lnTo>
                  <a:pt x="279" y="17"/>
                </a:lnTo>
                <a:lnTo>
                  <a:pt x="281" y="18"/>
                </a:lnTo>
                <a:lnTo>
                  <a:pt x="281" y="20"/>
                </a:lnTo>
                <a:lnTo>
                  <a:pt x="281" y="21"/>
                </a:lnTo>
                <a:lnTo>
                  <a:pt x="281" y="23"/>
                </a:lnTo>
                <a:lnTo>
                  <a:pt x="279" y="23"/>
                </a:lnTo>
                <a:lnTo>
                  <a:pt x="279" y="23"/>
                </a:lnTo>
                <a:lnTo>
                  <a:pt x="279" y="27"/>
                </a:lnTo>
                <a:lnTo>
                  <a:pt x="279" y="30"/>
                </a:lnTo>
                <a:lnTo>
                  <a:pt x="279" y="30"/>
                </a:lnTo>
                <a:lnTo>
                  <a:pt x="282" y="30"/>
                </a:lnTo>
                <a:lnTo>
                  <a:pt x="284" y="29"/>
                </a:lnTo>
                <a:lnTo>
                  <a:pt x="285" y="27"/>
                </a:lnTo>
                <a:lnTo>
                  <a:pt x="286" y="26"/>
                </a:lnTo>
                <a:lnTo>
                  <a:pt x="287" y="26"/>
                </a:lnTo>
                <a:lnTo>
                  <a:pt x="287" y="26"/>
                </a:lnTo>
                <a:lnTo>
                  <a:pt x="286" y="29"/>
                </a:lnTo>
                <a:lnTo>
                  <a:pt x="286" y="31"/>
                </a:lnTo>
                <a:lnTo>
                  <a:pt x="285" y="32"/>
                </a:lnTo>
                <a:lnTo>
                  <a:pt x="282" y="35"/>
                </a:lnTo>
                <a:lnTo>
                  <a:pt x="281" y="37"/>
                </a:lnTo>
                <a:lnTo>
                  <a:pt x="279" y="38"/>
                </a:lnTo>
                <a:lnTo>
                  <a:pt x="279" y="39"/>
                </a:lnTo>
                <a:lnTo>
                  <a:pt x="278" y="39"/>
                </a:lnTo>
                <a:lnTo>
                  <a:pt x="278" y="39"/>
                </a:lnTo>
                <a:lnTo>
                  <a:pt x="273" y="44"/>
                </a:lnTo>
                <a:lnTo>
                  <a:pt x="270" y="50"/>
                </a:lnTo>
                <a:lnTo>
                  <a:pt x="267" y="56"/>
                </a:lnTo>
                <a:lnTo>
                  <a:pt x="267" y="62"/>
                </a:lnTo>
                <a:lnTo>
                  <a:pt x="267" y="67"/>
                </a:lnTo>
                <a:lnTo>
                  <a:pt x="267" y="71"/>
                </a:lnTo>
                <a:lnTo>
                  <a:pt x="269" y="74"/>
                </a:lnTo>
                <a:lnTo>
                  <a:pt x="269" y="75"/>
                </a:lnTo>
                <a:lnTo>
                  <a:pt x="269" y="75"/>
                </a:lnTo>
                <a:lnTo>
                  <a:pt x="272" y="74"/>
                </a:lnTo>
                <a:lnTo>
                  <a:pt x="273" y="72"/>
                </a:lnTo>
                <a:lnTo>
                  <a:pt x="276" y="69"/>
                </a:lnTo>
                <a:lnTo>
                  <a:pt x="278" y="67"/>
                </a:lnTo>
                <a:lnTo>
                  <a:pt x="279" y="64"/>
                </a:lnTo>
                <a:lnTo>
                  <a:pt x="281" y="62"/>
                </a:lnTo>
                <a:lnTo>
                  <a:pt x="282" y="60"/>
                </a:lnTo>
                <a:lnTo>
                  <a:pt x="282" y="59"/>
                </a:lnTo>
                <a:lnTo>
                  <a:pt x="282" y="59"/>
                </a:lnTo>
                <a:lnTo>
                  <a:pt x="284" y="62"/>
                </a:lnTo>
                <a:lnTo>
                  <a:pt x="284" y="64"/>
                </a:lnTo>
                <a:lnTo>
                  <a:pt x="282" y="67"/>
                </a:lnTo>
                <a:lnTo>
                  <a:pt x="281" y="69"/>
                </a:lnTo>
                <a:lnTo>
                  <a:pt x="279" y="72"/>
                </a:lnTo>
                <a:lnTo>
                  <a:pt x="278" y="74"/>
                </a:lnTo>
                <a:lnTo>
                  <a:pt x="278" y="75"/>
                </a:lnTo>
                <a:lnTo>
                  <a:pt x="276" y="75"/>
                </a:lnTo>
                <a:lnTo>
                  <a:pt x="276" y="75"/>
                </a:lnTo>
                <a:lnTo>
                  <a:pt x="276" y="77"/>
                </a:lnTo>
                <a:lnTo>
                  <a:pt x="276" y="78"/>
                </a:lnTo>
                <a:lnTo>
                  <a:pt x="276" y="81"/>
                </a:lnTo>
                <a:lnTo>
                  <a:pt x="276" y="84"/>
                </a:lnTo>
                <a:lnTo>
                  <a:pt x="276" y="87"/>
                </a:lnTo>
                <a:lnTo>
                  <a:pt x="276" y="90"/>
                </a:lnTo>
                <a:lnTo>
                  <a:pt x="275" y="93"/>
                </a:lnTo>
                <a:lnTo>
                  <a:pt x="275" y="93"/>
                </a:lnTo>
                <a:lnTo>
                  <a:pt x="275" y="93"/>
                </a:lnTo>
                <a:lnTo>
                  <a:pt x="270" y="98"/>
                </a:lnTo>
                <a:lnTo>
                  <a:pt x="269" y="101"/>
                </a:lnTo>
                <a:lnTo>
                  <a:pt x="267" y="104"/>
                </a:lnTo>
                <a:lnTo>
                  <a:pt x="267" y="105"/>
                </a:lnTo>
                <a:lnTo>
                  <a:pt x="267" y="105"/>
                </a:lnTo>
                <a:lnTo>
                  <a:pt x="269" y="107"/>
                </a:lnTo>
                <a:lnTo>
                  <a:pt x="270" y="107"/>
                </a:lnTo>
                <a:lnTo>
                  <a:pt x="270" y="107"/>
                </a:lnTo>
                <a:lnTo>
                  <a:pt x="270" y="107"/>
                </a:lnTo>
                <a:lnTo>
                  <a:pt x="279" y="111"/>
                </a:lnTo>
                <a:lnTo>
                  <a:pt x="285" y="116"/>
                </a:lnTo>
                <a:lnTo>
                  <a:pt x="287" y="119"/>
                </a:lnTo>
                <a:lnTo>
                  <a:pt x="289" y="120"/>
                </a:lnTo>
                <a:lnTo>
                  <a:pt x="289" y="122"/>
                </a:lnTo>
                <a:lnTo>
                  <a:pt x="287" y="123"/>
                </a:lnTo>
                <a:lnTo>
                  <a:pt x="286" y="123"/>
                </a:lnTo>
                <a:lnTo>
                  <a:pt x="285" y="123"/>
                </a:lnTo>
                <a:lnTo>
                  <a:pt x="285" y="123"/>
                </a:lnTo>
                <a:lnTo>
                  <a:pt x="281" y="123"/>
                </a:lnTo>
                <a:lnTo>
                  <a:pt x="278" y="125"/>
                </a:lnTo>
                <a:lnTo>
                  <a:pt x="275" y="125"/>
                </a:lnTo>
                <a:lnTo>
                  <a:pt x="275" y="126"/>
                </a:lnTo>
                <a:lnTo>
                  <a:pt x="275" y="127"/>
                </a:lnTo>
                <a:lnTo>
                  <a:pt x="275" y="127"/>
                </a:lnTo>
                <a:lnTo>
                  <a:pt x="275" y="128"/>
                </a:lnTo>
                <a:lnTo>
                  <a:pt x="276" y="128"/>
                </a:lnTo>
                <a:lnTo>
                  <a:pt x="276" y="128"/>
                </a:lnTo>
                <a:lnTo>
                  <a:pt x="282" y="128"/>
                </a:lnTo>
                <a:lnTo>
                  <a:pt x="285" y="130"/>
                </a:lnTo>
                <a:lnTo>
                  <a:pt x="285" y="131"/>
                </a:lnTo>
                <a:lnTo>
                  <a:pt x="284" y="132"/>
                </a:lnTo>
                <a:lnTo>
                  <a:pt x="281" y="134"/>
                </a:lnTo>
                <a:lnTo>
                  <a:pt x="278" y="135"/>
                </a:lnTo>
                <a:lnTo>
                  <a:pt x="276" y="135"/>
                </a:lnTo>
                <a:lnTo>
                  <a:pt x="275" y="137"/>
                </a:lnTo>
                <a:lnTo>
                  <a:pt x="275" y="140"/>
                </a:lnTo>
                <a:lnTo>
                  <a:pt x="284" y="150"/>
                </a:lnTo>
                <a:lnTo>
                  <a:pt x="284" y="150"/>
                </a:lnTo>
                <a:lnTo>
                  <a:pt x="285" y="149"/>
                </a:lnTo>
                <a:lnTo>
                  <a:pt x="286" y="149"/>
                </a:lnTo>
                <a:lnTo>
                  <a:pt x="287" y="147"/>
                </a:lnTo>
                <a:lnTo>
                  <a:pt x="287" y="147"/>
                </a:lnTo>
                <a:lnTo>
                  <a:pt x="287" y="147"/>
                </a:lnTo>
                <a:lnTo>
                  <a:pt x="289" y="149"/>
                </a:lnTo>
                <a:lnTo>
                  <a:pt x="292" y="150"/>
                </a:lnTo>
                <a:lnTo>
                  <a:pt x="293" y="153"/>
                </a:lnTo>
                <a:lnTo>
                  <a:pt x="295" y="155"/>
                </a:lnTo>
                <a:lnTo>
                  <a:pt x="295" y="156"/>
                </a:lnTo>
                <a:lnTo>
                  <a:pt x="296" y="157"/>
                </a:lnTo>
                <a:lnTo>
                  <a:pt x="296" y="157"/>
                </a:lnTo>
                <a:lnTo>
                  <a:pt x="298" y="158"/>
                </a:lnTo>
                <a:lnTo>
                  <a:pt x="298" y="158"/>
                </a:lnTo>
                <a:lnTo>
                  <a:pt x="300" y="158"/>
                </a:lnTo>
                <a:lnTo>
                  <a:pt x="303" y="157"/>
                </a:lnTo>
                <a:lnTo>
                  <a:pt x="305" y="157"/>
                </a:lnTo>
                <a:lnTo>
                  <a:pt x="305" y="157"/>
                </a:lnTo>
                <a:lnTo>
                  <a:pt x="305" y="157"/>
                </a:lnTo>
                <a:lnTo>
                  <a:pt x="303" y="156"/>
                </a:lnTo>
                <a:lnTo>
                  <a:pt x="303" y="156"/>
                </a:lnTo>
                <a:lnTo>
                  <a:pt x="303" y="155"/>
                </a:lnTo>
                <a:lnTo>
                  <a:pt x="303" y="155"/>
                </a:lnTo>
                <a:lnTo>
                  <a:pt x="302" y="152"/>
                </a:lnTo>
                <a:lnTo>
                  <a:pt x="300" y="149"/>
                </a:lnTo>
                <a:lnTo>
                  <a:pt x="302" y="147"/>
                </a:lnTo>
                <a:lnTo>
                  <a:pt x="303" y="146"/>
                </a:lnTo>
                <a:lnTo>
                  <a:pt x="305" y="144"/>
                </a:lnTo>
                <a:lnTo>
                  <a:pt x="305" y="144"/>
                </a:lnTo>
                <a:lnTo>
                  <a:pt x="306" y="144"/>
                </a:lnTo>
                <a:lnTo>
                  <a:pt x="308" y="144"/>
                </a:lnTo>
                <a:lnTo>
                  <a:pt x="308" y="144"/>
                </a:lnTo>
                <a:lnTo>
                  <a:pt x="308" y="150"/>
                </a:lnTo>
                <a:lnTo>
                  <a:pt x="308" y="155"/>
                </a:lnTo>
                <a:lnTo>
                  <a:pt x="309" y="156"/>
                </a:lnTo>
                <a:lnTo>
                  <a:pt x="311" y="157"/>
                </a:lnTo>
                <a:lnTo>
                  <a:pt x="312" y="156"/>
                </a:lnTo>
                <a:lnTo>
                  <a:pt x="314" y="155"/>
                </a:lnTo>
                <a:lnTo>
                  <a:pt x="315" y="155"/>
                </a:lnTo>
                <a:lnTo>
                  <a:pt x="315" y="153"/>
                </a:lnTo>
                <a:lnTo>
                  <a:pt x="315" y="153"/>
                </a:lnTo>
                <a:lnTo>
                  <a:pt x="316" y="153"/>
                </a:lnTo>
                <a:lnTo>
                  <a:pt x="317" y="155"/>
                </a:lnTo>
                <a:lnTo>
                  <a:pt x="319" y="156"/>
                </a:lnTo>
                <a:lnTo>
                  <a:pt x="319" y="156"/>
                </a:lnTo>
                <a:lnTo>
                  <a:pt x="319" y="156"/>
                </a:lnTo>
                <a:lnTo>
                  <a:pt x="314" y="161"/>
                </a:lnTo>
                <a:lnTo>
                  <a:pt x="312" y="164"/>
                </a:lnTo>
                <a:lnTo>
                  <a:pt x="312" y="167"/>
                </a:lnTo>
                <a:lnTo>
                  <a:pt x="315" y="167"/>
                </a:lnTo>
                <a:lnTo>
                  <a:pt x="317" y="165"/>
                </a:lnTo>
                <a:lnTo>
                  <a:pt x="320" y="164"/>
                </a:lnTo>
                <a:lnTo>
                  <a:pt x="323" y="162"/>
                </a:lnTo>
                <a:lnTo>
                  <a:pt x="323" y="162"/>
                </a:lnTo>
                <a:lnTo>
                  <a:pt x="323" y="162"/>
                </a:lnTo>
                <a:lnTo>
                  <a:pt x="323" y="164"/>
                </a:lnTo>
                <a:lnTo>
                  <a:pt x="323" y="164"/>
                </a:lnTo>
                <a:lnTo>
                  <a:pt x="323" y="167"/>
                </a:lnTo>
                <a:lnTo>
                  <a:pt x="323" y="168"/>
                </a:lnTo>
                <a:lnTo>
                  <a:pt x="323" y="171"/>
                </a:lnTo>
                <a:lnTo>
                  <a:pt x="323" y="173"/>
                </a:lnTo>
                <a:lnTo>
                  <a:pt x="323" y="174"/>
                </a:lnTo>
                <a:lnTo>
                  <a:pt x="323" y="174"/>
                </a:lnTo>
                <a:lnTo>
                  <a:pt x="323" y="174"/>
                </a:lnTo>
                <a:lnTo>
                  <a:pt x="322" y="179"/>
                </a:lnTo>
                <a:lnTo>
                  <a:pt x="322" y="182"/>
                </a:lnTo>
                <a:lnTo>
                  <a:pt x="322" y="185"/>
                </a:lnTo>
                <a:lnTo>
                  <a:pt x="323" y="186"/>
                </a:lnTo>
                <a:lnTo>
                  <a:pt x="325" y="188"/>
                </a:lnTo>
                <a:lnTo>
                  <a:pt x="326" y="189"/>
                </a:lnTo>
                <a:lnTo>
                  <a:pt x="328" y="189"/>
                </a:lnTo>
                <a:lnTo>
                  <a:pt x="328" y="189"/>
                </a:lnTo>
                <a:lnTo>
                  <a:pt x="334" y="186"/>
                </a:lnTo>
                <a:lnTo>
                  <a:pt x="334" y="186"/>
                </a:lnTo>
                <a:lnTo>
                  <a:pt x="334" y="186"/>
                </a:lnTo>
                <a:lnTo>
                  <a:pt x="336" y="183"/>
                </a:lnTo>
                <a:lnTo>
                  <a:pt x="338" y="182"/>
                </a:lnTo>
                <a:lnTo>
                  <a:pt x="341" y="179"/>
                </a:lnTo>
                <a:lnTo>
                  <a:pt x="344" y="177"/>
                </a:lnTo>
                <a:lnTo>
                  <a:pt x="347" y="174"/>
                </a:lnTo>
                <a:lnTo>
                  <a:pt x="349" y="173"/>
                </a:lnTo>
                <a:lnTo>
                  <a:pt x="353" y="171"/>
                </a:lnTo>
                <a:lnTo>
                  <a:pt x="359" y="171"/>
                </a:lnTo>
                <a:lnTo>
                  <a:pt x="364" y="167"/>
                </a:lnTo>
                <a:lnTo>
                  <a:pt x="365" y="144"/>
                </a:lnTo>
                <a:lnTo>
                  <a:pt x="369" y="144"/>
                </a:lnTo>
                <a:lnTo>
                  <a:pt x="372" y="123"/>
                </a:lnTo>
                <a:lnTo>
                  <a:pt x="372" y="123"/>
                </a:lnTo>
                <a:lnTo>
                  <a:pt x="372" y="123"/>
                </a:lnTo>
                <a:lnTo>
                  <a:pt x="374" y="122"/>
                </a:lnTo>
                <a:lnTo>
                  <a:pt x="375" y="122"/>
                </a:lnTo>
                <a:lnTo>
                  <a:pt x="375" y="123"/>
                </a:lnTo>
                <a:lnTo>
                  <a:pt x="375" y="123"/>
                </a:lnTo>
                <a:lnTo>
                  <a:pt x="375" y="131"/>
                </a:lnTo>
                <a:lnTo>
                  <a:pt x="374" y="138"/>
                </a:lnTo>
                <a:lnTo>
                  <a:pt x="374" y="146"/>
                </a:lnTo>
                <a:lnTo>
                  <a:pt x="372" y="152"/>
                </a:lnTo>
                <a:lnTo>
                  <a:pt x="371" y="156"/>
                </a:lnTo>
                <a:lnTo>
                  <a:pt x="371" y="160"/>
                </a:lnTo>
                <a:lnTo>
                  <a:pt x="369" y="164"/>
                </a:lnTo>
                <a:lnTo>
                  <a:pt x="369" y="167"/>
                </a:lnTo>
                <a:lnTo>
                  <a:pt x="368" y="170"/>
                </a:lnTo>
                <a:lnTo>
                  <a:pt x="368" y="171"/>
                </a:lnTo>
                <a:lnTo>
                  <a:pt x="368" y="173"/>
                </a:lnTo>
                <a:lnTo>
                  <a:pt x="367" y="174"/>
                </a:lnTo>
                <a:lnTo>
                  <a:pt x="367" y="176"/>
                </a:lnTo>
                <a:lnTo>
                  <a:pt x="367" y="176"/>
                </a:lnTo>
                <a:lnTo>
                  <a:pt x="367" y="177"/>
                </a:lnTo>
                <a:lnTo>
                  <a:pt x="367" y="177"/>
                </a:lnTo>
                <a:lnTo>
                  <a:pt x="367" y="177"/>
                </a:lnTo>
                <a:lnTo>
                  <a:pt x="367" y="182"/>
                </a:lnTo>
                <a:lnTo>
                  <a:pt x="367" y="183"/>
                </a:lnTo>
                <a:lnTo>
                  <a:pt x="367" y="185"/>
                </a:lnTo>
                <a:lnTo>
                  <a:pt x="368" y="183"/>
                </a:lnTo>
                <a:lnTo>
                  <a:pt x="368" y="183"/>
                </a:lnTo>
                <a:lnTo>
                  <a:pt x="368" y="182"/>
                </a:lnTo>
                <a:lnTo>
                  <a:pt x="369" y="182"/>
                </a:lnTo>
                <a:lnTo>
                  <a:pt x="369" y="180"/>
                </a:lnTo>
                <a:lnTo>
                  <a:pt x="369" y="180"/>
                </a:lnTo>
                <a:lnTo>
                  <a:pt x="371" y="179"/>
                </a:lnTo>
                <a:lnTo>
                  <a:pt x="372" y="174"/>
                </a:lnTo>
                <a:lnTo>
                  <a:pt x="374" y="171"/>
                </a:lnTo>
                <a:lnTo>
                  <a:pt x="375" y="167"/>
                </a:lnTo>
                <a:lnTo>
                  <a:pt x="375" y="161"/>
                </a:lnTo>
                <a:lnTo>
                  <a:pt x="377" y="157"/>
                </a:lnTo>
                <a:lnTo>
                  <a:pt x="378" y="152"/>
                </a:lnTo>
                <a:lnTo>
                  <a:pt x="378" y="146"/>
                </a:lnTo>
                <a:lnTo>
                  <a:pt x="378" y="141"/>
                </a:lnTo>
                <a:lnTo>
                  <a:pt x="378" y="135"/>
                </a:lnTo>
                <a:lnTo>
                  <a:pt x="378" y="131"/>
                </a:lnTo>
                <a:lnTo>
                  <a:pt x="380" y="127"/>
                </a:lnTo>
                <a:lnTo>
                  <a:pt x="380" y="125"/>
                </a:lnTo>
                <a:lnTo>
                  <a:pt x="380" y="122"/>
                </a:lnTo>
                <a:lnTo>
                  <a:pt x="380" y="120"/>
                </a:lnTo>
                <a:lnTo>
                  <a:pt x="380" y="120"/>
                </a:lnTo>
                <a:lnTo>
                  <a:pt x="380" y="120"/>
                </a:lnTo>
                <a:lnTo>
                  <a:pt x="326" y="130"/>
                </a:lnTo>
                <a:lnTo>
                  <a:pt x="292" y="0"/>
                </a:lnTo>
                <a:lnTo>
                  <a:pt x="0" y="56"/>
                </a:lnTo>
                <a:lnTo>
                  <a:pt x="0" y="56"/>
                </a:lnTo>
                <a:lnTo>
                  <a:pt x="8" y="107"/>
                </a:lnTo>
                <a:lnTo>
                  <a:pt x="38" y="80"/>
                </a:lnTo>
                <a:lnTo>
                  <a:pt x="38" y="80"/>
                </a:lnTo>
                <a:lnTo>
                  <a:pt x="38" y="80"/>
                </a:lnTo>
                <a:lnTo>
                  <a:pt x="38" y="81"/>
                </a:lnTo>
                <a:lnTo>
                  <a:pt x="39" y="81"/>
                </a:lnTo>
                <a:lnTo>
                  <a:pt x="41" y="81"/>
                </a:lnTo>
                <a:lnTo>
                  <a:pt x="44" y="80"/>
                </a:lnTo>
                <a:lnTo>
                  <a:pt x="48" y="75"/>
                </a:lnTo>
                <a:lnTo>
                  <a:pt x="53" y="69"/>
                </a:lnTo>
                <a:lnTo>
                  <a:pt x="59" y="60"/>
                </a:lnTo>
                <a:lnTo>
                  <a:pt x="59" y="60"/>
                </a:lnTo>
                <a:lnTo>
                  <a:pt x="60" y="60"/>
                </a:lnTo>
                <a:lnTo>
                  <a:pt x="63" y="62"/>
                </a:lnTo>
                <a:lnTo>
                  <a:pt x="66" y="63"/>
                </a:lnTo>
                <a:lnTo>
                  <a:pt x="71" y="63"/>
                </a:lnTo>
                <a:lnTo>
                  <a:pt x="75" y="63"/>
                </a:lnTo>
                <a:lnTo>
                  <a:pt x="81" y="62"/>
                </a:lnTo>
                <a:lnTo>
                  <a:pt x="86" y="57"/>
                </a:lnTo>
                <a:lnTo>
                  <a:pt x="90" y="51"/>
                </a:lnTo>
                <a:lnTo>
                  <a:pt x="90" y="51"/>
                </a:lnTo>
                <a:lnTo>
                  <a:pt x="92" y="50"/>
                </a:lnTo>
                <a:lnTo>
                  <a:pt x="92" y="48"/>
                </a:lnTo>
                <a:lnTo>
                  <a:pt x="95" y="45"/>
                </a:lnTo>
                <a:lnTo>
                  <a:pt x="96" y="44"/>
                </a:lnTo>
                <a:lnTo>
                  <a:pt x="101" y="42"/>
                </a:lnTo>
                <a:lnTo>
                  <a:pt x="105" y="42"/>
                </a:lnTo>
                <a:lnTo>
                  <a:pt x="113" y="44"/>
                </a:lnTo>
                <a:lnTo>
                  <a:pt x="122" y="47"/>
                </a:lnTo>
                <a:lnTo>
                  <a:pt x="122" y="47"/>
                </a:lnTo>
                <a:lnTo>
                  <a:pt x="123" y="47"/>
                </a:lnTo>
                <a:lnTo>
                  <a:pt x="125" y="47"/>
                </a:lnTo>
                <a:lnTo>
                  <a:pt x="126" y="47"/>
                </a:lnTo>
                <a:lnTo>
                  <a:pt x="127" y="47"/>
                </a:lnTo>
                <a:lnTo>
                  <a:pt x="129" y="47"/>
                </a:lnTo>
                <a:lnTo>
                  <a:pt x="131" y="47"/>
                </a:lnTo>
                <a:lnTo>
                  <a:pt x="132" y="47"/>
                </a:lnTo>
                <a:lnTo>
                  <a:pt x="132" y="47"/>
                </a:lnTo>
                <a:lnTo>
                  <a:pt x="134" y="53"/>
                </a:lnTo>
                <a:lnTo>
                  <a:pt x="134" y="53"/>
                </a:lnTo>
                <a:lnTo>
                  <a:pt x="135" y="54"/>
                </a:lnTo>
                <a:lnTo>
                  <a:pt x="138" y="56"/>
                </a:lnTo>
                <a:lnTo>
                  <a:pt x="141" y="59"/>
                </a:lnTo>
                <a:lnTo>
                  <a:pt x="144" y="62"/>
                </a:lnTo>
                <a:lnTo>
                  <a:pt x="147" y="65"/>
                </a:lnTo>
                <a:lnTo>
                  <a:pt x="149" y="69"/>
                </a:lnTo>
                <a:lnTo>
                  <a:pt x="149" y="74"/>
                </a:lnTo>
                <a:lnTo>
                  <a:pt x="146" y="78"/>
                </a:lnTo>
                <a:lnTo>
                  <a:pt x="146" y="78"/>
                </a:lnTo>
                <a:lnTo>
                  <a:pt x="147" y="77"/>
                </a:lnTo>
                <a:lnTo>
                  <a:pt x="149" y="75"/>
                </a:lnTo>
                <a:lnTo>
                  <a:pt x="152" y="75"/>
                </a:lnTo>
                <a:lnTo>
                  <a:pt x="156" y="74"/>
                </a:lnTo>
                <a:lnTo>
                  <a:pt x="158" y="72"/>
                </a:lnTo>
                <a:lnTo>
                  <a:pt x="162" y="72"/>
                </a:lnTo>
                <a:lnTo>
                  <a:pt x="165" y="75"/>
                </a:lnTo>
                <a:lnTo>
                  <a:pt x="168" y="78"/>
                </a:lnTo>
                <a:lnTo>
                  <a:pt x="168" y="78"/>
                </a:lnTo>
                <a:lnTo>
                  <a:pt x="168" y="80"/>
                </a:lnTo>
                <a:lnTo>
                  <a:pt x="167" y="83"/>
                </a:lnTo>
                <a:lnTo>
                  <a:pt x="167" y="84"/>
                </a:lnTo>
                <a:lnTo>
                  <a:pt x="167" y="87"/>
                </a:lnTo>
                <a:lnTo>
                  <a:pt x="167" y="92"/>
                </a:lnTo>
                <a:lnTo>
                  <a:pt x="171" y="93"/>
                </a:lnTo>
                <a:lnTo>
                  <a:pt x="177" y="95"/>
                </a:lnTo>
                <a:lnTo>
                  <a:pt x="188" y="95"/>
                </a:lnTo>
                <a:lnTo>
                  <a:pt x="188" y="95"/>
                </a:lnTo>
                <a:lnTo>
                  <a:pt x="188" y="95"/>
                </a:lnTo>
                <a:lnTo>
                  <a:pt x="189" y="95"/>
                </a:lnTo>
                <a:lnTo>
                  <a:pt x="191" y="97"/>
                </a:lnTo>
                <a:lnTo>
                  <a:pt x="193" y="97"/>
                </a:lnTo>
                <a:lnTo>
                  <a:pt x="194" y="98"/>
                </a:lnTo>
                <a:lnTo>
                  <a:pt x="197" y="100"/>
                </a:lnTo>
                <a:lnTo>
                  <a:pt x="200" y="101"/>
                </a:lnTo>
                <a:lnTo>
                  <a:pt x="203" y="102"/>
                </a:lnTo>
                <a:lnTo>
                  <a:pt x="209" y="97"/>
                </a:lnTo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9525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endParaRPr lang="en-US" kern="0" smtClean="0">
              <a:solidFill>
                <a:sysClr val="windowText" lastClr="000000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8961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702197" y="381000"/>
            <a:ext cx="7772400" cy="1219200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 smtClean="0">
                <a:solidFill>
                  <a:schemeClr val="tx2">
                    <a:lumMod val="75000"/>
                  </a:schemeClr>
                </a:solidFill>
                <a:latin typeface="Aharoni" panose="02010803020104030203" pitchFamily="2" charset="-79"/>
                <a:ea typeface="Segoe UI" panose="020B0502040204020203" pitchFamily="34" charset="0"/>
                <a:cs typeface="Aharoni" panose="02010803020104030203" pitchFamily="2" charset="-79"/>
              </a:rPr>
              <a:t>What is “MACRA”</a:t>
            </a:r>
            <a:r>
              <a:rPr lang="en-US" sz="4000" dirty="0" smtClean="0">
                <a:solidFill>
                  <a:schemeClr val="tx2">
                    <a:lumMod val="75000"/>
                  </a:schemeClr>
                </a:solidFill>
                <a:latin typeface="Aharoni" panose="02010803020104030203" pitchFamily="2" charset="-79"/>
                <a:ea typeface="Segoe UI" panose="020B0502040204020203" pitchFamily="34" charset="0"/>
                <a:cs typeface="Aharoni" panose="02010803020104030203" pitchFamily="2" charset="-79"/>
              </a:rPr>
              <a:t>?</a:t>
            </a:r>
            <a:r>
              <a:rPr lang="en-US" sz="3000" dirty="0" smtClean="0">
                <a:solidFill>
                  <a:schemeClr val="tx2">
                    <a:lumMod val="75000"/>
                  </a:schemeClr>
                </a:solidFill>
                <a:latin typeface="Aharoni" panose="02010803020104030203" pitchFamily="2" charset="-79"/>
                <a:ea typeface="Segoe UI" panose="020B0502040204020203" pitchFamily="34" charset="0"/>
                <a:cs typeface="Aharoni" panose="02010803020104030203" pitchFamily="2" charset="-79"/>
              </a:rPr>
              <a:t> </a:t>
            </a:r>
            <a:endParaRPr lang="en-US" sz="3000" dirty="0">
              <a:solidFill>
                <a:schemeClr val="tx2">
                  <a:lumMod val="75000"/>
                </a:schemeClr>
              </a:solidFill>
              <a:latin typeface="Aharoni" panose="02010803020104030203" pitchFamily="2" charset="-79"/>
              <a:ea typeface="Segoe UI" panose="020B0502040204020203" pitchFamily="34" charset="0"/>
              <a:cs typeface="Aharoni" panose="02010803020104030203" pitchFamily="2" charset="-79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5826" y="1768638"/>
            <a:ext cx="7772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e </a:t>
            </a:r>
            <a:r>
              <a:rPr lang="en-US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dicare Access and CHIP Reauthorization Act of 2015 (MACRA) </a:t>
            </a:r>
            <a:r>
              <a:rPr lang="en-US" dirty="0">
                <a:latin typeface="Segoe UI Light" panose="020B0502040204020203" pitchFamily="34" charset="0"/>
              </a:rPr>
              <a:t>is a bipartisan legislation signed into law on April 16, </a:t>
            </a:r>
            <a:r>
              <a:rPr lang="en-US" dirty="0" smtClean="0">
                <a:latin typeface="Segoe UI Light" panose="020B0502040204020203" pitchFamily="34" charset="0"/>
              </a:rPr>
              <a:t>2015. </a:t>
            </a:r>
            <a:endParaRPr lang="en-US" dirty="0">
              <a:latin typeface="Segoe UI Light" panose="020B0502040204020203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731226" y="2549763"/>
            <a:ext cx="3459774" cy="609601"/>
          </a:xfrm>
          <a:prstGeom prst="rect">
            <a:avLst/>
          </a:prstGeom>
          <a:solidFill>
            <a:schemeClr val="accent3">
              <a:lumMod val="20000"/>
              <a:lumOff val="80000"/>
              <a:alpha val="83000"/>
            </a:schemeClr>
          </a:solidFill>
          <a:effectLst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 smtClean="0">
                <a:solidFill>
                  <a:schemeClr val="tx2">
                    <a:lumMod val="7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Aharoni" panose="02010803020104030203" pitchFamily="2" charset="-79"/>
              </a:rPr>
              <a:t>What does </a:t>
            </a:r>
            <a:r>
              <a:rPr lang="en-US" sz="1800" dirty="0">
                <a:solidFill>
                  <a:schemeClr val="tx2">
                    <a:lumMod val="7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Aharoni" panose="02010803020104030203" pitchFamily="2" charset="-79"/>
              </a:rPr>
              <a:t>Title I </a:t>
            </a:r>
            <a:r>
              <a:rPr lang="en-US" sz="1800" dirty="0" smtClean="0">
                <a:solidFill>
                  <a:schemeClr val="tx2">
                    <a:lumMod val="7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Aharoni" panose="02010803020104030203" pitchFamily="2" charset="-79"/>
              </a:rPr>
              <a:t>of MACRA </a:t>
            </a:r>
            <a:r>
              <a:rPr lang="en-US" sz="1800" dirty="0">
                <a:solidFill>
                  <a:schemeClr val="tx2">
                    <a:lumMod val="7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Aharoni" panose="02010803020104030203" pitchFamily="2" charset="-79"/>
              </a:rPr>
              <a:t>do</a:t>
            </a:r>
            <a:r>
              <a:rPr lang="en-US" sz="1800" dirty="0" smtClean="0">
                <a:solidFill>
                  <a:schemeClr val="tx2">
                    <a:lumMod val="7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Aharoni" panose="02010803020104030203" pitchFamily="2" charset="-79"/>
              </a:rPr>
              <a:t>?</a:t>
            </a:r>
            <a:endParaRPr lang="en-US" sz="1800" dirty="0">
              <a:solidFill>
                <a:schemeClr val="tx2">
                  <a:lumMod val="7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Aharoni" panose="02010803020104030203" pitchFamily="2" charset="-79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68897" y="3323187"/>
            <a:ext cx="7239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peals</a:t>
            </a:r>
            <a:r>
              <a:rPr lang="en-US" dirty="0" smtClean="0">
                <a:latin typeface="Segoe UI Light" panose="020B0502040204020203" pitchFamily="34" charset="0"/>
              </a:rPr>
              <a:t> the </a:t>
            </a:r>
            <a:r>
              <a:rPr lang="en-US" dirty="0" smtClean="0"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stainable Growth Rate (SGR) </a:t>
            </a:r>
            <a:r>
              <a:rPr lang="en-US" dirty="0" smtClean="0">
                <a:latin typeface="Segoe UI Light" panose="020B0502040204020203" pitchFamily="34" charset="0"/>
              </a:rPr>
              <a:t>Formul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hanges the way that Medicare </a:t>
            </a:r>
            <a:r>
              <a:rPr lang="en-US" dirty="0" smtClean="0"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wards</a:t>
            </a:r>
            <a:r>
              <a:rPr lang="en-US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dirty="0" smtClean="0"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linicians for</a:t>
            </a:r>
            <a:r>
              <a:rPr lang="en-US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value </a:t>
            </a:r>
            <a:r>
              <a:rPr lang="en-US" dirty="0" smtClean="0">
                <a:latin typeface="Segoe UI Light" panose="020B0502040204020203" pitchFamily="34" charset="0"/>
              </a:rPr>
              <a:t>over volum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reamlines </a:t>
            </a:r>
            <a:r>
              <a:rPr lang="en-US" dirty="0" smtClean="0"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ultiple quality programs </a:t>
            </a:r>
            <a:r>
              <a:rPr lang="en-US" dirty="0" smtClean="0">
                <a:latin typeface="Segoe UI Light" panose="020B0502040204020203" pitchFamily="34" charset="0"/>
              </a:rPr>
              <a:t>under the new </a:t>
            </a:r>
            <a:r>
              <a:rPr lang="en-US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erit-Based Incentive Payments System (MIPS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vides </a:t>
            </a:r>
            <a:r>
              <a:rPr lang="en-US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onus payments </a:t>
            </a:r>
            <a:r>
              <a:rPr lang="en-US" dirty="0" smtClean="0">
                <a:latin typeface="Segoe UI Light" panose="020B0502040204020203" pitchFamily="34" charset="0"/>
              </a:rPr>
              <a:t>for participation in </a:t>
            </a:r>
            <a:r>
              <a:rPr lang="en-US" b="1" u="sng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ligible</a:t>
            </a:r>
            <a:r>
              <a:rPr lang="en-US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alternative payment models (APMs)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D859515-6042-4DBC-99E0-9F999718C03D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64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rgbClr val="EFC2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endParaRPr lang="en-US" sz="6000" dirty="0">
              <a:solidFill>
                <a:srgbClr val="163261"/>
              </a:solidFill>
              <a:latin typeface="Abadi MT Condensed Extra Bold"/>
              <a:cs typeface="Abadi MT Condensed Extra Bold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23364" y="2423152"/>
            <a:ext cx="2658523" cy="1601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endParaRPr lang="en-US" sz="6000" spc="-300" dirty="0" smtClean="0">
              <a:solidFill>
                <a:srgbClr val="18376C"/>
              </a:solidFill>
              <a:latin typeface="Garamond"/>
              <a:cs typeface="Garamond"/>
            </a:endParaRPr>
          </a:p>
          <a:p>
            <a:pPr>
              <a:lnSpc>
                <a:spcPct val="80000"/>
              </a:lnSpc>
            </a:pPr>
            <a:r>
              <a:rPr lang="en-US" sz="6000" spc="-300" dirty="0" smtClean="0">
                <a:solidFill>
                  <a:srgbClr val="18376C"/>
                </a:solidFill>
                <a:latin typeface="Garamond"/>
                <a:cs typeface="Garamond"/>
              </a:rPr>
              <a:t>Better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18673" y="2426471"/>
            <a:ext cx="3110595" cy="16010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endParaRPr lang="en-US" sz="6000" b="1" dirty="0" smtClean="0">
              <a:solidFill>
                <a:srgbClr val="18376C"/>
              </a:solidFill>
              <a:latin typeface="Garamond"/>
              <a:cs typeface="Garamond"/>
            </a:endParaRPr>
          </a:p>
          <a:p>
            <a:pPr>
              <a:lnSpc>
                <a:spcPct val="80000"/>
              </a:lnSpc>
            </a:pPr>
            <a:r>
              <a:rPr lang="en-US" sz="6000" b="1" dirty="0" smtClean="0">
                <a:solidFill>
                  <a:srgbClr val="18376C"/>
                </a:solidFill>
                <a:latin typeface="Garamond"/>
                <a:cs typeface="Garamond"/>
              </a:rPr>
              <a:t>Smarter</a:t>
            </a:r>
            <a:r>
              <a:rPr lang="en-US" sz="6000" b="1" dirty="0">
                <a:solidFill>
                  <a:srgbClr val="18376C"/>
                </a:solidFill>
                <a:latin typeface="Garamond"/>
                <a:cs typeface="Garamond"/>
              </a:rPr>
              <a:t>.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365464" y="2439295"/>
            <a:ext cx="3347519" cy="15507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endParaRPr lang="en-US" sz="5800" b="1" i="1" dirty="0" smtClean="0">
              <a:solidFill>
                <a:srgbClr val="163261"/>
              </a:solidFill>
              <a:latin typeface="Garamond"/>
              <a:cs typeface="Garamond"/>
            </a:endParaRPr>
          </a:p>
          <a:p>
            <a:pPr>
              <a:lnSpc>
                <a:spcPct val="80000"/>
              </a:lnSpc>
            </a:pPr>
            <a:r>
              <a:rPr lang="en-US" sz="5800" b="1" i="1" dirty="0" smtClean="0">
                <a:solidFill>
                  <a:srgbClr val="163261"/>
                </a:solidFill>
                <a:latin typeface="Garamond"/>
                <a:cs typeface="Garamond"/>
              </a:rPr>
              <a:t>Healthier</a:t>
            </a:r>
            <a:r>
              <a:rPr lang="en-US" sz="5800" b="1" i="1" dirty="0">
                <a:solidFill>
                  <a:srgbClr val="163261"/>
                </a:solidFill>
                <a:latin typeface="Garamond"/>
                <a:cs typeface="Garamond"/>
              </a:rPr>
              <a:t>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952626" y="3554148"/>
            <a:ext cx="5286374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4000" dirty="0" smtClean="0"/>
          </a:p>
          <a:p>
            <a:pPr algn="ctr"/>
            <a:r>
              <a:rPr lang="en-US" sz="2800" i="1" dirty="0" smtClean="0">
                <a:solidFill>
                  <a:srgbClr val="3366F7"/>
                </a:solidFill>
                <a:hlinkClick r:id="rId3"/>
              </a:rPr>
              <a:t>Frances.Jensen@cms.hhs.gov</a:t>
            </a:r>
            <a:endParaRPr lang="en-US" sz="2800" i="1" dirty="0" smtClean="0">
              <a:solidFill>
                <a:srgbClr val="3366F7"/>
              </a:solidFill>
            </a:endParaRPr>
          </a:p>
          <a:p>
            <a:pPr algn="ctr"/>
            <a:r>
              <a:rPr lang="en-US" sz="2800" i="1" dirty="0" smtClean="0">
                <a:solidFill>
                  <a:srgbClr val="3366F7"/>
                </a:solidFill>
              </a:rPr>
              <a:t>410-786-2252</a:t>
            </a:r>
          </a:p>
          <a:p>
            <a:pPr algn="ctr"/>
            <a:endParaRPr lang="en-US" sz="2800" i="1" dirty="0" smtClean="0">
              <a:solidFill>
                <a:srgbClr val="3366F7"/>
              </a:solidFill>
            </a:endParaRPr>
          </a:p>
          <a:p>
            <a:pPr algn="ctr"/>
            <a:r>
              <a:rPr lang="en-US" sz="4000" i="1" dirty="0" smtClean="0">
                <a:solidFill>
                  <a:srgbClr val="3366F7"/>
                </a:solidFill>
              </a:rPr>
              <a:t>Questions?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938" y="271463"/>
            <a:ext cx="5557837" cy="2671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93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900" decel="1000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900" decel="1000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900" decel="1000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  <p:bldP spid="13" grpId="0"/>
      <p:bldP spid="14" grpId="0" build="allAtOnce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rgbClr val="EFC2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endParaRPr lang="en-US" sz="6000" dirty="0">
              <a:solidFill>
                <a:srgbClr val="163261"/>
              </a:solidFill>
              <a:latin typeface="Abadi MT Condensed Extra Bold"/>
              <a:cs typeface="Abadi MT Condensed Extra Bold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23364" y="2423152"/>
            <a:ext cx="26585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6000" spc="-300" dirty="0" smtClean="0">
                <a:solidFill>
                  <a:srgbClr val="18376C"/>
                </a:solidFill>
                <a:latin typeface="Garamond"/>
                <a:cs typeface="Garamond"/>
              </a:rPr>
              <a:t>Better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18673" y="2426471"/>
            <a:ext cx="2917911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en-US" sz="6000" b="1" dirty="0">
                <a:solidFill>
                  <a:srgbClr val="18376C"/>
                </a:solidFill>
                <a:latin typeface="Garamond"/>
                <a:cs typeface="Garamond"/>
              </a:rPr>
              <a:t>Smarter.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365464" y="2439295"/>
            <a:ext cx="2877232" cy="8361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en-US" sz="5800" b="1" i="1" dirty="0">
                <a:solidFill>
                  <a:srgbClr val="163261"/>
                </a:solidFill>
                <a:latin typeface="Garamond"/>
                <a:cs typeface="Garamond"/>
              </a:rPr>
              <a:t>Healthier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952626" y="3554148"/>
            <a:ext cx="528637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o we will continue to work across sectors and across the aisle for the goals we </a:t>
            </a:r>
            <a:r>
              <a:rPr lang="en-US" dirty="0" smtClean="0"/>
              <a:t>share: </a:t>
            </a:r>
            <a:r>
              <a:rPr lang="en-US" b="1" i="1" u="sng" dirty="0" smtClean="0">
                <a:solidFill>
                  <a:srgbClr val="18376C"/>
                </a:solidFill>
              </a:rPr>
              <a:t>better </a:t>
            </a:r>
            <a:r>
              <a:rPr lang="en-US" b="1" i="1" u="sng" dirty="0">
                <a:solidFill>
                  <a:srgbClr val="18376C"/>
                </a:solidFill>
              </a:rPr>
              <a:t>care, smarter spending, and healthier people</a:t>
            </a:r>
            <a:r>
              <a:rPr lang="en-US" i="1" dirty="0">
                <a:solidFill>
                  <a:srgbClr val="3366F7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66954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900" decel="100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  <p:bldP spid="13" grpId="0"/>
      <p:bldP spid="14" grpId="0" build="allAtOnce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Our guiding principle</a:t>
            </a:r>
            <a:endParaRPr lang="en-US" sz="3200" dirty="0"/>
          </a:p>
        </p:txBody>
      </p:sp>
      <p:sp>
        <p:nvSpPr>
          <p:cNvPr id="5" name="Rectangle 4"/>
          <p:cNvSpPr/>
          <p:nvPr/>
        </p:nvSpPr>
        <p:spPr>
          <a:xfrm>
            <a:off x="500063" y="1557339"/>
            <a:ext cx="7967042" cy="38164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/>
          <a:p>
            <a:pPr algn="ctr"/>
            <a:r>
              <a:rPr lang="en-US" sz="8800" b="1" cap="all" spc="0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SIM</a:t>
            </a:r>
            <a:r>
              <a:rPr lang="en-US" sz="6600" b="1" cap="all" spc="0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 is Everything </a:t>
            </a:r>
          </a:p>
          <a:p>
            <a:pPr algn="ctr"/>
            <a:r>
              <a:rPr lang="en-US" sz="6600" b="1" cap="all" spc="0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and</a:t>
            </a:r>
          </a:p>
          <a:p>
            <a:pPr algn="ctr"/>
            <a:r>
              <a:rPr lang="en-US" sz="6600" b="1" cap="all" spc="0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everything is </a:t>
            </a:r>
            <a:r>
              <a:rPr lang="en-US" sz="8800" b="1" cap="all" spc="0" dirty="0" err="1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sim</a:t>
            </a:r>
            <a:endParaRPr lang="en-US" sz="8800" b="1" cap="all" spc="0" dirty="0">
              <a:ln/>
              <a:solidFill>
                <a:schemeClr val="accent1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81254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sz="2800" dirty="0" smtClean="0"/>
              <a:t>Where are we now…'Jaw-dropping</a:t>
            </a:r>
            <a:r>
              <a:rPr lang="en-US" sz="2800" dirty="0"/>
              <a:t>': Medicare deaths, hospitalizations AND costs reduc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022FF3C-310F-4809-A5BE-BC5BA8AA108D}" type="slidenum">
              <a:rPr lang="en-US" smtClean="0"/>
              <a:t>5</a:t>
            </a:fld>
            <a:endParaRPr lang="en-US"/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62357"/>
              </p:ext>
            </p:extLst>
          </p:nvPr>
        </p:nvGraphicFramePr>
        <p:xfrm>
          <a:off x="342900" y="1947283"/>
          <a:ext cx="8458200" cy="3843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550"/>
                <a:gridCol w="2114550"/>
                <a:gridCol w="2114550"/>
                <a:gridCol w="2114550"/>
              </a:tblGrid>
              <a:tr h="413699"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1999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2013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Difference</a:t>
                      </a:r>
                      <a:endParaRPr lang="en-US" sz="1700" dirty="0"/>
                    </a:p>
                  </a:txBody>
                  <a:tcPr/>
                </a:tc>
              </a:tr>
              <a:tr h="413699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All-cause mortality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5.30%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4.45%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-0.85% </a:t>
                      </a:r>
                      <a:endParaRPr lang="en-US" sz="1700" dirty="0"/>
                    </a:p>
                  </a:txBody>
                  <a:tcPr/>
                </a:tc>
              </a:tr>
              <a:tr h="714055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Total Hospitalizations/</a:t>
                      </a:r>
                    </a:p>
                    <a:p>
                      <a:pPr algn="ctr"/>
                      <a:r>
                        <a:rPr lang="en-US" sz="1700" dirty="0" smtClean="0"/>
                        <a:t>100,000 beneficia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35,274 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26,930 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-8,344</a:t>
                      </a:r>
                      <a:endParaRPr lang="en-US" sz="1700" dirty="0"/>
                    </a:p>
                  </a:txBody>
                  <a:tcPr/>
                </a:tc>
              </a:tr>
              <a:tr h="714055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In-patient Expenditures/</a:t>
                      </a:r>
                    </a:p>
                    <a:p>
                      <a:pPr algn="ctr"/>
                      <a:r>
                        <a:rPr lang="en-US" sz="1700" dirty="0" smtClean="0">
                          <a:effectLst/>
                        </a:rPr>
                        <a:t>Medicare fee-for-service beneficiary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$3,290 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$2,801 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-$489</a:t>
                      </a:r>
                      <a:endParaRPr lang="en-US" sz="1700" dirty="0"/>
                    </a:p>
                  </a:txBody>
                  <a:tcPr/>
                </a:tc>
              </a:tr>
              <a:tr h="1020079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End</a:t>
                      </a:r>
                      <a:r>
                        <a:rPr lang="en-US" sz="1700" baseline="0" dirty="0" smtClean="0"/>
                        <a:t> of Life Hospitalization (last 6 months)/100 deaths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131.1 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102.9</a:t>
                      </a:r>
                      <a:endParaRPr lang="en-US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effectLst/>
                        </a:rPr>
                        <a:t>-28.2</a:t>
                      </a:r>
                      <a:endParaRPr lang="en-US" sz="17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11727" y="1543363"/>
            <a:ext cx="8686800" cy="361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750" i="1" dirty="0">
                <a:solidFill>
                  <a:prstClr val="black"/>
                </a:solidFill>
              </a:rPr>
              <a:t>Sample consisted of 68,374,904 unique Medicare beneficiaries (FFS and </a:t>
            </a:r>
            <a:r>
              <a:rPr lang="en-US" sz="1750" i="1" dirty="0" smtClean="0">
                <a:solidFill>
                  <a:prstClr val="black"/>
                </a:solidFill>
              </a:rPr>
              <a:t>Medicare </a:t>
            </a:r>
            <a:r>
              <a:rPr lang="en-US" sz="1750" i="1" dirty="0">
                <a:solidFill>
                  <a:prstClr val="black"/>
                </a:solidFill>
              </a:rPr>
              <a:t>Advantage). </a:t>
            </a:r>
          </a:p>
        </p:txBody>
      </p:sp>
      <p:sp>
        <p:nvSpPr>
          <p:cNvPr id="7" name="Rectangle 6"/>
          <p:cNvSpPr/>
          <p:nvPr/>
        </p:nvSpPr>
        <p:spPr>
          <a:xfrm>
            <a:off x="464127" y="5754929"/>
            <a:ext cx="8382000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700" i="1" dirty="0">
                <a:solidFill>
                  <a:prstClr val="black"/>
                </a:solidFill>
              </a:rPr>
              <a:t>Findings were consistent across geographic and demographic groups.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19336"/>
            <a:ext cx="9144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prstClr val="black"/>
                </a:solidFill>
              </a:rPr>
              <a:t>Mortality, Hospitalizations, and Expenditures for the Medicare Population Aged 65 Years or Older, </a:t>
            </a:r>
            <a:r>
              <a:rPr lang="en-US" sz="1400" b="1" dirty="0" smtClean="0">
                <a:solidFill>
                  <a:prstClr val="black"/>
                </a:solidFill>
              </a:rPr>
              <a:t>1999-2013; </a:t>
            </a:r>
            <a:r>
              <a:rPr lang="en-US" sz="1400" dirty="0" smtClean="0">
                <a:solidFill>
                  <a:prstClr val="black"/>
                </a:solidFill>
              </a:rPr>
              <a:t>Harlan </a:t>
            </a:r>
            <a:r>
              <a:rPr lang="en-US" sz="1400" dirty="0">
                <a:solidFill>
                  <a:prstClr val="black"/>
                </a:solidFill>
              </a:rPr>
              <a:t>M. </a:t>
            </a:r>
            <a:r>
              <a:rPr lang="en-US" sz="1400" dirty="0" err="1">
                <a:solidFill>
                  <a:prstClr val="black"/>
                </a:solidFill>
              </a:rPr>
              <a:t>Krumholz</a:t>
            </a:r>
            <a:r>
              <a:rPr lang="en-US" sz="1400" dirty="0">
                <a:solidFill>
                  <a:prstClr val="black"/>
                </a:solidFill>
              </a:rPr>
              <a:t>, MD, </a:t>
            </a:r>
            <a:r>
              <a:rPr lang="en-US" sz="1400" dirty="0" smtClean="0">
                <a:solidFill>
                  <a:prstClr val="black"/>
                </a:solidFill>
              </a:rPr>
              <a:t>SM; </a:t>
            </a:r>
            <a:r>
              <a:rPr lang="en-US" sz="1400" dirty="0" err="1">
                <a:solidFill>
                  <a:prstClr val="black"/>
                </a:solidFill>
              </a:rPr>
              <a:t>Sudhakar</a:t>
            </a:r>
            <a:r>
              <a:rPr lang="en-US" sz="1400" dirty="0">
                <a:solidFill>
                  <a:prstClr val="black"/>
                </a:solidFill>
              </a:rPr>
              <a:t> V. </a:t>
            </a:r>
            <a:r>
              <a:rPr lang="en-US" sz="1400" dirty="0" err="1">
                <a:solidFill>
                  <a:prstClr val="black"/>
                </a:solidFill>
              </a:rPr>
              <a:t>Nuti</a:t>
            </a:r>
            <a:r>
              <a:rPr lang="en-US" sz="1400" dirty="0">
                <a:solidFill>
                  <a:prstClr val="black"/>
                </a:solidFill>
              </a:rPr>
              <a:t>, </a:t>
            </a:r>
            <a:r>
              <a:rPr lang="en-US" sz="1400" dirty="0" smtClean="0">
                <a:solidFill>
                  <a:prstClr val="black"/>
                </a:solidFill>
              </a:rPr>
              <a:t>BA; </a:t>
            </a:r>
            <a:r>
              <a:rPr lang="en-US" sz="1400" dirty="0">
                <a:solidFill>
                  <a:prstClr val="black"/>
                </a:solidFill>
              </a:rPr>
              <a:t>Nicholas S. Downing, </a:t>
            </a:r>
            <a:r>
              <a:rPr lang="en-US" sz="1400" dirty="0" smtClean="0">
                <a:solidFill>
                  <a:prstClr val="black"/>
                </a:solidFill>
              </a:rPr>
              <a:t>MD; </a:t>
            </a:r>
            <a:r>
              <a:rPr lang="en-US" sz="1400" dirty="0">
                <a:solidFill>
                  <a:prstClr val="black"/>
                </a:solidFill>
              </a:rPr>
              <a:t>Sharon-</a:t>
            </a:r>
            <a:r>
              <a:rPr lang="en-US" sz="1400" dirty="0" err="1">
                <a:solidFill>
                  <a:prstClr val="black"/>
                </a:solidFill>
              </a:rPr>
              <a:t>Lise</a:t>
            </a:r>
            <a:r>
              <a:rPr lang="en-US" sz="1400" dirty="0">
                <a:solidFill>
                  <a:prstClr val="black"/>
                </a:solidFill>
              </a:rPr>
              <a:t> T. Normand, </a:t>
            </a:r>
            <a:r>
              <a:rPr lang="en-US" sz="1400" dirty="0" smtClean="0">
                <a:solidFill>
                  <a:prstClr val="black"/>
                </a:solidFill>
              </a:rPr>
              <a:t>PhD; </a:t>
            </a:r>
            <a:r>
              <a:rPr lang="en-US" sz="1400" dirty="0">
                <a:solidFill>
                  <a:prstClr val="black"/>
                </a:solidFill>
              </a:rPr>
              <a:t>Yun Wang, </a:t>
            </a:r>
            <a:r>
              <a:rPr lang="en-US" sz="1400" dirty="0" smtClean="0">
                <a:solidFill>
                  <a:prstClr val="black"/>
                </a:solidFill>
              </a:rPr>
              <a:t>PhD; </a:t>
            </a:r>
            <a:r>
              <a:rPr lang="en-US" sz="1400" i="1" dirty="0" smtClean="0">
                <a:solidFill>
                  <a:prstClr val="black"/>
                </a:solidFill>
              </a:rPr>
              <a:t>JAMA</a:t>
            </a:r>
            <a:r>
              <a:rPr lang="en-US" sz="1400" i="1" dirty="0">
                <a:solidFill>
                  <a:prstClr val="black"/>
                </a:solidFill>
              </a:rPr>
              <a:t>. </a:t>
            </a:r>
            <a:r>
              <a:rPr lang="en-US" sz="1400" dirty="0">
                <a:solidFill>
                  <a:prstClr val="black"/>
                </a:solidFill>
              </a:rPr>
              <a:t>2015;314(4):</a:t>
            </a:r>
            <a:r>
              <a:rPr lang="en-US" sz="1400" dirty="0" smtClean="0">
                <a:solidFill>
                  <a:prstClr val="black"/>
                </a:solidFill>
              </a:rPr>
              <a:t>355-365.; doi:10.1001/jama.2015.8035</a:t>
            </a:r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548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roup 57"/>
          <p:cNvGrpSpPr/>
          <p:nvPr/>
        </p:nvGrpSpPr>
        <p:grpSpPr>
          <a:xfrm flipV="1">
            <a:off x="0" y="3084480"/>
            <a:ext cx="9144000" cy="3322882"/>
            <a:chOff x="0" y="746361"/>
            <a:chExt cx="9144000" cy="3320944"/>
          </a:xfrm>
          <a:solidFill>
            <a:srgbClr val="18376C"/>
          </a:solidFill>
        </p:grpSpPr>
        <p:sp>
          <p:nvSpPr>
            <p:cNvPr id="25" name="Rectangle 24"/>
            <p:cNvSpPr/>
            <p:nvPr/>
          </p:nvSpPr>
          <p:spPr>
            <a:xfrm>
              <a:off x="0" y="746361"/>
              <a:ext cx="9144000" cy="278902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80000"/>
                </a:lnSpc>
              </a:pPr>
              <a:endParaRPr lang="en-US" sz="6000" dirty="0">
                <a:solidFill>
                  <a:srgbClr val="254061"/>
                </a:solidFill>
                <a:latin typeface="Abadi MT Condensed Extra Bold"/>
                <a:cs typeface="Abadi MT Condensed Extra Bold"/>
              </a:endParaRPr>
            </a:p>
          </p:txBody>
        </p:sp>
        <p:sp>
          <p:nvSpPr>
            <p:cNvPr id="56" name="Isosceles Triangle 55"/>
            <p:cNvSpPr/>
            <p:nvPr/>
          </p:nvSpPr>
          <p:spPr>
            <a:xfrm rot="10800000">
              <a:off x="3851042" y="3475018"/>
              <a:ext cx="1184503" cy="592287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254061"/>
                </a:solidFill>
              </a:endParaRPr>
            </a:p>
          </p:txBody>
        </p:sp>
      </p:grpSp>
      <p:sp>
        <p:nvSpPr>
          <p:cNvPr id="19" name="Oval 18"/>
          <p:cNvSpPr/>
          <p:nvPr/>
        </p:nvSpPr>
        <p:spPr>
          <a:xfrm>
            <a:off x="3749613" y="4363200"/>
            <a:ext cx="1511940" cy="1511940"/>
          </a:xfrm>
          <a:prstGeom prst="ellipse">
            <a:avLst/>
          </a:prstGeom>
          <a:solidFill>
            <a:srgbClr val="0450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Oval 19"/>
          <p:cNvSpPr/>
          <p:nvPr/>
        </p:nvSpPr>
        <p:spPr>
          <a:xfrm>
            <a:off x="6600700" y="4363200"/>
            <a:ext cx="1511940" cy="1511940"/>
          </a:xfrm>
          <a:prstGeom prst="ellipse">
            <a:avLst/>
          </a:prstGeom>
          <a:solidFill>
            <a:srgbClr val="0450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20768" y="4363200"/>
            <a:ext cx="1511940" cy="1511940"/>
          </a:xfrm>
          <a:prstGeom prst="ellipse">
            <a:avLst/>
          </a:prstGeom>
          <a:solidFill>
            <a:srgbClr val="0450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497690" y="2038839"/>
            <a:ext cx="4412426" cy="874758"/>
          </a:xfrm>
        </p:spPr>
        <p:txBody>
          <a:bodyPr/>
          <a:lstStyle/>
          <a:p>
            <a:r>
              <a:rPr lang="en-US" sz="1600" b="0" i="1" dirty="0" smtClean="0">
                <a:solidFill>
                  <a:schemeClr val="accent1">
                    <a:lumMod val="50000"/>
                  </a:schemeClr>
                </a:solidFill>
                <a:latin typeface="Calibri"/>
                <a:cs typeface="Calibri"/>
              </a:rPr>
              <a:t>Improving the way providers are incentivized, the way care is delivered, and the way information is distributed will help provide better care at lower cost across the health care system.</a:t>
            </a:r>
            <a:endParaRPr lang="en-US" sz="1600" b="0" i="1" dirty="0">
              <a:solidFill>
                <a:schemeClr val="accent1">
                  <a:lumMod val="50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121489" y="-52864"/>
            <a:ext cx="879411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Where are we going…Delivery 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ystem Reform requires focusing on the way we pay providers, deliver care, and distribute informa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56087" y="6504801"/>
            <a:ext cx="8229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: Burwell SM. Setting Value-Based Payment Goals  ─ HHS Efforts to Improve U.S. Health Care. NEJM 2015 Jan 26; published online first.</a:t>
            </a:r>
            <a:endParaRPr lang="en-US" sz="1000" dirty="0"/>
          </a:p>
        </p:txBody>
      </p:sp>
      <p:sp>
        <p:nvSpPr>
          <p:cNvPr id="44" name="TextBox 43"/>
          <p:cNvSpPr txBox="1"/>
          <p:nvPr/>
        </p:nvSpPr>
        <p:spPr>
          <a:xfrm>
            <a:off x="6596370" y="1698632"/>
            <a:ext cx="79214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dirty="0" smtClean="0">
                <a:solidFill>
                  <a:schemeClr val="accent1">
                    <a:lumMod val="50000"/>
                  </a:schemeClr>
                </a:solidFill>
              </a:rPr>
              <a:t>}</a:t>
            </a:r>
            <a:endParaRPr lang="en-US" sz="8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882048" y="785643"/>
            <a:ext cx="86415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0" b="1" dirty="0" smtClean="0">
                <a:solidFill>
                  <a:schemeClr val="accent1">
                    <a:lumMod val="50000"/>
                  </a:schemeClr>
                </a:solidFill>
                <a:latin typeface="Times"/>
                <a:cs typeface="Times"/>
              </a:rPr>
              <a:t>“</a:t>
            </a:r>
            <a:endParaRPr lang="en-US" sz="10000" b="1" dirty="0">
              <a:solidFill>
                <a:schemeClr val="accent1">
                  <a:lumMod val="50000"/>
                </a:schemeClr>
              </a:solidFill>
              <a:latin typeface="Times"/>
              <a:cs typeface="Time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042699" y="1695851"/>
            <a:ext cx="79214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dirty="0" smtClean="0">
                <a:solidFill>
                  <a:schemeClr val="accent1">
                    <a:lumMod val="50000"/>
                  </a:schemeClr>
                </a:solidFill>
              </a:rPr>
              <a:t>{</a:t>
            </a:r>
            <a:endParaRPr lang="en-US" sz="800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52" name="Elbow Connector 51"/>
          <p:cNvCxnSpPr/>
          <p:nvPr/>
        </p:nvCxnSpPr>
        <p:spPr>
          <a:xfrm rot="16200000" flipH="1">
            <a:off x="1308955" y="1836202"/>
            <a:ext cx="649177" cy="550893"/>
          </a:xfrm>
          <a:prstGeom prst="bentConnector2">
            <a:avLst/>
          </a:prstGeom>
          <a:ln w="38100">
            <a:solidFill>
              <a:schemeClr val="accent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968360" y="4700409"/>
            <a:ext cx="122661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Pay</a:t>
            </a:r>
          </a:p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Providers</a:t>
            </a:r>
          </a:p>
        </p:txBody>
      </p:sp>
      <p:sp>
        <p:nvSpPr>
          <p:cNvPr id="3" name="Rectangle 2"/>
          <p:cNvSpPr/>
          <p:nvPr/>
        </p:nvSpPr>
        <p:spPr>
          <a:xfrm>
            <a:off x="4061230" y="4743609"/>
            <a:ext cx="92067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>
                <a:solidFill>
                  <a:srgbClr val="FFFFFF"/>
                </a:solidFill>
              </a:rPr>
              <a:t>Deliver </a:t>
            </a:r>
            <a:endParaRPr lang="en-US" sz="2000" dirty="0" smtClean="0">
              <a:solidFill>
                <a:srgbClr val="FFFFFF"/>
              </a:solidFill>
            </a:endParaRPr>
          </a:p>
          <a:p>
            <a:pPr algn="ctr"/>
            <a:r>
              <a:rPr lang="en-US" sz="2000" dirty="0" smtClean="0">
                <a:solidFill>
                  <a:srgbClr val="FFFFFF"/>
                </a:solidFill>
              </a:rPr>
              <a:t>Care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350150" y="4727845"/>
            <a:ext cx="209943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rgbClr val="FFFFFF"/>
                </a:solidFill>
              </a:rPr>
              <a:t>Distribute</a:t>
            </a:r>
          </a:p>
          <a:p>
            <a:pPr algn="ctr"/>
            <a:r>
              <a:rPr lang="en-US" sz="2000" dirty="0" smtClean="0">
                <a:solidFill>
                  <a:srgbClr val="FFFFFF"/>
                </a:solidFill>
              </a:rPr>
              <a:t> Information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68178" y="3706560"/>
            <a:ext cx="19525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FOCUS AREAS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935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1"/>
          <p:cNvSpPr txBox="1">
            <a:spLocks/>
          </p:cNvSpPr>
          <p:nvPr/>
        </p:nvSpPr>
        <p:spPr>
          <a:xfrm>
            <a:off x="417252" y="288658"/>
            <a:ext cx="8495930" cy="885653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rgbClr val="002060"/>
                </a:solidFill>
                <a:latin typeface="Corbel" panose="020B0503020204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+mn-lt"/>
              </a:rPr>
              <a:t>CMS Payment Framework </a:t>
            </a:r>
            <a:endParaRPr lang="en-US" dirty="0" smtClean="0">
              <a:latin typeface="+mn-lt"/>
            </a:endParaRPr>
          </a:p>
        </p:txBody>
      </p:sp>
      <p:sp>
        <p:nvSpPr>
          <p:cNvPr id="9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118806" y="6611858"/>
            <a:ext cx="2057400" cy="2738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1100" dirty="0"/>
              <a:t>4</a:t>
            </a:r>
          </a:p>
        </p:txBody>
      </p:sp>
      <p:sp>
        <p:nvSpPr>
          <p:cNvPr id="2" name="Rectangle 1"/>
          <p:cNvSpPr/>
          <p:nvPr/>
        </p:nvSpPr>
        <p:spPr>
          <a:xfrm>
            <a:off x="48126" y="6322736"/>
            <a:ext cx="9144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aseline="300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Rajkumar</a:t>
            </a:r>
            <a:r>
              <a:rPr lang="en-US" sz="1400" baseline="30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R, Conway PH, </a:t>
            </a:r>
            <a:r>
              <a:rPr lang="en-US" sz="1400" baseline="300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Tavenner</a:t>
            </a:r>
            <a:r>
              <a:rPr lang="en-US" sz="1400" baseline="30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M. </a:t>
            </a:r>
            <a:r>
              <a:rPr lang="en-US" sz="1400" baseline="30000" dirty="0">
                <a:solidFill>
                  <a:srgbClr val="2222CC"/>
                </a:solidFill>
                <a:latin typeface="Times New Roman" panose="02020603050405020304" pitchFamily="18" charset="0"/>
                <a:ea typeface="Times New Roman" panose="02020603050405020304" pitchFamily="18" charset="0"/>
                <a:hlinkClick r:id="rId3"/>
              </a:rPr>
              <a:t>CMS: Engaging multiple payers in payment reform.</a:t>
            </a:r>
            <a:r>
              <a:rPr lang="en-US" sz="1400" baseline="30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JAMA. 2014 May 21: 311(19):1967-8</a:t>
            </a:r>
            <a:r>
              <a:rPr lang="en-US" sz="1400" baseline="300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.</a:t>
            </a:r>
            <a:endParaRPr lang="en-US" sz="1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6163" y="1443599"/>
            <a:ext cx="6681730" cy="4845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58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tle 1"/>
          <p:cNvSpPr txBox="1">
            <a:spLocks/>
          </p:cNvSpPr>
          <p:nvPr/>
        </p:nvSpPr>
        <p:spPr>
          <a:xfrm>
            <a:off x="1256374" y="520662"/>
            <a:ext cx="6593506" cy="571533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rgbClr val="002060"/>
                </a:solidFill>
                <a:latin typeface="Corbel" panose="020B0503020204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+mj-lt"/>
              </a:rPr>
              <a:t>Pathway to </a:t>
            </a:r>
            <a:r>
              <a:rPr lang="en-US" dirty="0" smtClean="0">
                <a:latin typeface="+mj-lt"/>
              </a:rPr>
              <a:t>Patient-Centered </a:t>
            </a:r>
            <a:r>
              <a:rPr lang="en-US" dirty="0">
                <a:latin typeface="+mj-lt"/>
              </a:rPr>
              <a:t>Care</a:t>
            </a:r>
          </a:p>
        </p:txBody>
      </p:sp>
      <p:sp>
        <p:nvSpPr>
          <p:cNvPr id="57" name="Slide Number Placeholder 4"/>
          <p:cNvSpPr txBox="1">
            <a:spLocks/>
          </p:cNvSpPr>
          <p:nvPr/>
        </p:nvSpPr>
        <p:spPr>
          <a:xfrm>
            <a:off x="7059432" y="6655398"/>
            <a:ext cx="20574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dirty="0" smtClean="0"/>
              <a:t>13</a:t>
            </a:r>
            <a:endParaRPr lang="en-US" sz="9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69" y="1742885"/>
            <a:ext cx="9049331" cy="4261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55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2219297" y="2757528"/>
            <a:ext cx="20192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2016</a:t>
            </a:r>
            <a:endParaRPr lang="en-US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4579853" y="2757528"/>
            <a:ext cx="1746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2018</a:t>
            </a:r>
            <a:endParaRPr lang="en-US" b="1" dirty="0"/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94918" y="42110"/>
            <a:ext cx="8794113" cy="553998"/>
          </a:xfrm>
        </p:spPr>
        <p:txBody>
          <a:bodyPr/>
          <a:lstStyle/>
          <a:p>
            <a:r>
              <a:rPr lang="en-US" sz="2400" dirty="0" smtClean="0">
                <a:latin typeface="+mj-lt"/>
              </a:rPr>
              <a:t>Target </a:t>
            </a:r>
            <a:r>
              <a:rPr lang="en-US" sz="2400" dirty="0">
                <a:latin typeface="+mj-lt"/>
              </a:rPr>
              <a:t>percentage of </a:t>
            </a:r>
            <a:r>
              <a:rPr lang="en-US" sz="2400" dirty="0" smtClean="0">
                <a:latin typeface="+mj-lt"/>
              </a:rPr>
              <a:t>payments </a:t>
            </a:r>
            <a:r>
              <a:rPr lang="en-US" sz="2400" dirty="0">
                <a:latin typeface="+mj-lt"/>
              </a:rPr>
              <a:t>in </a:t>
            </a:r>
            <a:r>
              <a:rPr lang="en-US" sz="2400" dirty="0" smtClean="0">
                <a:latin typeface="+mj-lt"/>
              </a:rPr>
              <a:t>‘FFS </a:t>
            </a:r>
            <a:r>
              <a:rPr lang="en-US" sz="2400" dirty="0">
                <a:latin typeface="+mj-lt"/>
              </a:rPr>
              <a:t>linked to </a:t>
            </a:r>
            <a:r>
              <a:rPr lang="en-US" sz="2400" dirty="0" smtClean="0">
                <a:latin typeface="+mj-lt"/>
              </a:rPr>
              <a:t>quality’ </a:t>
            </a:r>
            <a:r>
              <a:rPr lang="en-US" sz="2400" dirty="0">
                <a:latin typeface="+mj-lt"/>
              </a:rPr>
              <a:t>and </a:t>
            </a:r>
            <a:r>
              <a:rPr lang="en-US" sz="2400" dirty="0" smtClean="0">
                <a:latin typeface="+mj-lt"/>
              </a:rPr>
              <a:t>‘alternative </a:t>
            </a:r>
            <a:r>
              <a:rPr lang="en-US" sz="2400" dirty="0">
                <a:latin typeface="+mj-lt"/>
              </a:rPr>
              <a:t>payment </a:t>
            </a:r>
            <a:r>
              <a:rPr lang="en-US" sz="2400" dirty="0" smtClean="0">
                <a:latin typeface="+mj-lt"/>
              </a:rPr>
              <a:t>models’ by </a:t>
            </a:r>
            <a:r>
              <a:rPr lang="en-US" sz="2400" dirty="0">
                <a:latin typeface="+mj-lt"/>
              </a:rPr>
              <a:t>2016 and 2018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233418" y="3538436"/>
            <a:ext cx="6888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~%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309309" y="3232243"/>
            <a:ext cx="551117" cy="306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0%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2281312" y="3299805"/>
            <a:ext cx="1957273" cy="185474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2378632" y="3299805"/>
            <a:ext cx="1762633" cy="1686541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2743416" y="3299805"/>
            <a:ext cx="1080482" cy="100359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2955342" y="3712415"/>
            <a:ext cx="609211" cy="322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30%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972572" y="4564687"/>
            <a:ext cx="622168" cy="335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85%</a:t>
            </a:r>
            <a:endParaRPr lang="en-US" sz="1400" b="1" dirty="0"/>
          </a:p>
        </p:txBody>
      </p:sp>
      <p:sp>
        <p:nvSpPr>
          <p:cNvPr id="21" name="Oval 20"/>
          <p:cNvSpPr/>
          <p:nvPr/>
        </p:nvSpPr>
        <p:spPr>
          <a:xfrm>
            <a:off x="4579852" y="3299805"/>
            <a:ext cx="1891322" cy="1871058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4626435" y="3299805"/>
            <a:ext cx="1798157" cy="1737627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4861100" y="3299805"/>
            <a:ext cx="1328823" cy="1264882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177461" y="3702338"/>
            <a:ext cx="696101" cy="333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5</a:t>
            </a:r>
            <a:r>
              <a:rPr lang="en-US" sz="1400" b="1" dirty="0" smtClean="0">
                <a:solidFill>
                  <a:schemeClr val="bg1"/>
                </a:solidFill>
              </a:rPr>
              <a:t>0%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220957" y="4628391"/>
            <a:ext cx="609108" cy="3239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90%</a:t>
            </a:r>
            <a:endParaRPr lang="en-US" sz="1400" b="1" dirty="0"/>
          </a:p>
        </p:txBody>
      </p:sp>
      <p:sp>
        <p:nvSpPr>
          <p:cNvPr id="47" name="TextBox 46"/>
          <p:cNvSpPr txBox="1"/>
          <p:nvPr/>
        </p:nvSpPr>
        <p:spPr>
          <a:xfrm>
            <a:off x="2219297" y="5416693"/>
            <a:ext cx="4374063" cy="38868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Goals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828774" y="1243124"/>
            <a:ext cx="5300810" cy="918931"/>
            <a:chOff x="816258" y="1004320"/>
            <a:chExt cx="4101572" cy="918931"/>
          </a:xfrm>
        </p:grpSpPr>
        <p:sp>
          <p:nvSpPr>
            <p:cNvPr id="38" name="Rectangle 37"/>
            <p:cNvSpPr/>
            <p:nvPr/>
          </p:nvSpPr>
          <p:spPr>
            <a:xfrm>
              <a:off x="816258" y="1646997"/>
              <a:ext cx="452315" cy="1524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816258" y="1351373"/>
              <a:ext cx="452315" cy="1524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3" name="Rectangle 42"/>
            <p:cNvSpPr/>
            <p:nvPr/>
          </p:nvSpPr>
          <p:spPr>
            <a:xfrm>
              <a:off x="816258" y="1066620"/>
              <a:ext cx="452315" cy="1524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359035" y="1584697"/>
              <a:ext cx="313294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All Medicare FFS (Categories 1-4)</a:t>
              </a:r>
              <a:endParaRPr lang="en-US" sz="1600" dirty="0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359036" y="1289073"/>
              <a:ext cx="304104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FFS linked to quality (Categories 2-4)</a:t>
              </a:r>
              <a:endParaRPr lang="en-US" sz="1600" dirty="0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359035" y="1004320"/>
              <a:ext cx="355879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/>
                <a:t>Alternative payment models (Categories 3-4)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722991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4.68559000000000040000E+000&quot;&gt;&lt;m_ppcolschidx val=&quot;0&quot;/&gt;&lt;m_rgb r=&quot;15&quot; g=&quot;30&quot; b=&quot;39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3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ELVqagz0ONE8LibedD6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LOWP.TdU2Im.szu9wY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i_ECwSk6pCfPH3FzA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XRkISNA0GX6YyD.tNs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NSAf1n9EGZjbb.xNM5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rUaV5vZ02m3J6kOK5h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OquQmdkKEuOyWgZQH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5skHJzka4Eot.7WSM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dqrZubvk2rX1tU48u8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dqrZubvk2rX1tU48u8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KviamE1UmAXu8fz_YLT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KviamE1UmAXu8fz_YL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KviamE1UmAXu8fz_YL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KviamE1UmAXu8fz_YL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fdZ1fKxkuldo7KY6ZG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heme/theme1.xml><?xml version="1.0" encoding="utf-8"?>
<a:theme xmlns:a="http://schemas.openxmlformats.org/drawingml/2006/main" name="CMS_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EsriMapsInfo xmlns="ESRI.ArcGIS.Mapping.OfficeIntegration.PowerPointInfo">
  <Version>Version1</Version>
  <RequiresSignIn>False</RequiresSignIn>
</EsriMapsInfo>
</file>

<file path=customXml/item2.xml><?xml version="1.0" encoding="utf-8"?>
<EsriMapsInfo xmlns="ESRI.ArcGIS.Mapping.OfficeIntegration.PowerPointInfo">
  <Version>Version1</Version>
  <RequiresSignIn>False</RequiresSignIn>
</EsriMapsInfo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56324185465743918DDE83A58DB100" ma:contentTypeVersion="0" ma:contentTypeDescription="Create a new document." ma:contentTypeScope="" ma:versionID="fac230f68e94c253140146aa7308e19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EsriMapsInfo xmlns="ESRI.ArcGIS.Mapping.OfficeIntegration.PowerPointInfo">
  <Version>Version1</Version>
  <RequiresSignIn>False</RequiresSignIn>
</EsriMapsInfo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F3F4B2-7F6B-4C3F-AA84-2D6573A9C667}"/>
</file>

<file path=customXml/itemProps2.xml><?xml version="1.0" encoding="utf-8"?>
<ds:datastoreItem xmlns:ds="http://schemas.openxmlformats.org/officeDocument/2006/customXml" ds:itemID="{B8CEEDE2-FCE3-4896-B0B6-5126813F7EBA}"/>
</file>

<file path=customXml/itemProps3.xml><?xml version="1.0" encoding="utf-8"?>
<ds:datastoreItem xmlns:ds="http://schemas.openxmlformats.org/officeDocument/2006/customXml" ds:itemID="{97BEA9A7-DAB8-42A5-9F16-A87CB5EF8FC0}"/>
</file>

<file path=customXml/itemProps4.xml><?xml version="1.0" encoding="utf-8"?>
<ds:datastoreItem xmlns:ds="http://schemas.openxmlformats.org/officeDocument/2006/customXml" ds:itemID="{3F7048C2-5A52-4505-BD9B-FEB26730B56B}"/>
</file>

<file path=customXml/itemProps5.xml><?xml version="1.0" encoding="utf-8"?>
<ds:datastoreItem xmlns:ds="http://schemas.openxmlformats.org/officeDocument/2006/customXml" ds:itemID="{A9C1054E-FD18-4835-B717-6FB70254D1D8}"/>
</file>

<file path=customXml/itemProps6.xml><?xml version="1.0" encoding="utf-8"?>
<ds:datastoreItem xmlns:ds="http://schemas.openxmlformats.org/officeDocument/2006/customXml" ds:itemID="{571F8D8A-0DDB-4E54-A97A-C9920EFEAD9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465</TotalTime>
  <Words>2131</Words>
  <Application>Microsoft Office PowerPoint</Application>
  <PresentationFormat>On-screen Show (4:3)</PresentationFormat>
  <Paragraphs>388</Paragraphs>
  <Slides>28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1" baseType="lpstr">
      <vt:lpstr>CMS_Theme</vt:lpstr>
      <vt:lpstr>1_Blank</vt:lpstr>
      <vt:lpstr>think-cell Slide</vt:lpstr>
      <vt:lpstr>State Innovations in Delivery and Payment Reform</vt:lpstr>
      <vt:lpstr>Questions to Run On…</vt:lpstr>
      <vt:lpstr>PowerPoint Presentation</vt:lpstr>
      <vt:lpstr>Our guiding principle</vt:lpstr>
      <vt:lpstr>Where are we now…'Jaw-dropping': Medicare deaths, hospitalizations AND costs reduced</vt:lpstr>
      <vt:lpstr>Improving the way providers are incentivized, the way care is delivered, and the way information is distributed will help provide better care at lower cost across the health care system.</vt:lpstr>
      <vt:lpstr>PowerPoint Presentation</vt:lpstr>
      <vt:lpstr>PowerPoint Presentation</vt:lpstr>
      <vt:lpstr>Target percentage of payments in ‘FFS linked to quality’ and ‘alternative payment models’ by 2016 and 2018</vt:lpstr>
      <vt:lpstr>CMS is aligning with private sector and states to drive delivery system reform</vt:lpstr>
      <vt:lpstr>The Health Care Payment Learning and Action Network will accelerate the transition to alternative payment models</vt:lpstr>
      <vt:lpstr>CMMI plays an important role in driving Congressional policy</vt:lpstr>
      <vt:lpstr>Our portfolio is defining how the industry needs to change</vt:lpstr>
      <vt:lpstr>CMS has engaged the health care delivery system and invested in innovation across the country</vt:lpstr>
      <vt:lpstr>Our guiding principle</vt:lpstr>
      <vt:lpstr>State Innovation Model grants have been awarded in two rounds</vt:lpstr>
      <vt:lpstr>SIM is ahead of the game…</vt:lpstr>
      <vt:lpstr>SIM must include multiple payers</vt:lpstr>
      <vt:lpstr>Round 1 states are testing and Round 2 states are designing and implementing comprehensive reform plans</vt:lpstr>
      <vt:lpstr>R1 test states are integrating community services and population health</vt:lpstr>
      <vt:lpstr>Enabling Strategies</vt:lpstr>
      <vt:lpstr>How do we keep the innovations going?</vt:lpstr>
      <vt:lpstr>SIM test states may submit Medicare participation ideas</vt:lpstr>
      <vt:lpstr>Program Areas for States to consider  in their SIM ACO for Medicare Alignment</vt:lpstr>
      <vt:lpstr>Program Areas for States to consider  in their SIM PCMH for Medicare Alignment</vt:lpstr>
      <vt:lpstr>Maryland All-Payer Model saved $116M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lthea Scurvin</dc:creator>
  <cp:lastModifiedBy>FRANCES JENSEN</cp:lastModifiedBy>
  <cp:revision>755</cp:revision>
  <cp:lastPrinted>2015-03-31T14:56:02Z</cp:lastPrinted>
  <dcterms:created xsi:type="dcterms:W3CDTF">2011-09-24T17:20:46Z</dcterms:created>
  <dcterms:modified xsi:type="dcterms:W3CDTF">2015-12-04T15:3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4256324185465743918DDE83A58DB100</vt:lpwstr>
  </property>
  <property fmtid="{D5CDD505-2E9C-101B-9397-08002B2CF9AE}" pid="4" name="_AdHocReviewCycleID">
    <vt:i4>102159675</vt:i4>
  </property>
  <property fmtid="{D5CDD505-2E9C-101B-9397-08002B2CF9AE}" pid="5" name="_EmailSubject">
    <vt:lpwstr>Emailing: DC SIM presentation 091515.pptx</vt:lpwstr>
  </property>
  <property fmtid="{D5CDD505-2E9C-101B-9397-08002B2CF9AE}" pid="6" name="_AuthorEmail">
    <vt:lpwstr>Stephen.Cha@cms.hhs.gov</vt:lpwstr>
  </property>
  <property fmtid="{D5CDD505-2E9C-101B-9397-08002B2CF9AE}" pid="7" name="_AuthorEmailDisplayName">
    <vt:lpwstr>Cha, Stephen S. (CMS/CMMI)</vt:lpwstr>
  </property>
  <property fmtid="{D5CDD505-2E9C-101B-9397-08002B2CF9AE}" pid="8" name="_PreviousAdHocReviewCycleID">
    <vt:i4>900479857</vt:i4>
  </property>
</Properties>
</file>